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4.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5.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6.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7.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581" r:id="rId4"/>
    <p:sldMasterId id="2147484885" r:id="rId5"/>
    <p:sldMasterId id="2147484907" r:id="rId6"/>
    <p:sldMasterId id="2147484928" r:id="rId7"/>
    <p:sldMasterId id="2147484948" r:id="rId8"/>
    <p:sldMasterId id="2147485013" r:id="rId9"/>
    <p:sldMasterId id="2147485041" r:id="rId10"/>
    <p:sldMasterId id="2147485077" r:id="rId11"/>
    <p:sldMasterId id="2147485166" r:id="rId12"/>
  </p:sldMasterIdLst>
  <p:notesMasterIdLst>
    <p:notesMasterId r:id="rId23"/>
  </p:notesMasterIdLst>
  <p:handoutMasterIdLst>
    <p:handoutMasterId r:id="rId24"/>
  </p:handoutMasterIdLst>
  <p:sldIdLst>
    <p:sldId id="1577" r:id="rId13"/>
    <p:sldId id="1778" r:id="rId14"/>
    <p:sldId id="1774" r:id="rId15"/>
    <p:sldId id="1833" r:id="rId16"/>
    <p:sldId id="553" r:id="rId17"/>
    <p:sldId id="312" r:id="rId18"/>
    <p:sldId id="425" r:id="rId19"/>
    <p:sldId id="471" r:id="rId20"/>
    <p:sldId id="568" r:id="rId21"/>
    <p:sldId id="555" r:id="rId22"/>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xt" id="{C7E913C3-02E9-496F-8728-9EE270937A03}">
          <p14:sldIdLst>
            <p14:sldId id="1577"/>
            <p14:sldId id="1778"/>
            <p14:sldId id="1774"/>
            <p14:sldId id="1833"/>
            <p14:sldId id="553"/>
            <p14:sldId id="312"/>
            <p14:sldId id="425"/>
            <p14:sldId id="471"/>
            <p14:sldId id="568"/>
            <p14:sldId id="555"/>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Claudia Richey" initials="CR" lastIdx="1" clrIdx="4">
    <p:extLst>
      <p:ext uri="{19B8F6BF-5375-455C-9EA6-DF929625EA0E}">
        <p15:presenceInfo xmlns:p15="http://schemas.microsoft.com/office/powerpoint/2012/main" userId="ee5a4c39d48c93fb" providerId="Windows Live"/>
      </p:ext>
    </p:extLst>
  </p:cmAuthor>
  <p:cmAuthor id="5" name="Dallas Drotz" initials="DD" lastIdx="2" clrIdx="5">
    <p:extLst>
      <p:ext uri="{19B8F6BF-5375-455C-9EA6-DF929625EA0E}">
        <p15:presenceInfo xmlns:p15="http://schemas.microsoft.com/office/powerpoint/2012/main" userId="8f9456bf765954c8" providerId="Windows Live"/>
      </p:ext>
    </p:extLst>
  </p:cmAuthor>
  <p:cmAuthor id="6" name="Author" initials="A" lastIdx="250" clrIdx="6"/>
  <p:cmAuthor id="7" name="Ken Machtley (Murdoch Services)" initials="KM(S" lastIdx="11" clrIdx="7">
    <p:extLst>
      <p:ext uri="{19B8F6BF-5375-455C-9EA6-DF929625EA0E}">
        <p15:presenceInfo xmlns:p15="http://schemas.microsoft.com/office/powerpoint/2012/main" userId="Ken Machtley (Murdoch Services)" providerId="None"/>
      </p:ext>
    </p:extLst>
  </p:cmAuthor>
  <p:cmAuthor id="8" name="Kate Abela" initials="KA" lastIdx="142" clrIdx="8">
    <p:extLst>
      <p:ext uri="{19B8F6BF-5375-455C-9EA6-DF929625EA0E}">
        <p15:presenceInfo xmlns:p15="http://schemas.microsoft.com/office/powerpoint/2012/main" userId="b3ecee4d5c16f002" providerId="Windows Live"/>
      </p:ext>
    </p:extLst>
  </p:cmAuthor>
  <p:cmAuthor id="9" name="Dallas Drotz (Murdoch Services)" initials="DD(S" lastIdx="17" clrIdx="9">
    <p:extLst>
      <p:ext uri="{19B8F6BF-5375-455C-9EA6-DF929625EA0E}">
        <p15:presenceInfo xmlns:p15="http://schemas.microsoft.com/office/powerpoint/2012/main" userId="S-1-5-21-1958903400-318252062-1025424685-1001" providerId="AD"/>
      </p:ext>
    </p:extLst>
  </p:cmAuthor>
  <p:cmAuthor id="10" name="Danielle Foster (Murdoch Services)" initials="DF(S" lastIdx="129" clrIdx="10">
    <p:extLst>
      <p:ext uri="{19B8F6BF-5375-455C-9EA6-DF929625EA0E}">
        <p15:presenceInfo xmlns:p15="http://schemas.microsoft.com/office/powerpoint/2012/main" userId="Danielle Foster (Murdoch Services)" providerId="None"/>
      </p:ext>
    </p:extLst>
  </p:cmAuthor>
  <p:cmAuthor id="11" name="Claudia Roessler" initials="CR" lastIdx="7" clrIdx="11">
    <p:extLst>
      <p:ext uri="{19B8F6BF-5375-455C-9EA6-DF929625EA0E}">
        <p15:presenceInfo xmlns:p15="http://schemas.microsoft.com/office/powerpoint/2012/main" userId="S-1-5-21-2127521184-1604012920-1887927527-4971527" providerId="AD"/>
      </p:ext>
    </p:extLst>
  </p:cmAuthor>
  <p:cmAuthor id="12" name="Mike Nicholas" initials="MN" lastIdx="11" clrIdx="12">
    <p:extLst>
      <p:ext uri="{19B8F6BF-5375-455C-9EA6-DF929625EA0E}">
        <p15:presenceInfo xmlns:p15="http://schemas.microsoft.com/office/powerpoint/2012/main" userId="S-1-5-21-124525095-708259637-1543119021-582370" providerId="AD"/>
      </p:ext>
    </p:extLst>
  </p:cmAuthor>
  <p:cmAuthor id="13" name="Auri Mathisen" initials="AM" lastIdx="10" clrIdx="13">
    <p:extLst>
      <p:ext uri="{19B8F6BF-5375-455C-9EA6-DF929625EA0E}">
        <p15:presenceInfo xmlns:p15="http://schemas.microsoft.com/office/powerpoint/2012/main" userId="S-1-5-21-383413107-1061881802-891584314-12534" providerId="AD"/>
      </p:ext>
    </p:extLst>
  </p:cmAuthor>
  <p:cmAuthor id="14" name="David Griffith" initials="DG" lastIdx="20" clrIdx="14">
    <p:extLst>
      <p:ext uri="{19B8F6BF-5375-455C-9EA6-DF929625EA0E}">
        <p15:presenceInfo xmlns:p15="http://schemas.microsoft.com/office/powerpoint/2012/main" userId="S-1-5-21-383413107-1061881802-891584314-4667" providerId="AD"/>
      </p:ext>
    </p:extLst>
  </p:cmAuthor>
  <p:cmAuthor id="15" name="Brittany Hart" initials="BH" lastIdx="3" clrIdx="15">
    <p:extLst>
      <p:ext uri="{19B8F6BF-5375-455C-9EA6-DF929625EA0E}">
        <p15:presenceInfo xmlns:p15="http://schemas.microsoft.com/office/powerpoint/2012/main" userId="S-1-5-21-383413107-1061881802-891584314-10022" providerId="AD"/>
      </p:ext>
    </p:extLst>
  </p:cmAuthor>
  <p:cmAuthor id="16" name="Amber Chadd" initials="AC" lastIdx="6" clrIdx="16">
    <p:extLst>
      <p:ext uri="{19B8F6BF-5375-455C-9EA6-DF929625EA0E}">
        <p15:presenceInfo xmlns:p15="http://schemas.microsoft.com/office/powerpoint/2012/main" userId="S-1-5-21-383413107-1061881802-891584314-124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0F0F0"/>
    <a:srgbClr val="F1F1F1"/>
    <a:srgbClr val="D9D9D9"/>
    <a:srgbClr val="CFCFCF"/>
    <a:srgbClr val="107C10"/>
    <a:srgbClr val="000000"/>
    <a:srgbClr val="FFB900"/>
    <a:srgbClr val="FF8C00"/>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756" y="45"/>
      </p:cViewPr>
      <p:guideLst/>
    </p:cSldViewPr>
  </p:slideViewPr>
  <p:notesTextViewPr>
    <p:cViewPr>
      <p:scale>
        <a:sx n="1" d="1"/>
        <a:sy n="1" d="1"/>
      </p:scale>
      <p:origin x="0" y="0"/>
    </p:cViewPr>
  </p:notesTextViewPr>
  <p:sorterViewPr>
    <p:cViewPr>
      <p:scale>
        <a:sx n="100" d="100"/>
        <a:sy n="100" d="100"/>
      </p:scale>
      <p:origin x="0" y="-192"/>
    </p:cViewPr>
  </p:sorter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95E2FE7-E7B1-494B-AD7D-A1E314AD9AE1}" type="datetime8">
              <a:rPr lang="en-US" smtClean="0">
                <a:latin typeface="Segoe UI" pitchFamily="34" charset="0"/>
              </a:rPr>
              <a:t>10/26/2018 7:06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5FD01418-6CC9-45C5-AB98-5A2D690676E1}" type="datetime8">
              <a:rPr lang="en-US" smtClean="0"/>
              <a:t>10/26/2018 7:04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sldNum="0" hdr="0" ftr="0" dt="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business.linkedin.com/content/dam/me/business/en-us/talent-solutions/cx/2017/PDFs/digital_workforce_future.pdf"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323056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a:extLst>
              <a:ext uri="{FF2B5EF4-FFF2-40B4-BE49-F238E27FC236}">
                <a16:creationId xmlns:a16="http://schemas.microsoft.com/office/drawing/2014/main" id="{BDB94A5A-EDBF-4FA1-A22D-16AFDBD8816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43C18DDA-46AF-4741-B879-BA802954B79B}"/>
              </a:ext>
            </a:extLst>
          </p:cNvPr>
          <p:cNvSpPr>
            <a:spLocks noGrp="1"/>
          </p:cNvSpPr>
          <p:nvPr>
            <p:ph type="body" idx="1"/>
          </p:nvPr>
        </p:nvSpPr>
        <p:spPr/>
        <p:txBody>
          <a:bodyPr/>
          <a:lstStyle/>
          <a:p>
            <a:pPr marL="171450" indent="-171450" eaLnBrk="1" fontAlgn="auto" hangingPunct="1">
              <a:spcBef>
                <a:spcPts val="0"/>
              </a:spcBef>
              <a:spcAft>
                <a:spcPts val="0"/>
              </a:spcAft>
              <a:buFont typeface="Arial" panose="020B0604020202020204" pitchFamily="34" charset="0"/>
              <a:buChar char="•"/>
              <a:defRPr/>
            </a:pPr>
            <a:r>
              <a:rPr lang="en-US" sz="900" dirty="0">
                <a:highlight>
                  <a:srgbClr val="00FFFF"/>
                </a:highlight>
                <a:latin typeface="Segoe UI" panose="020B0502040204020203" pitchFamily="34" charset="0"/>
                <a:cs typeface="Segoe UI" panose="020B0502040204020203" pitchFamily="34" charset="0"/>
              </a:rPr>
              <a:t>Q&amp;A</a:t>
            </a:r>
          </a:p>
          <a:p>
            <a:pPr eaLnBrk="1" fontAlgn="auto" hangingPunct="1">
              <a:spcBef>
                <a:spcPts val="0"/>
              </a:spcBef>
              <a:spcAft>
                <a:spcPts val="0"/>
              </a:spcAft>
              <a:defRPr/>
            </a:pPr>
            <a:endParaRPr lang="en-US" sz="900" dirty="0">
              <a:latin typeface="Segoe UI" panose="020B0502040204020203" pitchFamily="34" charset="0"/>
              <a:cs typeface="Segoe UI" panose="020B0502040204020203" pitchFamily="34" charset="0"/>
            </a:endParaRPr>
          </a:p>
          <a:p>
            <a:pPr marL="171450" indent="-171450" eaLnBrk="1" fontAlgn="auto" hangingPunct="1">
              <a:spcBef>
                <a:spcPts val="0"/>
              </a:spcBef>
              <a:spcAft>
                <a:spcPts val="0"/>
              </a:spcAft>
              <a:buFont typeface="Arial" panose="020B0604020202020204" pitchFamily="34" charset="0"/>
              <a:buChar char="•"/>
              <a:defRPr/>
            </a:pPr>
            <a:r>
              <a:rPr lang="en-US" sz="900" dirty="0">
                <a:latin typeface="Segoe UI" panose="020B0502040204020203" pitchFamily="34" charset="0"/>
                <a:cs typeface="Segoe UI" panose="020B0502040204020203" pitchFamily="34" charset="0"/>
              </a:rPr>
              <a:t>Thank you.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In the past manufacturing was linear and purely physical. We were focused on the customer at the end of the sales cycle. We did not have the ability to center the entire manufacturing process around the customer and support an ongoing relationship. </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Today, for the first time, technology has outpaced the evolution of business processes. Smart products have existed for some time, but now it’s possible for these products to deliver real value. The proliferation of the cloud and big data and the continuous connection of smart products has created a greater opportunity to improve customer connections and differentiate your business. Now, you can listen to social sentiment, analyze customer product usage, determine long-term quality and deliver new services to your customers.</a:t>
            </a:r>
          </a:p>
          <a:p>
            <a:r>
              <a:rPr lang="en-US" sz="900" kern="1200">
                <a:solidFill>
                  <a:schemeClr val="tx1"/>
                </a:solidFill>
                <a:effectLst/>
                <a:latin typeface="Segoe UI Light" pitchFamily="34" charset="0"/>
                <a:ea typeface="+mn-ea"/>
                <a:cs typeface="+mn-cs"/>
              </a:rPr>
              <a:t>With the convergence of physical and digital, many manufacturing companies are embracing digital transformation, leading to the rise of the 4th Industrial Revolution. Transforming to a digital business enables you to disrupt the market with new products and services. While simply designing a better product is worthwhile, the real value from this digital transformation is an expanded business model. Instead of products, you can offer a product as a service. </a:t>
            </a:r>
          </a:p>
        </p:txBody>
      </p:sp>
      <p:sp>
        <p:nvSpPr>
          <p:cNvPr id="4" name="Header Placeholder 3"/>
          <p:cNvSpPr>
            <a:spLocks noGrp="1"/>
          </p:cNvSpPr>
          <p:nvPr>
            <p:ph type="hdr" sz="quarter" idx="10"/>
          </p:nvPr>
        </p:nvSpPr>
        <p:spPr/>
        <p:txBody>
          <a:bodyPr/>
          <a:lstStyle/>
          <a:p>
            <a:pPr marL="0" marR="0" lvl="0" indent="0" algn="l" defTabSz="94692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27993"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4692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6920" rtl="0" eaLnBrk="1" fontAlgn="auto" latinLnBrk="0" hangingPunct="1">
                <a:lnSpc>
                  <a:spcPct val="100000"/>
                </a:lnSpc>
                <a:spcBef>
                  <a:spcPts val="0"/>
                </a:spcBef>
                <a:spcAft>
                  <a:spcPts val="0"/>
                </a:spcAft>
                <a:buClrTx/>
                <a:buSzTx/>
                <a:buFontTx/>
                <a:buNone/>
                <a:tabLst/>
                <a:defRPr/>
              </a:pPr>
              <a:t>10/26/2018 7:04 AM</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4692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a:ln>
                  <a:noFill/>
                </a:ln>
                <a:solidFill>
                  <a:prstClr val="black"/>
                </a:solidFill>
                <a:effectLst/>
                <a:uLnTx/>
                <a:uFillTx/>
                <a:latin typeface="Segoe UI" pitchFamily="34" charset="0"/>
                <a:ea typeface="+mn-ea"/>
                <a:cs typeface="+mn-cs"/>
              </a:rPr>
              <a:pPr marL="0" marR="0" lvl="0" indent="0" algn="r" defTabSz="94692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725314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he implementation of the Factory of the Future requires technologies to support the seamless integration throughout whole factories production networks or ecosystems.</a:t>
            </a:r>
          </a:p>
          <a:p>
            <a:r>
              <a:rPr lang="en-US" sz="900" kern="1200">
                <a:solidFill>
                  <a:schemeClr val="tx1"/>
                </a:solidFill>
                <a:effectLst/>
                <a:latin typeface="Segoe UI Light" pitchFamily="34" charset="0"/>
                <a:ea typeface="+mn-ea"/>
                <a:cs typeface="+mn-cs"/>
              </a:rPr>
              <a:t>In the past, industrial automation was driven by a “set it and forget it” mentality.  Today, technology is changing that mindset.  The factory of the future may be a green field ground up design or a transformation of existing infrastructure.  Connectivity and interoperability are paramount to success.  A world of disparate protocols and systems becomes a synergistic hyperconnected network.  Machine to machine communication becomes machine to machine to people communication.</a:t>
            </a:r>
          </a:p>
          <a:p>
            <a:r>
              <a:rPr lang="en-US" sz="900" kern="1200">
                <a:solidFill>
                  <a:schemeClr val="tx1"/>
                </a:solidFill>
                <a:effectLst/>
                <a:latin typeface="Segoe UI Light" pitchFamily="34" charset="0"/>
                <a:ea typeface="+mn-ea"/>
                <a:cs typeface="+mn-cs"/>
              </a:rPr>
              <a:t> </a:t>
            </a:r>
          </a:p>
          <a:p>
            <a:r>
              <a:rPr lang="en-US" sz="900" kern="1200">
                <a:solidFill>
                  <a:schemeClr val="tx1"/>
                </a:solidFill>
                <a:effectLst/>
                <a:latin typeface="Segoe UI Light" pitchFamily="34" charset="0"/>
                <a:ea typeface="+mn-ea"/>
                <a:cs typeface="+mn-cs"/>
              </a:rPr>
              <a:t>Seamless integration of automation, engineering and business systems with a common data source drive disruptive digital transformation. Twenty-year-old automation systems enabled by IoT technology provide never realized insights about operation, productivity and health. Our investments in technologies like OPC-UA allow us to seamlessly interface to new and legacy systems.</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Simulation via the digital twin is a key component of the factory of the future.  The twin provides the ability to simulate and iterate through the end to end stages of design, production and service.  The has matured to a digital representation of the plant floor, supply chain and product lifecycle driving new levels of efficiency and productivity.</a:t>
            </a:r>
          </a:p>
          <a:p>
            <a:endParaRPr lang="en-US" sz="900" kern="1200">
              <a:solidFill>
                <a:schemeClr val="tx1"/>
              </a:solidFill>
              <a:effectLst/>
              <a:latin typeface="Segoe UI Light" pitchFamily="34" charset="0"/>
              <a:ea typeface="+mn-ea"/>
              <a:cs typeface="+mn-cs"/>
            </a:endParaRPr>
          </a:p>
          <a:p>
            <a:r>
              <a:rPr lang="en-US" sz="900" kern="1200">
                <a:solidFill>
                  <a:schemeClr val="tx1"/>
                </a:solidFill>
                <a:effectLst/>
                <a:latin typeface="Segoe UI Light" pitchFamily="34" charset="0"/>
                <a:ea typeface="+mn-ea"/>
                <a:cs typeface="+mn-cs"/>
              </a:rPr>
              <a:t>Safety and security reach new levels.  Worker safety is impacted by technologies like cognitive services. Facial recognition preventing unauthorized equipment operation.   Cyber and physical security are elevated protecting intellectual property, data, and physical assets.   The defense in depth strategy addresses the full factory from digital assets to plant floor sensor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0190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Transformation is happening now. And manufacturers are digitizing using technologies such as digital twin, intelligence, IIOT.</a:t>
            </a:r>
          </a:p>
          <a:p>
            <a:endParaRPr lang="en-US" sz="900" kern="1200">
              <a:solidFill>
                <a:schemeClr val="tx1"/>
              </a:solidFill>
              <a:effectLst/>
              <a:latin typeface="Segoe UI Light" pitchFamily="34" charset="0"/>
              <a:ea typeface="+mn-ea"/>
              <a:cs typeface="+mn-cs"/>
            </a:endParaRPr>
          </a:p>
          <a:p>
            <a:pPr marL="0" marR="0">
              <a:lnSpc>
                <a:spcPct val="107000"/>
              </a:lnSpc>
              <a:spcBef>
                <a:spcPts val="0"/>
              </a:spcBef>
              <a:spcAft>
                <a:spcPts val="800"/>
              </a:spcAft>
            </a:pPr>
            <a:r>
              <a:rPr lang="en-GB" sz="900">
                <a:effectLst/>
                <a:latin typeface="Segoe UI" panose="020B0502040204020203" pitchFamily="34" charset="0"/>
                <a:ea typeface="Calibri" panose="020F0502020204030204" pitchFamily="34" charset="0"/>
                <a:cs typeface="Times New Roman" panose="02020603050405020304" pitchFamily="18" charset="0"/>
              </a:rPr>
              <a:t>In manufacturing, the intelligent factory is quickly becoming a reality as IoT-based sensing and cognitive situational awareness continues to improve the speed of operations. These technologies each offer tremendous potential for value creation within the organization. But it is when these capabilities come together to enable vertical and horizontal integration that the ultimate collaboration across organizations will achieve true value co-creation in the extended business network. </a:t>
            </a:r>
          </a:p>
          <a:p>
            <a:pPr marL="0" marR="0">
              <a:lnSpc>
                <a:spcPct val="107000"/>
              </a:lnSpc>
              <a:spcBef>
                <a:spcPts val="0"/>
              </a:spcBef>
              <a:spcAft>
                <a:spcPts val="800"/>
              </a:spcAft>
            </a:pPr>
            <a:endParaRPr lang="en-US" sz="1050">
              <a:effectLst/>
              <a:latin typeface="Segoe UI" panose="020B0502040204020203"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107000"/>
              </a:lnSpc>
              <a:spcBef>
                <a:spcPts val="0"/>
              </a:spcBef>
              <a:spcAft>
                <a:spcPts val="800"/>
              </a:spcAft>
              <a:buClrTx/>
              <a:buSzTx/>
              <a:buFontTx/>
              <a:buNone/>
              <a:tabLst/>
              <a:defRPr/>
            </a:pPr>
            <a:endParaRPr kumimoji="0" lang="en-US" sz="10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Times New Roman" panose="02020603050405020304" pitchFamily="18" charset="0"/>
              </a:rPr>
              <a:t>Microsoft’s overall mission is to empower every person and every organization on the planet to achieve more. In the discrete manufacturing industry, Microsoft’s goal is to help our customers amplify value creation and drive sustained improvement. We are delivering on these ambitions and making it a reality today. </a:t>
            </a:r>
            <a:endParaRPr kumimoji="0" lang="en-US" sz="10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32742"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Times New Roman" panose="02020603050405020304" pitchFamily="18" charset="0"/>
              </a:rPr>
              <a:t>First, we achieve breakthrough productivity with intelligent, mixed reality and cognitive services by bringing together human, machine, and AI. </a:t>
            </a:r>
            <a:endParaRPr kumimoji="0" lang="en-US" sz="10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32742"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Times New Roman" panose="02020603050405020304" pitchFamily="18" charset="0"/>
              </a:rPr>
              <a:t>Second, we build a broader ecosystem on partnerships that includes telecommunications, network, and software partners among others. </a:t>
            </a:r>
          </a:p>
          <a:p>
            <a:pPr marL="342900" marR="0" lvl="0" indent="-342900" algn="l" defTabSz="932742"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9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Times New Roman" panose="02020603050405020304" pitchFamily="18" charset="0"/>
              </a:rPr>
              <a:t>Third, we deliver a highly flexible and more robust software platform that help the hyperconnected world interoperate in hybrid models that provides the foundation for not just an Internet of things, but an Internet of things, people, and services working together. </a:t>
            </a:r>
            <a:endParaRPr kumimoji="0" lang="en-US" sz="10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Times New Roman" panose="02020603050405020304" pitchFamily="18" charset="0"/>
              </a:rPr>
              <a:t>And finally, we know heightened security across these intelligent systems is fundamental. Microsoft builds comprehensive security into its products and services by design to help our customers protect their data across the physical and virtual worlds. At Microsoft, we have a commitment to trust—spanning transparency, privacy, compliance, and security—and we believe we have a unique approach to delivering on that commitment.</a:t>
            </a:r>
            <a:endParaRPr kumimoji="0" lang="en-US" sz="9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107000"/>
              </a:lnSpc>
              <a:spcBef>
                <a:spcPts val="0"/>
              </a:spcBef>
              <a:spcAft>
                <a:spcPts val="80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Times New Roman" panose="02020603050405020304" pitchFamily="18" charset="0"/>
              </a:rPr>
              <a:t>Unlike other software providers, Microsoft brings all of these components together into one holistic offering for our customers as a platform for accelerated digital transformation. </a:t>
            </a:r>
            <a:endParaRPr kumimoji="0" lang="en-US" sz="10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32742"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Times New Roman" panose="02020603050405020304" pitchFamily="18" charset="0"/>
              </a:rPr>
              <a:t> </a:t>
            </a:r>
            <a:endParaRPr kumimoji="0" lang="en-US" sz="105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a:lnSpc>
                <a:spcPts val="1200"/>
              </a:lnSpc>
              <a:spcBef>
                <a:spcPts val="0"/>
              </a:spcBef>
              <a:spcAft>
                <a:spcPts val="0"/>
              </a:spcAft>
            </a:pPr>
            <a:r>
              <a:rPr lang="en-US" sz="900">
                <a:effectLst/>
                <a:latin typeface="Segoe UI" panose="020B0502040204020203" pitchFamily="34" charset="0"/>
                <a:ea typeface="Calibri" panose="020F0502020204030204" pitchFamily="34" charset="0"/>
                <a:cs typeface="Times New Roman" panose="02020603050405020304" pitchFamily="18" charset="0"/>
              </a:rPr>
              <a:t>A critical example is the digital twin. One of Gartner’s Top 10 Strategic Technology Trends for 2017, a digital twin is a virtual model of a process, product or service. This pairing of the virtual and physical worlds allows analysis of data and monitoring of systems to head off problems before they occur, prevent downtime, develop new opportunities, and even plan for the future by using simulations. </a:t>
            </a:r>
            <a:endParaRPr lang="en-US" sz="900" kern="1200">
              <a:solidFill>
                <a:schemeClr val="tx1"/>
              </a:solidFill>
              <a:effectLst/>
              <a:latin typeface="Segoe UI Light" pitchFamily="34" charset="0"/>
              <a:ea typeface="+mn-ea"/>
              <a:cs typeface="+mn-cs"/>
            </a:endParaRPr>
          </a:p>
        </p:txBody>
      </p:sp>
    </p:spTree>
    <p:extLst>
      <p:ext uri="{BB962C8B-B14F-4D97-AF65-F5344CB8AC3E}">
        <p14:creationId xmlns:p14="http://schemas.microsoft.com/office/powerpoint/2010/main" val="2605176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100" b="0" i="0" u="none" strike="noStrike" kern="1200" cap="none" spc="0" normalizeH="0" baseline="0" noProof="0" dirty="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28011581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201B898-FA9A-4123-A1F3-81BB5B0BF7B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3662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a:solidFill>
                  <a:schemeClr val="tx1"/>
                </a:solidFill>
                <a:effectLst/>
                <a:latin typeface="Segoe UI Light" pitchFamily="34" charset="0"/>
                <a:ea typeface="+mn-ea"/>
                <a:cs typeface="+mn-cs"/>
              </a:rPr>
              <a:t>#1: Modern workplace. </a:t>
            </a:r>
            <a:r>
              <a:rPr lang="en-US" sz="900" kern="1200">
                <a:solidFill>
                  <a:schemeClr val="tx1"/>
                </a:solidFill>
                <a:effectLst/>
                <a:latin typeface="Segoe UI Light" pitchFamily="34" charset="0"/>
                <a:ea typeface="+mn-ea"/>
                <a:cs typeface="+mn-cs"/>
              </a:rPr>
              <a:t>The workplace itself is transforming — from changing employee expectations, a widening skills gap, more diverse and globally distributed teams, and an increasingly complex threat environment. With more than 100 million monthly active users of Office 365 commercial, 500 million plus Windows 10 monthly active devices and 500 million LinkedIn members, we are in a unique position to empower people and organizations to succeed in a rapidly evolving workplace. The experiences and tools we build will unlock the creator in all of us and enable seamless teamwork not just in the workplace, but also at school and at home across all the devices people use — from the phone to the laptop to mixed reality headsets to the whiteboard, inclusive of Surface and third-party devices. New scenarios — like those enabled by Microsoft Teams — will redefine how work gets done and help foster employee engagement and culture. Creativity and teamwork span our commercial, education and consumer opportunities just as they span devices, cloud services and the power of the network. The design and architecture will deeply embody both simplicity and security. The integration across the Microsoft Graph, the underlying data model of the user’s experience, and the LinkedIn Network, will make it possible for every professional in any business or functional role to be much more productive in getting things done.</a:t>
            </a:r>
          </a:p>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800" b="0" i="0" u="none" strike="noStrike" kern="1200" cap="none" spc="0" normalizeH="0" baseline="0" noProof="0" smtClean="0">
                <a:ln>
                  <a:noFill/>
                </a:ln>
                <a:solidFill>
                  <a:srgbClr val="505050"/>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26/2018 7:04 AM</a:t>
            </a:fld>
            <a:endParaRPr kumimoji="0" lang="en-US" sz="1800" b="0" i="0" u="none" strike="noStrike" kern="1200" cap="none" spc="0" normalizeH="0" baseline="0" noProof="0">
              <a:ln>
                <a:noFill/>
              </a:ln>
              <a:solidFill>
                <a:srgbClr val="505050"/>
              </a:solidFill>
              <a:effectLst/>
              <a:uLnTx/>
              <a:uFillTx/>
              <a:latin typeface="Segoe U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100" b="0" i="0" u="none" strike="noStrike" kern="1200" cap="none" spc="0" normalizeH="0" baseline="0" noProof="0" smtClean="0">
                <a:ln>
                  <a:noFill/>
                </a:ln>
                <a:solidFill>
                  <a:srgbClr val="505050"/>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srgbClr val="505050"/>
              </a:solidFill>
              <a:effectLst/>
              <a:uLnTx/>
              <a:uFillTx/>
              <a:latin typeface="Segoe UI"/>
              <a:ea typeface="+mn-ea"/>
              <a:cs typeface="+mn-cs"/>
            </a:endParaRPr>
          </a:p>
        </p:txBody>
      </p:sp>
    </p:spTree>
    <p:extLst>
      <p:ext uri="{BB962C8B-B14F-4D97-AF65-F5344CB8AC3E}">
        <p14:creationId xmlns:p14="http://schemas.microsoft.com/office/powerpoint/2010/main" val="4374681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200"/>
              <a:t>Data first – deep functional expertise</a:t>
            </a:r>
          </a:p>
          <a:p>
            <a:pPr marL="285750" indent="-285750">
              <a:buFont typeface="Arial" panose="020B0604020202020204" pitchFamily="34" charset="0"/>
              <a:buChar char="•"/>
            </a:pPr>
            <a:r>
              <a:rPr lang="en-US" sz="1200"/>
              <a:t>Man – Machine harmony</a:t>
            </a:r>
          </a:p>
          <a:p>
            <a:pPr marL="285750" indent="-285750">
              <a:buFont typeface="Arial" panose="020B0604020202020204" pitchFamily="34" charset="0"/>
              <a:buChar char="•"/>
            </a:pPr>
            <a:r>
              <a:rPr lang="en-US" sz="1200"/>
              <a:t>Analytical not operational</a:t>
            </a:r>
          </a:p>
          <a:p>
            <a:endParaRPr lang="en-US" sz="1200"/>
          </a:p>
          <a:p>
            <a:endParaRPr lang="en-US"/>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36DAC288-28CF-40C3-A408-271E9A37F250}"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4151986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a:extLst>
              <a:ext uri="{FF2B5EF4-FFF2-40B4-BE49-F238E27FC236}">
                <a16:creationId xmlns:a16="http://schemas.microsoft.com/office/drawing/2014/main" id="{9A859212-8B32-48F4-AB3B-35974E0F319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B75A0BA8-1914-4EB5-AE20-145FC9C41458}"/>
              </a:ext>
            </a:extLst>
          </p:cNvPr>
          <p:cNvSpPr>
            <a:spLocks noGrp="1"/>
          </p:cNvSpPr>
          <p:nvPr>
            <p:ph type="body" idx="1"/>
          </p:nvPr>
        </p:nvSpPr>
        <p:spPr/>
        <p:txBody>
          <a:bodyPr/>
          <a:lstStyle/>
          <a:p>
            <a:pPr marL="171450"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We (along with IDC Asia/Pacific) believe that </a:t>
            </a:r>
            <a:r>
              <a:rPr lang="en-SG" sz="900" b="1" dirty="0">
                <a:latin typeface="Segoe UI" panose="020B0502040204020203" pitchFamily="34" charset="0"/>
                <a:cs typeface="Segoe UI" panose="020B0502040204020203" pitchFamily="34" charset="0"/>
              </a:rPr>
              <a:t>future skillsets</a:t>
            </a:r>
            <a:r>
              <a:rPr lang="en-SG" sz="900" dirty="0">
                <a:latin typeface="Segoe UI" panose="020B0502040204020203" pitchFamily="34" charset="0"/>
                <a:cs typeface="Segoe UI" panose="020B0502040204020203" pitchFamily="34" charset="0"/>
              </a:rPr>
              <a:t> that individuals needs to possess include: </a:t>
            </a:r>
          </a:p>
          <a:p>
            <a:pPr marL="628650" lvl="1"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Complex problem solving</a:t>
            </a:r>
          </a:p>
          <a:p>
            <a:pPr marL="628650" lvl="1"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Critical thinking, system analytics </a:t>
            </a:r>
          </a:p>
          <a:p>
            <a:pPr marL="628650" lvl="1"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Creativity, active learning</a:t>
            </a:r>
          </a:p>
          <a:p>
            <a:pPr marL="628650" lvl="1"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People and communication skills, cultural agility  </a:t>
            </a:r>
          </a:p>
          <a:p>
            <a:pPr marL="171450"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And as the pace of digital transformation accelerates, organizations are also seeking talents to meet their technological requirements, especially in AI:</a:t>
            </a:r>
          </a:p>
          <a:p>
            <a:pPr marL="628650" lvl="1" indent="-171450" eaLnBrk="1" fontAlgn="auto" hangingPunct="1">
              <a:spcBef>
                <a:spcPts val="0"/>
              </a:spcBef>
              <a:spcAft>
                <a:spcPts val="0"/>
              </a:spcAft>
              <a:buFont typeface="Arial" panose="020B0604020202020204" pitchFamily="34" charset="0"/>
              <a:buChar char="•"/>
              <a:defRPr/>
            </a:pPr>
            <a:r>
              <a:rPr lang="en-SG" sz="900" u="sng" dirty="0">
                <a:latin typeface="Segoe UI" panose="020B0502040204020203" pitchFamily="34" charset="0"/>
                <a:cs typeface="Segoe UI" panose="020B0502040204020203" pitchFamily="34" charset="0"/>
                <a:hlinkClick r:id="rId3"/>
              </a:rPr>
              <a:t>LinkedIn’s recent study</a:t>
            </a:r>
            <a:r>
              <a:rPr lang="en-SG" sz="900" dirty="0">
                <a:latin typeface="Segoe UI" panose="020B0502040204020203" pitchFamily="34" charset="0"/>
                <a:cs typeface="Segoe UI" panose="020B0502040204020203" pitchFamily="34" charset="0"/>
              </a:rPr>
              <a:t> outlined the ABCs of digital talents, and the top in demand skills are Artificial Intelligence, Big Data, Cloud Computing</a:t>
            </a:r>
          </a:p>
          <a:p>
            <a:pPr marL="628650" lvl="1"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In fact, AI is no longer a domain for highly advanced industries or countries, especially where organizations need to mine data in real-time.</a:t>
            </a:r>
          </a:p>
          <a:p>
            <a:pPr marL="628650" lvl="1"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More importantly, there needs to be a focus on retraining and building out talent that is equipped with AI ready skills.</a:t>
            </a:r>
          </a:p>
          <a:p>
            <a:pPr marL="171450"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At an organization-level, business leaders should also relook at how their workforce is built for digital transformation.</a:t>
            </a:r>
          </a:p>
          <a:p>
            <a:pPr marL="171450" indent="-171450" eaLnBrk="1" fontAlgn="auto" hangingPunct="1">
              <a:spcBef>
                <a:spcPts val="0"/>
              </a:spcBef>
              <a:spcAft>
                <a:spcPts val="0"/>
              </a:spcAft>
              <a:buFont typeface="Arial" panose="020B0604020202020204" pitchFamily="34" charset="0"/>
              <a:buChar char="•"/>
              <a:defRPr/>
            </a:pPr>
            <a:r>
              <a:rPr lang="en-SG" sz="900" dirty="0">
                <a:latin typeface="Segoe UI" panose="020B0502040204020203" pitchFamily="34" charset="0"/>
                <a:cs typeface="Segoe UI" panose="020B0502040204020203" pitchFamily="34" charset="0"/>
              </a:rPr>
              <a:t>In light of this, </a:t>
            </a:r>
            <a:r>
              <a:rPr lang="en-SG" sz="900" b="1" dirty="0">
                <a:latin typeface="Segoe UI" panose="020B0502040204020203" pitchFamily="34" charset="0"/>
                <a:cs typeface="Segoe UI" panose="020B0502040204020203" pitchFamily="34" charset="0"/>
              </a:rPr>
              <a:t>reskilling, upskilling and continuous learning </a:t>
            </a:r>
            <a:r>
              <a:rPr lang="en-SG" sz="900" dirty="0">
                <a:latin typeface="Segoe UI" panose="020B0502040204020203" pitchFamily="34" charset="0"/>
                <a:cs typeface="Segoe UI" panose="020B0502040204020203" pitchFamily="34" charset="0"/>
              </a:rPr>
              <a:t>will be of outmost importance.</a:t>
            </a:r>
          </a:p>
          <a:p>
            <a:pPr marL="171450" indent="-171450" eaLnBrk="1" fontAlgn="auto" hangingPunct="1">
              <a:spcBef>
                <a:spcPts val="0"/>
              </a:spcBef>
              <a:spcAft>
                <a:spcPts val="0"/>
              </a:spcAft>
              <a:buFont typeface="Arial" panose="020B0604020202020204" pitchFamily="34" charset="0"/>
              <a:buChar char="•"/>
              <a:defRPr/>
            </a:pPr>
            <a:endParaRPr lang="en-SG" sz="900" dirty="0">
              <a:latin typeface="Segoe UI" panose="020B0502040204020203" pitchFamily="34" charset="0"/>
              <a:cs typeface="Segoe UI" panose="020B0502040204020203"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8.png"/><Relationship Id="rId7" Type="http://schemas.openxmlformats.org/officeDocument/2006/relationships/image" Target="../media/image51.png"/><Relationship Id="rId2" Type="http://schemas.openxmlformats.org/officeDocument/2006/relationships/image" Target="../media/image47.pn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50.png"/><Relationship Id="rId10" Type="http://schemas.openxmlformats.org/officeDocument/2006/relationships/image" Target="../media/image53.png"/><Relationship Id="rId4" Type="http://schemas.openxmlformats.org/officeDocument/2006/relationships/image" Target="../media/image49.png"/><Relationship Id="rId9" Type="http://schemas.microsoft.com/office/2007/relationships/hdphoto" Target="../media/hdphoto2.wdp"/></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3.jpe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3.jpeg"/><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3.jpeg"/><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6.jpg"/><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7.jp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8.jpg"/><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9.jpg"/><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80.jpg"/><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jpg"/><Relationship Id="rId1" Type="http://schemas.openxmlformats.org/officeDocument/2006/relationships/slideMaster" Target="../slideMasters/slideMaster8.xml"/><Relationship Id="rId4" Type="http://schemas.openxmlformats.org/officeDocument/2006/relationships/image" Target="../media/image83.png"/></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3.png"/><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image" Target="../media/image74.png"/><Relationship Id="rId1" Type="http://schemas.openxmlformats.org/officeDocument/2006/relationships/slideMaster" Target="../slideMasters/slideMaster8.xml"/><Relationship Id="rId6" Type="http://schemas.microsoft.com/office/2007/relationships/hdphoto" Target="../media/hdphoto3.wdp"/><Relationship Id="rId5" Type="http://schemas.openxmlformats.org/officeDocument/2006/relationships/image" Target="../media/image86.png"/><Relationship Id="rId10" Type="http://schemas.microsoft.com/office/2007/relationships/hdphoto" Target="../media/hdphoto4.wdp"/><Relationship Id="rId4" Type="http://schemas.openxmlformats.org/officeDocument/2006/relationships/image" Target="../media/image85.png"/><Relationship Id="rId9" Type="http://schemas.openxmlformats.org/officeDocument/2006/relationships/image" Target="../media/image89.png"/></Relationships>
</file>

<file path=ppt/slideLayouts/_rels/slideLayout219.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74.png"/><Relationship Id="rId7"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8.xml"/><Relationship Id="rId6" Type="http://schemas.openxmlformats.org/officeDocument/2006/relationships/image" Target="../media/image87.png"/><Relationship Id="rId5" Type="http://schemas.microsoft.com/office/2007/relationships/hdphoto" Target="../media/hdphoto3.wdp"/><Relationship Id="rId4" Type="http://schemas.openxmlformats.org/officeDocument/2006/relationships/image" Target="../media/image86.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4.png"/><Relationship Id="rId7" Type="http://schemas.openxmlformats.org/officeDocument/2006/relationships/image" Target="../media/image90.png"/><Relationship Id="rId2" Type="http://schemas.openxmlformats.org/officeDocument/2006/relationships/image" Target="../media/image74.png"/><Relationship Id="rId1" Type="http://schemas.openxmlformats.org/officeDocument/2006/relationships/slideMaster" Target="../slideMasters/slideMaster8.xml"/><Relationship Id="rId6" Type="http://schemas.microsoft.com/office/2007/relationships/hdphoto" Target="../media/hdphoto3.wdp"/><Relationship Id="rId5" Type="http://schemas.openxmlformats.org/officeDocument/2006/relationships/image" Target="../media/image86.png"/><Relationship Id="rId4" Type="http://schemas.openxmlformats.org/officeDocument/2006/relationships/image" Target="../media/image85.png"/></Relationships>
</file>

<file path=ppt/slideLayouts/_rels/slideLayout22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4.png"/><Relationship Id="rId7" Type="http://schemas.openxmlformats.org/officeDocument/2006/relationships/image" Target="../media/image87.png"/><Relationship Id="rId2" Type="http://schemas.openxmlformats.org/officeDocument/2006/relationships/image" Target="../media/image74.png"/><Relationship Id="rId1" Type="http://schemas.openxmlformats.org/officeDocument/2006/relationships/slideMaster" Target="../slideMasters/slideMaster8.xml"/><Relationship Id="rId6" Type="http://schemas.microsoft.com/office/2007/relationships/hdphoto" Target="../media/hdphoto3.wdp"/><Relationship Id="rId5" Type="http://schemas.openxmlformats.org/officeDocument/2006/relationships/image" Target="../media/image86.png"/><Relationship Id="rId4" Type="http://schemas.openxmlformats.org/officeDocument/2006/relationships/image" Target="../media/image85.png"/></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94.emf"/><Relationship Id="rId4" Type="http://schemas.openxmlformats.org/officeDocument/2006/relationships/oleObject" Target="../embeddings/oleObject6.bin"/></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Master" Target="../slideMasters/slideMaster8.xml"/><Relationship Id="rId4" Type="http://schemas.openxmlformats.org/officeDocument/2006/relationships/image" Target="../media/image97.png"/></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Master" Target="../slideMasters/slideMaster9.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14.png"/></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2.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3.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4.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5.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7.jpeg"/><Relationship Id="rId1" Type="http://schemas.openxmlformats.org/officeDocument/2006/relationships/slideMaster" Target="../slideMasters/slideMaster2.xml"/><Relationship Id="rId4" Type="http://schemas.openxmlformats.org/officeDocument/2006/relationships/image" Target="../media/image2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0.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8.emf"/><Relationship Id="rId4" Type="http://schemas.openxmlformats.org/officeDocument/2006/relationships/oleObject" Target="../embeddings/oleObject4.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9.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4.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8.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6.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4"/>
            <a:ext cx="9143936" cy="1828800"/>
          </a:xfrm>
          <a:noFill/>
        </p:spPr>
        <p:txBody>
          <a:bodyPr lIns="146304" tIns="91440" rIns="146304" bIns="91440" anchor="b" anchorCtr="0"/>
          <a:lstStyle>
            <a:lvl1pPr>
              <a:defRPr sz="5400"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1" y="3040063"/>
            <a:ext cx="9143937" cy="730183"/>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6"/>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88" y="6233445"/>
            <a:ext cx="1451843" cy="310896"/>
          </a:xfrm>
          <a:prstGeom prst="rect">
            <a:avLst/>
          </a:prstGeom>
        </p:spPr>
      </p:pic>
    </p:spTree>
    <p:extLst>
      <p:ext uri="{BB962C8B-B14F-4D97-AF65-F5344CB8AC3E}">
        <p14:creationId xmlns:p14="http://schemas.microsoft.com/office/powerpoint/2010/main" val="33572445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07569089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Semilight" panose="020B0402040204020203"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096556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Semilight" panose="020B0402040204020203"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Tree>
    <p:extLst>
      <p:ext uri="{BB962C8B-B14F-4D97-AF65-F5344CB8AC3E}">
        <p14:creationId xmlns:p14="http://schemas.microsoft.com/office/powerpoint/2010/main" val="2360561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Semilight" panose="020B0402040204020203" pitchFamily="34" charset="0"/>
                <a:ea typeface="Segoe UI Semilight" panose="020B0402040204020203" pitchFamily="34" charset="0"/>
                <a:cs typeface="Segoe UI Semilight" panose="020B0402040204020203"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stStyle>
          <a:p>
            <a:r>
              <a:rPr lang="en-US"/>
              <a:t>Click to edit Master title style</a:t>
            </a:r>
          </a:p>
        </p:txBody>
      </p:sp>
    </p:spTree>
    <p:extLst>
      <p:ext uri="{BB962C8B-B14F-4D97-AF65-F5344CB8AC3E}">
        <p14:creationId xmlns:p14="http://schemas.microsoft.com/office/powerpoint/2010/main" val="31266761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products 1">
    <p:bg>
      <p:bgPr>
        <a:solidFill>
          <a:schemeClr val="tx2"/>
        </a:solidFill>
        <a:effectLst/>
      </p:bgPr>
    </p:bg>
    <p:spTree>
      <p:nvGrpSpPr>
        <p:cNvPr id="1" name=""/>
        <p:cNvGrpSpPr/>
        <p:nvPr/>
      </p:nvGrpSpPr>
      <p:grpSpPr>
        <a:xfrm>
          <a:off x="0" y="0"/>
          <a:ext cx="0" cy="0"/>
          <a:chOff x="0" y="0"/>
          <a:chExt cx="0" cy="0"/>
        </a:xfrm>
      </p:grpSpPr>
      <p:sp>
        <p:nvSpPr>
          <p:cNvPr id="2" name="Rectangle 1"/>
          <p:cNvSpPr/>
          <p:nvPr userDrawn="1"/>
        </p:nvSpPr>
        <p:spPr>
          <a:xfrm>
            <a:off x="0" y="5514527"/>
            <a:ext cx="12436475" cy="1483987"/>
          </a:xfrm>
          <a:prstGeom prst="rect">
            <a:avLst/>
          </a:prstGeom>
          <a:solidFill>
            <a:srgbClr val="FFFFFF">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algn="ctr">
              <a:lnSpc>
                <a:spcPct val="90000"/>
              </a:lnSpc>
              <a:spcBef>
                <a:spcPts val="816"/>
              </a:spcBef>
            </a:pPr>
            <a:endParaRPr lang="en-US" sz="2719" err="1"/>
          </a:p>
        </p:txBody>
      </p:sp>
      <p:grpSp>
        <p:nvGrpSpPr>
          <p:cNvPr id="23" name="Group 22"/>
          <p:cNvGrpSpPr/>
          <p:nvPr userDrawn="1"/>
        </p:nvGrpSpPr>
        <p:grpSpPr>
          <a:xfrm>
            <a:off x="489603" y="581284"/>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348" y="5911646"/>
            <a:ext cx="2139074" cy="705036"/>
          </a:xfrm>
          <a:prstGeom prst="rect">
            <a:avLst/>
          </a:prstGeom>
        </p:spPr>
      </p:pic>
      <p:sp>
        <p:nvSpPr>
          <p:cNvPr id="35" name="Text Placeholder 2"/>
          <p:cNvSpPr>
            <a:spLocks noGrp="1"/>
          </p:cNvSpPr>
          <p:nvPr>
            <p:ph type="body" sz="quarter" idx="10"/>
          </p:nvPr>
        </p:nvSpPr>
        <p:spPr>
          <a:xfrm>
            <a:off x="267606" y="1792511"/>
            <a:ext cx="6815781" cy="3490347"/>
          </a:xfrm>
        </p:spPr>
        <p:txBody>
          <a:bodyPr/>
          <a:lstStyle>
            <a:lvl1pPr>
              <a:defRPr sz="5439">
                <a:solidFill>
                  <a:schemeClr val="bg1"/>
                </a:solidFill>
              </a:defRPr>
            </a:lvl1pPr>
            <a:lvl2pPr>
              <a:defRPr sz="3807">
                <a:solidFill>
                  <a:schemeClr val="bg1"/>
                </a:solidFill>
                <a:latin typeface="+mj-lt"/>
              </a:defRPr>
            </a:lvl2pPr>
            <a:lvl3pPr marL="4857"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4" name="Picture 2" descr="C:\working\gac as of 04.20.13\Prime8\MSC\MSC branding\new product imagery\Surfacehub1.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6031421" y="5928125"/>
            <a:ext cx="1315670" cy="72855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 descr="C:\working\gac as of 04.20.13\Prime8\MSC\MSC branding\new product imagery\hololens2_edited.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4672161" y="6030773"/>
            <a:ext cx="1087815" cy="54058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ackgroundRemoval t="2055" b="95434" l="11674" r="100000">
                        <a14:foregroundMark x1="45315" y1="81279" x2="45315" y2="81279"/>
                      </a14:backgroundRemoval>
                    </a14:imgEffect>
                  </a14:imgLayer>
                </a14:imgProps>
              </a:ext>
              <a:ext uri="{28A0092B-C50C-407E-A947-70E740481C1C}">
                <a14:useLocalDpi xmlns:a14="http://schemas.microsoft.com/office/drawing/2010/main"/>
              </a:ext>
            </a:extLst>
          </a:blip>
          <a:srcRect/>
          <a:stretch/>
        </p:blipFill>
        <p:spPr>
          <a:xfrm>
            <a:off x="10558316" y="5793456"/>
            <a:ext cx="1350699" cy="907968"/>
          </a:xfrm>
          <a:prstGeom prst="rect">
            <a:avLst/>
          </a:prstGeom>
        </p:spPr>
      </p:pic>
      <p:pic>
        <p:nvPicPr>
          <p:cNvPr id="25" name="Picture 24"/>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643869" y="5308246"/>
            <a:ext cx="2167887" cy="1445052"/>
          </a:xfrm>
          <a:prstGeom prst="rect">
            <a:avLst/>
          </a:prstGeom>
          <a:effectLst/>
        </p:spPr>
      </p:pic>
      <p:pic>
        <p:nvPicPr>
          <p:cNvPr id="26" name="Picture 25">
            <a:extLst/>
          </p:cNvPr>
          <p:cNvPicPr>
            <a:picLocks noChangeAspect="1"/>
          </p:cNvPicPr>
          <p:nvPr userDrawn="1"/>
        </p:nvPicPr>
        <p:blipFill rotWithShape="1">
          <a:blip r:embed="rId8" cstate="email">
            <a:extLst>
              <a:ext uri="{BEBA8EAE-BF5A-486C-A8C5-ECC9F3942E4B}">
                <a14:imgProps xmlns:a14="http://schemas.microsoft.com/office/drawing/2010/main">
                  <a14:imgLayer r:embed="rId9">
                    <a14:imgEffect>
                      <a14:backgroundRemoval t="9817" b="89954" l="0" r="87963"/>
                    </a14:imgEffect>
                  </a14:imgLayer>
                </a14:imgProps>
              </a:ext>
              <a:ext uri="{28A0092B-C50C-407E-A947-70E740481C1C}">
                <a14:useLocalDpi xmlns:a14="http://schemas.microsoft.com/office/drawing/2010/main"/>
              </a:ext>
            </a:extLst>
          </a:blip>
          <a:srcRect/>
          <a:stretch/>
        </p:blipFill>
        <p:spPr>
          <a:xfrm>
            <a:off x="9307084" y="5793458"/>
            <a:ext cx="1537293" cy="1039385"/>
          </a:xfrm>
          <a:prstGeom prst="rect">
            <a:avLst/>
          </a:prstGeom>
        </p:spPr>
      </p:pic>
      <p:pic>
        <p:nvPicPr>
          <p:cNvPr id="4" name="Picture 3"/>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7618536" y="5436774"/>
            <a:ext cx="1309725" cy="1316524"/>
          </a:xfrm>
          <a:prstGeom prst="rect">
            <a:avLst/>
          </a:prstGeom>
        </p:spPr>
      </p:pic>
    </p:spTree>
    <p:extLst>
      <p:ext uri="{BB962C8B-B14F-4D97-AF65-F5344CB8AC3E}">
        <p14:creationId xmlns:p14="http://schemas.microsoft.com/office/powerpoint/2010/main" val="12387541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Opening Slide 3">
    <p:bg>
      <p:bgPr>
        <a:solidFill>
          <a:schemeClr val="accent1"/>
        </a:solidFill>
        <a:effectLst/>
      </p:bgPr>
    </p:bg>
    <p:spTree>
      <p:nvGrpSpPr>
        <p:cNvPr id="1" name=""/>
        <p:cNvGrpSpPr/>
        <p:nvPr/>
      </p:nvGrpSpPr>
      <p:grpSpPr>
        <a:xfrm>
          <a:off x="0" y="0"/>
          <a:ext cx="0" cy="0"/>
          <a:chOff x="0" y="0"/>
          <a:chExt cx="0" cy="0"/>
        </a:xfrm>
      </p:grpSpPr>
      <p:grpSp>
        <p:nvGrpSpPr>
          <p:cNvPr id="23" name="Group 22"/>
          <p:cNvGrpSpPr/>
          <p:nvPr userDrawn="1"/>
        </p:nvGrpSpPr>
        <p:grpSpPr>
          <a:xfrm>
            <a:off x="489602" y="581284"/>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992434"/>
            <a:ext cx="6688924" cy="3490347"/>
          </a:xfrm>
        </p:spPr>
        <p:txBody>
          <a:bodyPr/>
          <a:lstStyle>
            <a:lvl1pPr>
              <a:defRPr sz="5439">
                <a:solidFill>
                  <a:schemeClr val="bg1"/>
                </a:solidFill>
              </a:defRPr>
            </a:lvl1pPr>
            <a:lvl2pPr>
              <a:defRPr sz="3807">
                <a:solidFill>
                  <a:schemeClr val="bg1"/>
                </a:solidFill>
                <a:latin typeface="+mj-lt"/>
              </a:defRPr>
            </a:lvl2pPr>
            <a:lvl3pPr marL="4857"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5876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Opening Slide 4">
    <p:bg>
      <p:bgPr>
        <a:solidFill>
          <a:schemeClr val="accent2"/>
        </a:solidFill>
        <a:effectLst/>
      </p:bgPr>
    </p:bg>
    <p:spTree>
      <p:nvGrpSpPr>
        <p:cNvPr id="1" name=""/>
        <p:cNvGrpSpPr/>
        <p:nvPr/>
      </p:nvGrpSpPr>
      <p:grpSpPr>
        <a:xfrm>
          <a:off x="0" y="0"/>
          <a:ext cx="0" cy="0"/>
          <a:chOff x="0" y="0"/>
          <a:chExt cx="0" cy="0"/>
        </a:xfrm>
      </p:grpSpPr>
      <p:grpSp>
        <p:nvGrpSpPr>
          <p:cNvPr id="23" name="Group 22"/>
          <p:cNvGrpSpPr/>
          <p:nvPr userDrawn="1"/>
        </p:nvGrpSpPr>
        <p:grpSpPr>
          <a:xfrm>
            <a:off x="489602" y="581284"/>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4" name="Text Placeholder 2"/>
          <p:cNvSpPr>
            <a:spLocks noGrp="1"/>
          </p:cNvSpPr>
          <p:nvPr>
            <p:ph type="body" sz="quarter" idx="10"/>
          </p:nvPr>
        </p:nvSpPr>
        <p:spPr>
          <a:xfrm>
            <a:off x="267602" y="1992434"/>
            <a:ext cx="6688924" cy="3490347"/>
          </a:xfrm>
        </p:spPr>
        <p:txBody>
          <a:bodyPr/>
          <a:lstStyle>
            <a:lvl1pPr>
              <a:defRPr sz="5439">
                <a:solidFill>
                  <a:schemeClr val="bg1"/>
                </a:solidFill>
              </a:defRPr>
            </a:lvl1pPr>
            <a:lvl2pPr>
              <a:defRPr sz="3807">
                <a:solidFill>
                  <a:schemeClr val="bg1"/>
                </a:solidFill>
                <a:latin typeface="+mj-lt"/>
              </a:defRPr>
            </a:lvl2pPr>
            <a:lvl3pPr marL="4857"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81632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hapter Break 2">
    <p:bg>
      <p:bgPr>
        <a:gradFill>
          <a:gsLst>
            <a:gs pos="0">
              <a:srgbClr val="0097DC"/>
            </a:gs>
            <a:gs pos="100000">
              <a:schemeClr val="accent1"/>
            </a:gs>
          </a:gsLst>
          <a:path path="circle">
            <a:fillToRect l="50000" t="50000" r="50000" b="50000"/>
          </a:path>
        </a:gra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288388" y="3300004"/>
            <a:ext cx="10704251" cy="2605020"/>
          </a:xfrm>
        </p:spPr>
        <p:txBody>
          <a:bodyPr anchor="t" anchorCtr="0">
            <a:noAutofit/>
          </a:bodyPr>
          <a:lstStyle>
            <a:lvl1pPr algn="l">
              <a:defRPr sz="7341">
                <a:solidFill>
                  <a:srgbClr val="FFFFFF"/>
                </a:solidFill>
                <a:effectLst/>
              </a:defRPr>
            </a:lvl1pPr>
          </a:lstStyle>
          <a:p>
            <a:r>
              <a:rPr lang="en-US"/>
              <a:t>Click to edit title</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8245" y="3252889"/>
            <a:ext cx="1165660" cy="1135025"/>
          </a:xfrm>
          <a:prstGeom prst="rect">
            <a:avLst/>
          </a:prstGeom>
        </p:spPr>
      </p:pic>
    </p:spTree>
    <p:extLst>
      <p:ext uri="{BB962C8B-B14F-4D97-AF65-F5344CB8AC3E}">
        <p14:creationId xmlns:p14="http://schemas.microsoft.com/office/powerpoint/2010/main" val="40021752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hapter Break 3">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1288388" y="3300004"/>
            <a:ext cx="10704251" cy="2605020"/>
          </a:xfrm>
        </p:spPr>
        <p:txBody>
          <a:bodyPr anchor="t" anchorCtr="0">
            <a:noAutofit/>
          </a:bodyPr>
          <a:lstStyle>
            <a:lvl1pPr algn="l">
              <a:defRPr sz="7341">
                <a:solidFill>
                  <a:srgbClr val="FFFFFF"/>
                </a:solidFill>
                <a:effectLst/>
              </a:defRPr>
            </a:lvl1pPr>
          </a:lstStyle>
          <a:p>
            <a:r>
              <a:rPr lang="en-US"/>
              <a:t>Click to edit title</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8245" y="3252889"/>
            <a:ext cx="1165660" cy="1135025"/>
          </a:xfrm>
          <a:prstGeom prst="rect">
            <a:avLst/>
          </a:prstGeom>
        </p:spPr>
      </p:pic>
    </p:spTree>
    <p:extLst>
      <p:ext uri="{BB962C8B-B14F-4D97-AF65-F5344CB8AC3E}">
        <p14:creationId xmlns:p14="http://schemas.microsoft.com/office/powerpoint/2010/main" val="16600712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hapter Break 5">
    <p:bg>
      <p:bgPr>
        <a:solidFill>
          <a:schemeClr val="accent2"/>
        </a:solidFill>
        <a:effectLst/>
      </p:bgPr>
    </p:bg>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1288388" y="3300004"/>
            <a:ext cx="10704251" cy="2605020"/>
          </a:xfrm>
        </p:spPr>
        <p:txBody>
          <a:bodyPr anchor="t" anchorCtr="0">
            <a:noAutofit/>
          </a:bodyPr>
          <a:lstStyle>
            <a:lvl1pPr algn="l">
              <a:defRPr sz="7341">
                <a:solidFill>
                  <a:srgbClr val="FFFFFF"/>
                </a:solidFill>
                <a:effectLst/>
              </a:defRPr>
            </a:lvl1pPr>
          </a:lstStyle>
          <a:p>
            <a:r>
              <a:rPr lang="en-US"/>
              <a:t>Click to edit title</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8245" y="3252889"/>
            <a:ext cx="1165660" cy="1135025"/>
          </a:xfrm>
          <a:prstGeom prst="rect">
            <a:avLst/>
          </a:prstGeom>
        </p:spPr>
      </p:pic>
    </p:spTree>
    <p:extLst>
      <p:ext uri="{BB962C8B-B14F-4D97-AF65-F5344CB8AC3E}">
        <p14:creationId xmlns:p14="http://schemas.microsoft.com/office/powerpoint/2010/main" val="10889740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hapter Break 4">
    <p:bg>
      <p:bgPr>
        <a:solidFill>
          <a:schemeClr val="accent3"/>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1288388" y="3300004"/>
            <a:ext cx="10704251" cy="2605020"/>
          </a:xfrm>
        </p:spPr>
        <p:txBody>
          <a:bodyPr anchor="t" anchorCtr="0">
            <a:noAutofit/>
          </a:bodyPr>
          <a:lstStyle>
            <a:lvl1pPr algn="l">
              <a:defRPr sz="7341">
                <a:solidFill>
                  <a:srgbClr val="FFFFFF"/>
                </a:solidFill>
                <a:effectLst/>
              </a:defRPr>
            </a:lvl1pPr>
          </a:lstStyle>
          <a:p>
            <a:r>
              <a:rPr lang="en-US"/>
              <a:t>Click to edit title</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88245" y="3252889"/>
            <a:ext cx="1165660" cy="1135025"/>
          </a:xfrm>
          <a:prstGeom prst="rect">
            <a:avLst/>
          </a:prstGeom>
        </p:spPr>
      </p:pic>
    </p:spTree>
    <p:extLst>
      <p:ext uri="{BB962C8B-B14F-4D97-AF65-F5344CB8AC3E}">
        <p14:creationId xmlns:p14="http://schemas.microsoft.com/office/powerpoint/2010/main" val="34658273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96863"/>
            <a:ext cx="4892040" cy="1514261"/>
          </a:xfrm>
        </p:spPr>
        <p:txBody>
          <a:bodyPr wrap="square" anchor="t">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7"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70033977"/>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with footer">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72048" y="1604532"/>
            <a:ext cx="11892379" cy="2311705"/>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p>
            <a:r>
              <a:rPr lang="en-US"/>
              <a:t>Click to edit title</a:t>
            </a:r>
          </a:p>
        </p:txBody>
      </p:sp>
      <p:sp>
        <p:nvSpPr>
          <p:cNvPr id="5" name="Text Placeholder 4"/>
          <p:cNvSpPr>
            <a:spLocks noGrp="1"/>
          </p:cNvSpPr>
          <p:nvPr>
            <p:ph type="body" sz="quarter" idx="11" hasCustomPrompt="1"/>
          </p:nvPr>
        </p:nvSpPr>
        <p:spPr>
          <a:xfrm>
            <a:off x="272048" y="1077339"/>
            <a:ext cx="11892379" cy="688119"/>
          </a:xfrm>
        </p:spPr>
        <p:txBody>
          <a:bodyPr tIns="91440"/>
          <a:lstStyle>
            <a:lvl1pPr>
              <a:defRPr>
                <a:solidFill>
                  <a:schemeClr val="tx2"/>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30772" y="6537612"/>
            <a:ext cx="985388" cy="324783"/>
          </a:xfrm>
          <a:prstGeom prst="rect">
            <a:avLst/>
          </a:prstGeom>
        </p:spPr>
      </p:pic>
      <p:sp>
        <p:nvSpPr>
          <p:cNvPr id="9" name="TextBox 8"/>
          <p:cNvSpPr txBox="1"/>
          <p:nvPr userDrawn="1"/>
        </p:nvSpPr>
        <p:spPr>
          <a:xfrm>
            <a:off x="0" y="6532774"/>
            <a:ext cx="12436475" cy="264922"/>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185527034"/>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30772" y="6537612"/>
            <a:ext cx="985388" cy="324783"/>
          </a:xfrm>
          <a:prstGeom prst="rect">
            <a:avLst/>
          </a:prstGeom>
        </p:spPr>
      </p:pic>
      <p:sp>
        <p:nvSpPr>
          <p:cNvPr id="3" name="TextBox 2"/>
          <p:cNvSpPr txBox="1"/>
          <p:nvPr userDrawn="1"/>
        </p:nvSpPr>
        <p:spPr>
          <a:xfrm>
            <a:off x="0" y="6532774"/>
            <a:ext cx="12436475" cy="264922"/>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1480793742"/>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with no footer">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sp>
        <p:nvSpPr>
          <p:cNvPr id="5" name="Text Placeholder 4"/>
          <p:cNvSpPr>
            <a:spLocks noGrp="1"/>
          </p:cNvSpPr>
          <p:nvPr>
            <p:ph type="body" sz="quarter" idx="11" hasCustomPrompt="1"/>
          </p:nvPr>
        </p:nvSpPr>
        <p:spPr>
          <a:xfrm>
            <a:off x="272048" y="1077339"/>
            <a:ext cx="11892379" cy="688119"/>
          </a:xfrm>
        </p:spPr>
        <p:txBody>
          <a:bodyPr tIns="9144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spTree>
    <p:extLst>
      <p:ext uri="{BB962C8B-B14F-4D97-AF65-F5344CB8AC3E}">
        <p14:creationId xmlns:p14="http://schemas.microsoft.com/office/powerpoint/2010/main" val="3587927497"/>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8527" y="6102906"/>
            <a:ext cx="11194447" cy="621488"/>
          </a:xfrm>
          <a:prstGeom prst="rect">
            <a:avLst/>
          </a:prstGeom>
          <a:noFill/>
          <a:ln w="12700">
            <a:noFill/>
            <a:miter lim="800000"/>
            <a:headEnd type="none" w="sm" len="sm"/>
            <a:tailEnd type="none" w="sm" len="sm"/>
          </a:ln>
          <a:effectLst/>
        </p:spPr>
        <p:txBody>
          <a:bodyPr vert="horz" wrap="square" lIns="186494" tIns="149196" rIns="186494" bIns="149196" numCol="1" anchor="t" anchorCtr="0" compatLnSpc="1">
            <a:prstTxWarp prst="textNoShape">
              <a:avLst/>
            </a:prstTxWarp>
            <a:spAutoFit/>
          </a:bodyPr>
          <a:lstStyle/>
          <a:p>
            <a:pPr defTabSz="950684" eaLnBrk="0" hangingPunct="0"/>
            <a:r>
              <a:rPr lang="en-US" sz="68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50684" eaLnBrk="0" hangingPunct="0"/>
            <a:r>
              <a:rPr lang="en-US" sz="68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8438" y="3207651"/>
            <a:ext cx="3354448" cy="718469"/>
          </a:xfrm>
          <a:prstGeom prst="rect">
            <a:avLst/>
          </a:prstGeom>
        </p:spPr>
      </p:pic>
    </p:spTree>
    <p:extLst>
      <p:ext uri="{BB962C8B-B14F-4D97-AF65-F5344CB8AC3E}">
        <p14:creationId xmlns:p14="http://schemas.microsoft.com/office/powerpoint/2010/main" val="411899281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1_Title Only with logo">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sp>
        <p:nvSpPr>
          <p:cNvPr id="5" name="Rectangle 4"/>
          <p:cNvSpPr/>
          <p:nvPr userDrawn="1"/>
        </p:nvSpPr>
        <p:spPr>
          <a:xfrm>
            <a:off x="12656704" y="1"/>
            <a:ext cx="952168" cy="952033"/>
          </a:xfrm>
          <a:prstGeom prst="rect">
            <a:avLst/>
          </a:prstGeom>
          <a:solidFill>
            <a:srgbClr val="0050C4"/>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algn="ctr">
              <a:lnSpc>
                <a:spcPct val="90000"/>
              </a:lnSpc>
              <a:spcBef>
                <a:spcPts val="816"/>
              </a:spcBef>
            </a:pPr>
            <a:endParaRPr lang="en-US" sz="2719" err="1"/>
          </a:p>
        </p:txBody>
      </p:sp>
      <p:sp>
        <p:nvSpPr>
          <p:cNvPr id="8" name="Rectangle 7"/>
          <p:cNvSpPr/>
          <p:nvPr userDrawn="1"/>
        </p:nvSpPr>
        <p:spPr>
          <a:xfrm>
            <a:off x="12656704" y="1057845"/>
            <a:ext cx="952168" cy="952033"/>
          </a:xfrm>
          <a:prstGeom prst="rect">
            <a:avLst/>
          </a:prstGeom>
          <a:solidFill>
            <a:srgbClr val="0B97DB"/>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algn="ctr">
              <a:lnSpc>
                <a:spcPct val="90000"/>
              </a:lnSpc>
              <a:spcBef>
                <a:spcPts val="816"/>
              </a:spcBef>
            </a:pPr>
            <a:endParaRPr lang="en-US" sz="2719" err="1"/>
          </a:p>
        </p:txBody>
      </p:sp>
      <p:sp>
        <p:nvSpPr>
          <p:cNvPr id="9" name="Rectangle 8"/>
          <p:cNvSpPr/>
          <p:nvPr userDrawn="1"/>
        </p:nvSpPr>
        <p:spPr>
          <a:xfrm>
            <a:off x="12656704" y="2115689"/>
            <a:ext cx="952168" cy="952033"/>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algn="ctr">
              <a:lnSpc>
                <a:spcPct val="90000"/>
              </a:lnSpc>
              <a:spcBef>
                <a:spcPts val="816"/>
              </a:spcBef>
            </a:pPr>
            <a:endParaRPr lang="en-US" sz="2719" err="1"/>
          </a:p>
        </p:txBody>
      </p:sp>
      <p:sp>
        <p:nvSpPr>
          <p:cNvPr id="10" name="Rectangle 9"/>
          <p:cNvSpPr/>
          <p:nvPr userDrawn="1"/>
        </p:nvSpPr>
        <p:spPr>
          <a:xfrm>
            <a:off x="12656704" y="3173532"/>
            <a:ext cx="952168" cy="952033"/>
          </a:xfrm>
          <a:prstGeom prst="rect">
            <a:avLst/>
          </a:prstGeom>
          <a:solidFill>
            <a:srgbClr val="6AD6EB"/>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algn="ctr">
              <a:lnSpc>
                <a:spcPct val="90000"/>
              </a:lnSpc>
              <a:spcBef>
                <a:spcPts val="816"/>
              </a:spcBef>
            </a:pPr>
            <a:endParaRPr lang="en-US" sz="2719" err="1"/>
          </a:p>
        </p:txBody>
      </p:sp>
      <p:sp>
        <p:nvSpPr>
          <p:cNvPr id="11" name="Rectangle 10"/>
          <p:cNvSpPr/>
          <p:nvPr userDrawn="1"/>
        </p:nvSpPr>
        <p:spPr>
          <a:xfrm>
            <a:off x="12656704" y="4231376"/>
            <a:ext cx="952168" cy="952033"/>
          </a:xfrm>
          <a:prstGeom prst="rect">
            <a:avLst/>
          </a:prstGeom>
          <a:solidFill>
            <a:srgbClr val="009549"/>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algn="ctr">
              <a:lnSpc>
                <a:spcPct val="90000"/>
              </a:lnSpc>
              <a:spcBef>
                <a:spcPts val="816"/>
              </a:spcBef>
            </a:pPr>
            <a:endParaRPr lang="en-US" sz="2719" err="1"/>
          </a:p>
        </p:txBody>
      </p:sp>
      <p:sp>
        <p:nvSpPr>
          <p:cNvPr id="12" name="Rectangle 11"/>
          <p:cNvSpPr/>
          <p:nvPr userDrawn="1"/>
        </p:nvSpPr>
        <p:spPr>
          <a:xfrm>
            <a:off x="12656704" y="5289220"/>
            <a:ext cx="952168" cy="952033"/>
          </a:xfrm>
          <a:prstGeom prst="rect">
            <a:avLst/>
          </a:prstGeom>
          <a:solidFill>
            <a:srgbClr val="17A208"/>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algn="ctr">
              <a:lnSpc>
                <a:spcPct val="90000"/>
              </a:lnSpc>
              <a:spcBef>
                <a:spcPts val="816"/>
              </a:spcBef>
            </a:pPr>
            <a:endParaRPr lang="en-US" sz="2719" err="1"/>
          </a:p>
        </p:txBody>
      </p:sp>
      <p:sp>
        <p:nvSpPr>
          <p:cNvPr id="13" name="Rectangle 12"/>
          <p:cNvSpPr/>
          <p:nvPr userDrawn="1"/>
        </p:nvSpPr>
        <p:spPr>
          <a:xfrm>
            <a:off x="12656706" y="6347063"/>
            <a:ext cx="421026" cy="420967"/>
          </a:xfrm>
          <a:prstGeom prst="rect">
            <a:avLst/>
          </a:prstGeom>
          <a:solidFill>
            <a:srgbClr val="313233"/>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algn="ctr">
              <a:lnSpc>
                <a:spcPct val="90000"/>
              </a:lnSpc>
              <a:spcBef>
                <a:spcPts val="816"/>
              </a:spcBef>
            </a:pPr>
            <a:endParaRPr lang="en-US" sz="2719" err="1"/>
          </a:p>
        </p:txBody>
      </p:sp>
      <p:sp>
        <p:nvSpPr>
          <p:cNvPr id="14" name="Rectangle 13"/>
          <p:cNvSpPr/>
          <p:nvPr userDrawn="1"/>
        </p:nvSpPr>
        <p:spPr>
          <a:xfrm>
            <a:off x="13187847" y="6347063"/>
            <a:ext cx="421026" cy="420967"/>
          </a:xfrm>
          <a:prstGeom prst="rect">
            <a:avLst/>
          </a:prstGeom>
          <a:solidFill>
            <a:srgbClr val="C6CACC"/>
          </a:solidFill>
          <a:ln>
            <a:noFill/>
          </a:ln>
        </p:spPr>
        <p:style>
          <a:lnRef idx="2">
            <a:schemeClr val="accent1">
              <a:shade val="50000"/>
            </a:schemeClr>
          </a:lnRef>
          <a:fillRef idx="1">
            <a:schemeClr val="accent1"/>
          </a:fillRef>
          <a:effectRef idx="0">
            <a:schemeClr val="accent1"/>
          </a:effectRef>
          <a:fontRef idx="minor">
            <a:schemeClr val="lt1"/>
          </a:fontRef>
        </p:style>
        <p:txBody>
          <a:bodyPr lIns="186494" tIns="149196" rIns="186494" bIns="149196" rtlCol="0" anchor="t" anchorCtr="0"/>
          <a:lstStyle/>
          <a:p>
            <a:pPr algn="ctr">
              <a:lnSpc>
                <a:spcPct val="90000"/>
              </a:lnSpc>
              <a:spcBef>
                <a:spcPts val="816"/>
              </a:spcBef>
            </a:pPr>
            <a:endParaRPr lang="en-US" sz="2719" err="1"/>
          </a:p>
        </p:txBody>
      </p:sp>
      <p:pic>
        <p:nvPicPr>
          <p:cNvPr id="16" name="Picture 5"/>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406518" y="6504877"/>
            <a:ext cx="497459" cy="4030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721907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1_Title Only with footer">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30772" y="6537612"/>
            <a:ext cx="985388" cy="324783"/>
          </a:xfrm>
          <a:prstGeom prst="rect">
            <a:avLst/>
          </a:prstGeom>
        </p:spPr>
      </p:pic>
    </p:spTree>
    <p:extLst>
      <p:ext uri="{BB962C8B-B14F-4D97-AF65-F5344CB8AC3E}">
        <p14:creationId xmlns:p14="http://schemas.microsoft.com/office/powerpoint/2010/main" val="88498906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Title Only with footer">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030772" y="6537613"/>
            <a:ext cx="985388" cy="324783"/>
          </a:xfrm>
          <a:prstGeom prst="rect">
            <a:avLst/>
          </a:prstGeom>
        </p:spPr>
      </p:pic>
      <p:sp>
        <p:nvSpPr>
          <p:cNvPr id="4" name="TextBox 3"/>
          <p:cNvSpPr txBox="1"/>
          <p:nvPr userDrawn="1"/>
        </p:nvSpPr>
        <p:spPr>
          <a:xfrm>
            <a:off x="0" y="6532775"/>
            <a:ext cx="12436475" cy="264922"/>
          </a:xfrm>
          <a:prstGeom prst="rect">
            <a:avLst/>
          </a:prstGeom>
          <a:noFill/>
        </p:spPr>
        <p:txBody>
          <a:bodyPr wrap="square" rtlCol="0">
            <a:spAutoFit/>
          </a:bodyPr>
          <a:lstStyle/>
          <a:p>
            <a:pPr algn="ctr" defTabSz="932394"/>
            <a:r>
              <a:rPr lang="en-US" sz="1088">
                <a:solidFill>
                  <a:srgbClr val="373A3C"/>
                </a:solidFill>
              </a:rPr>
              <a:t>Microsoft Confidential</a:t>
            </a:r>
          </a:p>
        </p:txBody>
      </p:sp>
    </p:spTree>
    <p:extLst>
      <p:ext uri="{BB962C8B-B14F-4D97-AF65-F5344CB8AC3E}">
        <p14:creationId xmlns:p14="http://schemas.microsoft.com/office/powerpoint/2010/main" val="337386374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DiscreteManufacturing 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61BC754-A34F-46CD-9778-11499879C22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534231" y="0"/>
            <a:ext cx="6902244" cy="6994525"/>
          </a:xfrm>
          <a:prstGeom prst="rect">
            <a:avLst/>
          </a:prstGeom>
        </p:spPr>
      </p:pic>
      <p:pic>
        <p:nvPicPr>
          <p:cNvPr id="9" name="Picture 8">
            <a:extLst>
              <a:ext uri="{FF2B5EF4-FFF2-40B4-BE49-F238E27FC236}">
                <a16:creationId xmlns:a16="http://schemas.microsoft.com/office/drawing/2014/main" id="{F9D68C64-09C0-4B11-827D-96A2E1C258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58108" y="5972062"/>
            <a:ext cx="1926102" cy="863171"/>
          </a:xfrm>
          <a:prstGeom prst="rect">
            <a:avLst/>
          </a:prstGeom>
        </p:spPr>
      </p:pic>
      <p:sp>
        <p:nvSpPr>
          <p:cNvPr id="6" name="Rectangle 5"/>
          <p:cNvSpPr/>
          <p:nvPr/>
        </p:nvSpPr>
        <p:spPr>
          <a:xfrm>
            <a:off x="-2" y="0"/>
            <a:ext cx="5534233" cy="6994525"/>
          </a:xfrm>
          <a:prstGeom prst="rect">
            <a:avLst/>
          </a:prstGeom>
          <a:solidFill>
            <a:schemeClr val="accent4">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
        <p:nvSpPr>
          <p:cNvPr id="13" name="Title 1">
            <a:extLst>
              <a:ext uri="{FF2B5EF4-FFF2-40B4-BE49-F238E27FC236}">
                <a16:creationId xmlns:a16="http://schemas.microsoft.com/office/drawing/2014/main" id="{B929694A-F4BA-41BD-94A4-1050FB16B1A2}"/>
              </a:ext>
            </a:extLst>
          </p:cNvPr>
          <p:cNvSpPr>
            <a:spLocks noGrp="1"/>
          </p:cNvSpPr>
          <p:nvPr>
            <p:ph type="title" hasCustomPrompt="1"/>
          </p:nvPr>
        </p:nvSpPr>
        <p:spPr bwMode="ltGray">
          <a:xfrm>
            <a:off x="233183" y="280906"/>
            <a:ext cx="5130047" cy="3688374"/>
          </a:xfrm>
          <a:noFill/>
        </p:spPr>
        <p:txBody>
          <a:bodyPr vert="horz" lIns="137160" tIns="91440" rIns="137160" bIns="0" rtlCol="0" anchor="b" anchorCtr="0">
            <a:normAutofit/>
          </a:bodyPr>
          <a:lstStyle>
            <a:lvl1pPr marL="0" algn="l" defTabSz="1109731" rtl="0" eaLnBrk="1" latinLnBrk="0" hangingPunct="1">
              <a:lnSpc>
                <a:spcPct val="90000"/>
              </a:lnSpc>
              <a:spcBef>
                <a:spcPct val="0"/>
              </a:spcBef>
              <a:buNone/>
              <a:defRPr lang="en-US" sz="6119" b="0" kern="1200" spc="-102" baseline="0" dirty="0">
                <a:solidFill>
                  <a:schemeClr val="bg1"/>
                </a:solidFill>
                <a:latin typeface="+mj-lt"/>
                <a:ea typeface="Segoe UI Semibold" panose="020B0702040204020203" pitchFamily="34" charset="0"/>
                <a:cs typeface="Segoe UI Semibold" panose="020B0702040204020203" pitchFamily="34" charset="0"/>
              </a:defRPr>
            </a:lvl1pPr>
          </a:lstStyle>
          <a:p>
            <a:pPr lvl="0"/>
            <a:r>
              <a:rPr lang="en-US"/>
              <a:t>Presentation title</a:t>
            </a:r>
          </a:p>
        </p:txBody>
      </p:sp>
      <p:sp>
        <p:nvSpPr>
          <p:cNvPr id="14" name="Text Placeholder 3">
            <a:extLst>
              <a:ext uri="{FF2B5EF4-FFF2-40B4-BE49-F238E27FC236}">
                <a16:creationId xmlns:a16="http://schemas.microsoft.com/office/drawing/2014/main" id="{54AA772E-7BE2-44B7-A827-5219C9875AE0}"/>
              </a:ext>
            </a:extLst>
          </p:cNvPr>
          <p:cNvSpPr>
            <a:spLocks noGrp="1"/>
          </p:cNvSpPr>
          <p:nvPr>
            <p:ph type="body" sz="quarter" idx="10" hasCustomPrompt="1"/>
          </p:nvPr>
        </p:nvSpPr>
        <p:spPr>
          <a:xfrm>
            <a:off x="233184" y="4351761"/>
            <a:ext cx="5130046" cy="1295670"/>
          </a:xfrm>
        </p:spPr>
        <p:txBody>
          <a:bodyPr lIns="137160" tIns="91440" rIns="137160" bIns="137160" anchor="b">
            <a:noAutofit/>
          </a:bodyPr>
          <a:lstStyle>
            <a:lvl1pPr marL="0" indent="0" algn="l">
              <a:spcBef>
                <a:spcPts val="0"/>
              </a:spcBef>
              <a:buNone/>
              <a:defRPr sz="3264">
                <a:solidFill>
                  <a:schemeClr val="bg1"/>
                </a:soli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a:t>Speaker Name</a:t>
            </a:r>
          </a:p>
          <a:p>
            <a:pPr lvl="0"/>
            <a:r>
              <a:rPr lang="en-US"/>
              <a:t>Date</a:t>
            </a:r>
          </a:p>
        </p:txBody>
      </p:sp>
    </p:spTree>
    <p:extLst>
      <p:ext uri="{BB962C8B-B14F-4D97-AF65-F5344CB8AC3E}">
        <p14:creationId xmlns:p14="http://schemas.microsoft.com/office/powerpoint/2010/main" val="2992515102"/>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DiscreteManufacturing title slide">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0" y="-1"/>
            <a:ext cx="12436475" cy="6987342"/>
          </a:xfrm>
          <a:prstGeom prst="rect">
            <a:avLst/>
          </a:prstGeom>
        </p:spPr>
      </p:pic>
      <p:sp>
        <p:nvSpPr>
          <p:cNvPr id="6" name="Rectangle 5"/>
          <p:cNvSpPr/>
          <p:nvPr/>
        </p:nvSpPr>
        <p:spPr>
          <a:xfrm>
            <a:off x="-1" y="0"/>
            <a:ext cx="5530960" cy="6994525"/>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
        <p:nvSpPr>
          <p:cNvPr id="9" name="Title 1"/>
          <p:cNvSpPr>
            <a:spLocks noGrp="1"/>
          </p:cNvSpPr>
          <p:nvPr>
            <p:ph type="title" hasCustomPrompt="1"/>
          </p:nvPr>
        </p:nvSpPr>
        <p:spPr bwMode="ltGray">
          <a:xfrm>
            <a:off x="233183" y="280906"/>
            <a:ext cx="5297775" cy="3688374"/>
          </a:xfrm>
          <a:noFill/>
        </p:spPr>
        <p:txBody>
          <a:bodyPr vert="horz" lIns="137160" tIns="91440" rIns="137160" bIns="0" rtlCol="0" anchor="b" anchorCtr="0">
            <a:normAutofit/>
          </a:bodyPr>
          <a:lstStyle>
            <a:lvl1pPr algn="l">
              <a:defRPr lang="en-US" sz="4896" b="1" spc="-102" baseline="0" dirty="0">
                <a:solidFill>
                  <a:schemeClr val="bg1"/>
                </a:solidFill>
                <a:latin typeface="+mn-lt"/>
                <a:cs typeface="Segoe UI Semibold" panose="020B0702040204020203" pitchFamily="34" charset="0"/>
              </a:defRPr>
            </a:lvl1pPr>
          </a:lstStyle>
          <a:p>
            <a:pPr lvl="0"/>
            <a:r>
              <a:rPr lang="en-US"/>
              <a:t>Presentation title</a:t>
            </a:r>
          </a:p>
        </p:txBody>
      </p:sp>
      <p:sp>
        <p:nvSpPr>
          <p:cNvPr id="4" name="Text Placeholder 3"/>
          <p:cNvSpPr>
            <a:spLocks noGrp="1"/>
          </p:cNvSpPr>
          <p:nvPr>
            <p:ph type="body" sz="quarter" idx="10" hasCustomPrompt="1"/>
          </p:nvPr>
        </p:nvSpPr>
        <p:spPr>
          <a:xfrm>
            <a:off x="233184" y="5776572"/>
            <a:ext cx="3860489" cy="907085"/>
          </a:xfrm>
        </p:spPr>
        <p:txBody>
          <a:bodyPr lIns="137160" tIns="91440" rIns="137160" bIns="137160" anchor="b">
            <a:noAutofit/>
          </a:bodyPr>
          <a:lstStyle>
            <a:lvl1pPr marL="0" indent="0" algn="l">
              <a:spcBef>
                <a:spcPts val="0"/>
              </a:spcBef>
              <a:buNone/>
              <a:defRPr sz="1428">
                <a:solidFill>
                  <a:schemeClr val="bg1"/>
                </a:solidFill>
              </a:defRPr>
            </a:lvl1pPr>
            <a:lvl2pPr marL="287273" indent="0">
              <a:buNone/>
              <a:defRPr sz="2040">
                <a:solidFill>
                  <a:schemeClr val="bg1"/>
                </a:solidFill>
              </a:defRPr>
            </a:lvl2pPr>
            <a:lvl3pPr marL="600171" indent="0">
              <a:buNone/>
              <a:defRPr sz="2040">
                <a:solidFill>
                  <a:schemeClr val="bg1"/>
                </a:solidFill>
              </a:defRPr>
            </a:lvl3pPr>
            <a:lvl4pPr marL="887445" indent="0">
              <a:buNone/>
              <a:defRPr sz="2040">
                <a:solidFill>
                  <a:schemeClr val="bg1"/>
                </a:solidFill>
              </a:defRPr>
            </a:lvl4pPr>
            <a:lvl5pPr marL="1127512" indent="0">
              <a:buNone/>
              <a:defRPr sz="2040">
                <a:solidFill>
                  <a:schemeClr val="bg1"/>
                </a:solidFill>
              </a:defRPr>
            </a:lvl5pPr>
          </a:lstStyle>
          <a:p>
            <a:pPr lvl="0"/>
            <a:r>
              <a:rPr lang="en-US"/>
              <a:t>Speaker Name</a:t>
            </a:r>
          </a:p>
          <a:p>
            <a:pPr lvl="0"/>
            <a:r>
              <a:rPr lang="en-US"/>
              <a:t>Date</a:t>
            </a:r>
          </a:p>
        </p:txBody>
      </p:sp>
      <p:sp>
        <p:nvSpPr>
          <p:cNvPr id="5" name="Text Placeholder 4"/>
          <p:cNvSpPr>
            <a:spLocks noGrp="1"/>
          </p:cNvSpPr>
          <p:nvPr>
            <p:ph type="body" sz="quarter" idx="11"/>
          </p:nvPr>
        </p:nvSpPr>
        <p:spPr>
          <a:xfrm>
            <a:off x="233184" y="3969281"/>
            <a:ext cx="3964126" cy="1691129"/>
          </a:xfrm>
        </p:spPr>
        <p:txBody>
          <a:bodyPr lIns="137160" tIns="0" rIns="137160" bIns="137160">
            <a:noAutofit/>
          </a:bodyPr>
          <a:lstStyle>
            <a:lvl1pPr>
              <a:defRPr sz="2448" spc="-82" baseline="0">
                <a:solidFill>
                  <a:schemeClr val="bg1"/>
                </a:solidFill>
              </a:defRPr>
            </a:lvl1pPr>
          </a:lstStyle>
          <a:p>
            <a:pPr lvl="0"/>
            <a:r>
              <a:rPr lang="en-US"/>
              <a:t>Edit Master text styles</a:t>
            </a:r>
          </a:p>
        </p:txBody>
      </p:sp>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l="8826" t="23103" r="6691" b="23103"/>
          <a:stretch/>
        </p:blipFill>
        <p:spPr>
          <a:xfrm>
            <a:off x="10597723" y="6230115"/>
            <a:ext cx="1471974" cy="344716"/>
          </a:xfrm>
          <a:prstGeom prst="rect">
            <a:avLst/>
          </a:prstGeom>
        </p:spPr>
      </p:pic>
    </p:spTree>
    <p:extLst>
      <p:ext uri="{BB962C8B-B14F-4D97-AF65-F5344CB8AC3E}">
        <p14:creationId xmlns:p14="http://schemas.microsoft.com/office/powerpoint/2010/main" val="755378701"/>
      </p:ext>
    </p:extLst>
  </p:cSld>
  <p:clrMapOvr>
    <a:masterClrMapping/>
  </p:clrMapOvr>
  <p:transition>
    <p:fade/>
  </p:transition>
  <p:extLst mod="1">
    <p:ext uri="{DCECCB84-F9BA-43D5-87BE-67443E8EF086}">
      <p15:sldGuideLst xmlns:p15="http://schemas.microsoft.com/office/powerpoint/2012/main">
        <p15:guide id="1" pos="4127">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33184" y="272009"/>
            <a:ext cx="5983435" cy="1360047"/>
          </a:xfrm>
        </p:spPr>
        <p:txBody>
          <a:bodyPr rIns="137160" anchor="t" anchorCtr="0"/>
          <a:lstStyle/>
          <a:p>
            <a:r>
              <a:rPr lang="en-US"/>
              <a:t>Click to edit Master title style</a:t>
            </a:r>
          </a:p>
        </p:txBody>
      </p:sp>
      <p:sp>
        <p:nvSpPr>
          <p:cNvPr id="3" name="Footer Placeholder 2"/>
          <p:cNvSpPr>
            <a:spLocks noGrp="1"/>
          </p:cNvSpPr>
          <p:nvPr>
            <p:ph type="ftr" sz="quarter" idx="10"/>
          </p:nvPr>
        </p:nvSpPr>
        <p:spPr>
          <a:xfrm>
            <a:off x="233184" y="6683658"/>
            <a:ext cx="5983436" cy="310868"/>
          </a:xfrm>
        </p:spPr>
        <p:txBody>
          <a:bodyPr/>
          <a:lstStyle/>
          <a:p>
            <a:pPr defTabSz="1109731"/>
            <a:endParaRPr lang="en-US">
              <a:solidFill>
                <a:srgbClr val="505050"/>
              </a:solidFill>
            </a:endParaRPr>
          </a:p>
        </p:txBody>
      </p:sp>
      <p:sp>
        <p:nvSpPr>
          <p:cNvPr id="4" name="Slide Number Placeholder 3"/>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6" name="Picture Placeholder 5"/>
          <p:cNvSpPr>
            <a:spLocks noGrp="1"/>
          </p:cNvSpPr>
          <p:nvPr>
            <p:ph type="pic" sz="quarter" idx="12"/>
          </p:nvPr>
        </p:nvSpPr>
        <p:spPr>
          <a:xfrm>
            <a:off x="6216619" y="0"/>
            <a:ext cx="6219856" cy="6994525"/>
          </a:xfrm>
        </p:spPr>
        <p:txBody>
          <a:bodyPr/>
          <a:lstStyle/>
          <a:p>
            <a:r>
              <a:rPr lang="en-US"/>
              <a:t>Click icon to add picture</a:t>
            </a:r>
          </a:p>
        </p:txBody>
      </p:sp>
      <p:sp>
        <p:nvSpPr>
          <p:cNvPr id="8" name="Text Placeholder 7"/>
          <p:cNvSpPr>
            <a:spLocks noGrp="1"/>
          </p:cNvSpPr>
          <p:nvPr>
            <p:ph type="body" sz="quarter" idx="13"/>
          </p:nvPr>
        </p:nvSpPr>
        <p:spPr>
          <a:xfrm>
            <a:off x="233183" y="1632056"/>
            <a:ext cx="5517067" cy="4973884"/>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527199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8505263"/>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3" name="Footer Placeholder 2"/>
          <p:cNvSpPr>
            <a:spLocks noGrp="1"/>
          </p:cNvSpPr>
          <p:nvPr>
            <p:ph type="ftr" sz="quarter" idx="10"/>
          </p:nvPr>
        </p:nvSpPr>
        <p:spPr>
          <a:xfrm>
            <a:off x="233184" y="6683658"/>
            <a:ext cx="5983436" cy="310869"/>
          </a:xfrm>
        </p:spPr>
        <p:txBody>
          <a:bodyPr/>
          <a:lstStyle/>
          <a:p>
            <a:pPr defTabSz="1109731"/>
            <a:endParaRPr lang="en-US">
              <a:solidFill>
                <a:srgbClr val="505050"/>
              </a:solidFill>
            </a:endParaRPr>
          </a:p>
        </p:txBody>
      </p:sp>
      <p:sp>
        <p:nvSpPr>
          <p:cNvPr id="6" name="Picture Placeholder 5"/>
          <p:cNvSpPr>
            <a:spLocks noGrp="1"/>
          </p:cNvSpPr>
          <p:nvPr>
            <p:ph type="pic" sz="quarter" idx="12"/>
          </p:nvPr>
        </p:nvSpPr>
        <p:spPr>
          <a:xfrm>
            <a:off x="1" y="0"/>
            <a:ext cx="6219856" cy="6994525"/>
          </a:xfrm>
        </p:spPr>
        <p:txBody>
          <a:bodyPr/>
          <a:lstStyle/>
          <a:p>
            <a:r>
              <a:rPr lang="en-US"/>
              <a:t>Click icon to add picture</a:t>
            </a:r>
          </a:p>
        </p:txBody>
      </p:sp>
      <p:sp>
        <p:nvSpPr>
          <p:cNvPr id="2" name="Title 1"/>
          <p:cNvSpPr>
            <a:spLocks noGrp="1"/>
          </p:cNvSpPr>
          <p:nvPr>
            <p:ph type="title"/>
          </p:nvPr>
        </p:nvSpPr>
        <p:spPr>
          <a:xfrm>
            <a:off x="6688107" y="272009"/>
            <a:ext cx="5476321" cy="1360047"/>
          </a:xfrm>
        </p:spPr>
        <p:txBody>
          <a:bodyPr anchor="t" anchorCtr="0"/>
          <a:lstStyle/>
          <a:p>
            <a:r>
              <a:rPr lang="en-US"/>
              <a:t>Click to edit Master title style</a:t>
            </a:r>
          </a:p>
        </p:txBody>
      </p:sp>
      <p:sp>
        <p:nvSpPr>
          <p:cNvPr id="8" name="Text Placeholder 7"/>
          <p:cNvSpPr>
            <a:spLocks noGrp="1"/>
          </p:cNvSpPr>
          <p:nvPr>
            <p:ph type="body" sz="quarter" idx="13"/>
          </p:nvPr>
        </p:nvSpPr>
        <p:spPr>
          <a:xfrm>
            <a:off x="6682986" y="1632056"/>
            <a:ext cx="5481442" cy="50516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548490"/>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Engage your customer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436475" cy="6994525"/>
          </a:xfrm>
        </p:spPr>
        <p:txBody>
          <a:bodyPr/>
          <a:lstStyle/>
          <a:p>
            <a:r>
              <a:rPr lang="en-US"/>
              <a:t>Click icon to add picture</a:t>
            </a:r>
          </a:p>
        </p:txBody>
      </p:sp>
      <p:sp>
        <p:nvSpPr>
          <p:cNvPr id="2" name="Title 1"/>
          <p:cNvSpPr>
            <a:spLocks noGrp="1"/>
          </p:cNvSpPr>
          <p:nvPr>
            <p:ph type="title"/>
          </p:nvPr>
        </p:nvSpPr>
        <p:spPr>
          <a:xfrm>
            <a:off x="0" y="3849977"/>
            <a:ext cx="4857998" cy="2717863"/>
          </a:xfrm>
          <a:noFill/>
        </p:spPr>
        <p:txBody>
          <a:bodyPr lIns="457200" bIns="457200" anchor="t" anchorCtr="0"/>
          <a:lstStyle>
            <a:lvl1pPr>
              <a:defRPr>
                <a:solidFill>
                  <a:schemeClr val="bg1"/>
                </a:solidFill>
              </a:defRPr>
            </a:lvl1pPr>
          </a:lstStyle>
          <a:p>
            <a:r>
              <a:rPr lang="en-US"/>
              <a:t>Click to edit Master title style</a:t>
            </a:r>
          </a:p>
        </p:txBody>
      </p:sp>
      <p:grpSp>
        <p:nvGrpSpPr>
          <p:cNvPr id="4" name="Group 3"/>
          <p:cNvGrpSpPr/>
          <p:nvPr/>
        </p:nvGrpSpPr>
        <p:grpSpPr>
          <a:xfrm>
            <a:off x="0" y="3681329"/>
            <a:ext cx="4995045" cy="2886511"/>
            <a:chOff x="0" y="4451684"/>
            <a:chExt cx="2834640" cy="1638300"/>
          </a:xfrm>
        </p:grpSpPr>
        <p:sp>
          <p:nvSpPr>
            <p:cNvPr id="5" name="Rectangle 4"/>
            <p:cNvSpPr/>
            <p:nvPr/>
          </p:nvSpPr>
          <p:spPr>
            <a:xfrm>
              <a:off x="0" y="4451684"/>
              <a:ext cx="2834640" cy="1638300"/>
            </a:xfrm>
            <a:prstGeom prst="rect">
              <a:avLst/>
            </a:prstGeom>
            <a:solidFill>
              <a:schemeClr val="accent3">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56">
                <a:solidFill>
                  <a:prstClr val="white"/>
                </a:solidFill>
                <a:latin typeface="Segoe UI Light"/>
              </a:endParaRPr>
            </a:p>
          </p:txBody>
        </p:sp>
        <p:grpSp>
          <p:nvGrpSpPr>
            <p:cNvPr id="7" name="Group 6"/>
            <p:cNvGrpSpPr/>
            <p:nvPr/>
          </p:nvGrpSpPr>
          <p:grpSpPr>
            <a:xfrm>
              <a:off x="1899914" y="5270834"/>
              <a:ext cx="724256" cy="624848"/>
              <a:chOff x="2138363" y="4405313"/>
              <a:chExt cx="971550" cy="838200"/>
            </a:xfrm>
            <a:solidFill>
              <a:srgbClr val="A22C01"/>
            </a:solidFill>
          </p:grpSpPr>
          <p:sp>
            <p:nvSpPr>
              <p:cNvPr id="8" name="Freeform 5"/>
              <p:cNvSpPr>
                <a:spLocks noEditPoints="1"/>
              </p:cNvSpPr>
              <p:nvPr/>
            </p:nvSpPr>
            <p:spPr bwMode="auto">
              <a:xfrm>
                <a:off x="2400300" y="4478338"/>
                <a:ext cx="709613" cy="765175"/>
              </a:xfrm>
              <a:custGeom>
                <a:avLst/>
                <a:gdLst>
                  <a:gd name="T0" fmla="*/ 476 w 567"/>
                  <a:gd name="T1" fmla="*/ 219 h 611"/>
                  <a:gd name="T2" fmla="*/ 526 w 567"/>
                  <a:gd name="T3" fmla="*/ 122 h 611"/>
                  <a:gd name="T4" fmla="*/ 405 w 567"/>
                  <a:gd name="T5" fmla="*/ 0 h 611"/>
                  <a:gd name="T6" fmla="*/ 283 w 567"/>
                  <a:gd name="T7" fmla="*/ 122 h 611"/>
                  <a:gd name="T8" fmla="*/ 334 w 567"/>
                  <a:gd name="T9" fmla="*/ 219 h 611"/>
                  <a:gd name="T10" fmla="*/ 258 w 567"/>
                  <a:gd name="T11" fmla="*/ 295 h 611"/>
                  <a:gd name="T12" fmla="*/ 162 w 567"/>
                  <a:gd name="T13" fmla="*/ 245 h 611"/>
                  <a:gd name="T14" fmla="*/ 41 w 567"/>
                  <a:gd name="T15" fmla="*/ 367 h 611"/>
                  <a:gd name="T16" fmla="*/ 91 w 567"/>
                  <a:gd name="T17" fmla="*/ 463 h 611"/>
                  <a:gd name="T18" fmla="*/ 0 w 567"/>
                  <a:gd name="T19" fmla="*/ 611 h 611"/>
                  <a:gd name="T20" fmla="*/ 41 w 567"/>
                  <a:gd name="T21" fmla="*/ 611 h 611"/>
                  <a:gd name="T22" fmla="*/ 162 w 567"/>
                  <a:gd name="T23" fmla="*/ 489 h 611"/>
                  <a:gd name="T24" fmla="*/ 283 w 567"/>
                  <a:gd name="T25" fmla="*/ 611 h 611"/>
                  <a:gd name="T26" fmla="*/ 324 w 567"/>
                  <a:gd name="T27" fmla="*/ 611 h 611"/>
                  <a:gd name="T28" fmla="*/ 233 w 567"/>
                  <a:gd name="T29" fmla="*/ 463 h 611"/>
                  <a:gd name="T30" fmla="*/ 283 w 567"/>
                  <a:gd name="T31" fmla="*/ 367 h 611"/>
                  <a:gd name="T32" fmla="*/ 405 w 567"/>
                  <a:gd name="T33" fmla="*/ 245 h 611"/>
                  <a:gd name="T34" fmla="*/ 526 w 567"/>
                  <a:gd name="T35" fmla="*/ 367 h 611"/>
                  <a:gd name="T36" fmla="*/ 567 w 567"/>
                  <a:gd name="T37" fmla="*/ 367 h 611"/>
                  <a:gd name="T38" fmla="*/ 476 w 567"/>
                  <a:gd name="T39" fmla="*/ 219 h 611"/>
                  <a:gd name="T40" fmla="*/ 162 w 567"/>
                  <a:gd name="T41" fmla="*/ 448 h 611"/>
                  <a:gd name="T42" fmla="*/ 81 w 567"/>
                  <a:gd name="T43" fmla="*/ 367 h 611"/>
                  <a:gd name="T44" fmla="*/ 162 w 567"/>
                  <a:gd name="T45" fmla="*/ 285 h 611"/>
                  <a:gd name="T46" fmla="*/ 243 w 567"/>
                  <a:gd name="T47" fmla="*/ 367 h 611"/>
                  <a:gd name="T48" fmla="*/ 162 w 567"/>
                  <a:gd name="T49" fmla="*/ 448 h 611"/>
                  <a:gd name="T50" fmla="*/ 405 w 567"/>
                  <a:gd name="T51" fmla="*/ 204 h 611"/>
                  <a:gd name="T52" fmla="*/ 324 w 567"/>
                  <a:gd name="T53" fmla="*/ 122 h 611"/>
                  <a:gd name="T54" fmla="*/ 405 w 567"/>
                  <a:gd name="T55" fmla="*/ 41 h 611"/>
                  <a:gd name="T56" fmla="*/ 486 w 567"/>
                  <a:gd name="T57" fmla="*/ 122 h 611"/>
                  <a:gd name="T58" fmla="*/ 405 w 567"/>
                  <a:gd name="T59" fmla="*/ 20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7" h="611">
                    <a:moveTo>
                      <a:pt x="476" y="219"/>
                    </a:moveTo>
                    <a:cubicBezTo>
                      <a:pt x="506" y="199"/>
                      <a:pt x="526" y="163"/>
                      <a:pt x="526" y="122"/>
                    </a:cubicBezTo>
                    <a:cubicBezTo>
                      <a:pt x="526" y="56"/>
                      <a:pt x="471" y="0"/>
                      <a:pt x="405" y="0"/>
                    </a:cubicBezTo>
                    <a:cubicBezTo>
                      <a:pt x="334" y="0"/>
                      <a:pt x="283" y="56"/>
                      <a:pt x="283" y="122"/>
                    </a:cubicBezTo>
                    <a:cubicBezTo>
                      <a:pt x="283" y="163"/>
                      <a:pt x="304" y="199"/>
                      <a:pt x="334" y="219"/>
                    </a:cubicBezTo>
                    <a:cubicBezTo>
                      <a:pt x="299" y="239"/>
                      <a:pt x="273" y="265"/>
                      <a:pt x="258" y="295"/>
                    </a:cubicBezTo>
                    <a:cubicBezTo>
                      <a:pt x="238" y="265"/>
                      <a:pt x="202" y="245"/>
                      <a:pt x="162" y="245"/>
                    </a:cubicBezTo>
                    <a:cubicBezTo>
                      <a:pt x="91" y="245"/>
                      <a:pt x="41" y="301"/>
                      <a:pt x="41" y="367"/>
                    </a:cubicBezTo>
                    <a:cubicBezTo>
                      <a:pt x="41" y="407"/>
                      <a:pt x="61" y="443"/>
                      <a:pt x="91" y="463"/>
                    </a:cubicBezTo>
                    <a:cubicBezTo>
                      <a:pt x="36" y="494"/>
                      <a:pt x="0" y="550"/>
                      <a:pt x="0" y="611"/>
                    </a:cubicBezTo>
                    <a:cubicBezTo>
                      <a:pt x="41" y="611"/>
                      <a:pt x="41" y="611"/>
                      <a:pt x="41" y="611"/>
                    </a:cubicBezTo>
                    <a:cubicBezTo>
                      <a:pt x="41" y="545"/>
                      <a:pt x="91" y="489"/>
                      <a:pt x="162" y="489"/>
                    </a:cubicBezTo>
                    <a:cubicBezTo>
                      <a:pt x="228" y="489"/>
                      <a:pt x="283" y="545"/>
                      <a:pt x="283" y="611"/>
                    </a:cubicBezTo>
                    <a:cubicBezTo>
                      <a:pt x="324" y="611"/>
                      <a:pt x="324" y="611"/>
                      <a:pt x="324" y="611"/>
                    </a:cubicBezTo>
                    <a:cubicBezTo>
                      <a:pt x="324" y="550"/>
                      <a:pt x="283" y="494"/>
                      <a:pt x="233" y="463"/>
                    </a:cubicBezTo>
                    <a:cubicBezTo>
                      <a:pt x="263" y="443"/>
                      <a:pt x="283" y="407"/>
                      <a:pt x="283" y="367"/>
                    </a:cubicBezTo>
                    <a:cubicBezTo>
                      <a:pt x="283" y="301"/>
                      <a:pt x="334" y="245"/>
                      <a:pt x="405" y="245"/>
                    </a:cubicBezTo>
                    <a:cubicBezTo>
                      <a:pt x="471" y="245"/>
                      <a:pt x="526" y="301"/>
                      <a:pt x="526" y="367"/>
                    </a:cubicBezTo>
                    <a:cubicBezTo>
                      <a:pt x="567" y="367"/>
                      <a:pt x="567" y="367"/>
                      <a:pt x="567" y="367"/>
                    </a:cubicBezTo>
                    <a:cubicBezTo>
                      <a:pt x="567" y="306"/>
                      <a:pt x="526" y="250"/>
                      <a:pt x="476" y="219"/>
                    </a:cubicBezTo>
                    <a:close/>
                    <a:moveTo>
                      <a:pt x="162" y="448"/>
                    </a:moveTo>
                    <a:cubicBezTo>
                      <a:pt x="116" y="448"/>
                      <a:pt x="81" y="412"/>
                      <a:pt x="81" y="367"/>
                    </a:cubicBezTo>
                    <a:cubicBezTo>
                      <a:pt x="81" y="321"/>
                      <a:pt x="116" y="285"/>
                      <a:pt x="162" y="285"/>
                    </a:cubicBezTo>
                    <a:cubicBezTo>
                      <a:pt x="207" y="285"/>
                      <a:pt x="243" y="321"/>
                      <a:pt x="243" y="367"/>
                    </a:cubicBezTo>
                    <a:cubicBezTo>
                      <a:pt x="243" y="412"/>
                      <a:pt x="207" y="448"/>
                      <a:pt x="162" y="448"/>
                    </a:cubicBezTo>
                    <a:close/>
                    <a:moveTo>
                      <a:pt x="405" y="204"/>
                    </a:moveTo>
                    <a:cubicBezTo>
                      <a:pt x="359" y="204"/>
                      <a:pt x="324" y="168"/>
                      <a:pt x="324" y="122"/>
                    </a:cubicBezTo>
                    <a:cubicBezTo>
                      <a:pt x="324" y="77"/>
                      <a:pt x="359" y="41"/>
                      <a:pt x="405" y="41"/>
                    </a:cubicBezTo>
                    <a:cubicBezTo>
                      <a:pt x="450" y="41"/>
                      <a:pt x="486" y="77"/>
                      <a:pt x="486" y="122"/>
                    </a:cubicBezTo>
                    <a:cubicBezTo>
                      <a:pt x="486" y="168"/>
                      <a:pt x="450" y="204"/>
                      <a:pt x="405" y="2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9" name="Freeform 6"/>
              <p:cNvSpPr>
                <a:spLocks noEditPoints="1"/>
              </p:cNvSpPr>
              <p:nvPr/>
            </p:nvSpPr>
            <p:spPr bwMode="auto">
              <a:xfrm>
                <a:off x="2138363" y="4405313"/>
                <a:ext cx="560388" cy="296862"/>
              </a:xfrm>
              <a:custGeom>
                <a:avLst/>
                <a:gdLst>
                  <a:gd name="T0" fmla="*/ 448 w 448"/>
                  <a:gd name="T1" fmla="*/ 238 h 238"/>
                  <a:gd name="T2" fmla="*/ 98 w 448"/>
                  <a:gd name="T3" fmla="*/ 238 h 238"/>
                  <a:gd name="T4" fmla="*/ 0 w 448"/>
                  <a:gd name="T5" fmla="*/ 146 h 238"/>
                  <a:gd name="T6" fmla="*/ 0 w 448"/>
                  <a:gd name="T7" fmla="*/ 92 h 238"/>
                  <a:gd name="T8" fmla="*/ 98 w 448"/>
                  <a:gd name="T9" fmla="*/ 0 h 238"/>
                  <a:gd name="T10" fmla="*/ 252 w 448"/>
                  <a:gd name="T11" fmla="*/ 0 h 238"/>
                  <a:gd name="T12" fmla="*/ 350 w 448"/>
                  <a:gd name="T13" fmla="*/ 92 h 238"/>
                  <a:gd name="T14" fmla="*/ 350 w 448"/>
                  <a:gd name="T15" fmla="*/ 136 h 238"/>
                  <a:gd name="T16" fmla="*/ 448 w 448"/>
                  <a:gd name="T17" fmla="*/ 238 h 238"/>
                  <a:gd name="T18" fmla="*/ 448 w 448"/>
                  <a:gd name="T19" fmla="*/ 238 h 238"/>
                  <a:gd name="T20" fmla="*/ 98 w 448"/>
                  <a:gd name="T21" fmla="*/ 39 h 238"/>
                  <a:gd name="T22" fmla="*/ 41 w 448"/>
                  <a:gd name="T23" fmla="*/ 92 h 238"/>
                  <a:gd name="T24" fmla="*/ 41 w 448"/>
                  <a:gd name="T25" fmla="*/ 146 h 238"/>
                  <a:gd name="T26" fmla="*/ 98 w 448"/>
                  <a:gd name="T27" fmla="*/ 199 h 238"/>
                  <a:gd name="T28" fmla="*/ 355 w 448"/>
                  <a:gd name="T29" fmla="*/ 199 h 238"/>
                  <a:gd name="T30" fmla="*/ 309 w 448"/>
                  <a:gd name="T31" fmla="*/ 150 h 238"/>
                  <a:gd name="T32" fmla="*/ 309 w 448"/>
                  <a:gd name="T33" fmla="*/ 92 h 238"/>
                  <a:gd name="T34" fmla="*/ 252 w 448"/>
                  <a:gd name="T35" fmla="*/ 39 h 238"/>
                  <a:gd name="T36" fmla="*/ 98 w 448"/>
                  <a:gd name="T37" fmla="*/ 39 h 238"/>
                  <a:gd name="T38" fmla="*/ 98 w 448"/>
                  <a:gd name="T39" fmla="*/ 39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8" h="238">
                    <a:moveTo>
                      <a:pt x="448" y="238"/>
                    </a:moveTo>
                    <a:cubicBezTo>
                      <a:pt x="98" y="238"/>
                      <a:pt x="98" y="238"/>
                      <a:pt x="98" y="238"/>
                    </a:cubicBezTo>
                    <a:cubicBezTo>
                      <a:pt x="47" y="238"/>
                      <a:pt x="0" y="199"/>
                      <a:pt x="0" y="146"/>
                    </a:cubicBezTo>
                    <a:cubicBezTo>
                      <a:pt x="0" y="92"/>
                      <a:pt x="0" y="92"/>
                      <a:pt x="0" y="92"/>
                    </a:cubicBezTo>
                    <a:cubicBezTo>
                      <a:pt x="0" y="43"/>
                      <a:pt x="47" y="0"/>
                      <a:pt x="98" y="0"/>
                    </a:cubicBezTo>
                    <a:cubicBezTo>
                      <a:pt x="252" y="0"/>
                      <a:pt x="252" y="0"/>
                      <a:pt x="252" y="0"/>
                    </a:cubicBezTo>
                    <a:cubicBezTo>
                      <a:pt x="309" y="0"/>
                      <a:pt x="350" y="43"/>
                      <a:pt x="350" y="92"/>
                    </a:cubicBezTo>
                    <a:cubicBezTo>
                      <a:pt x="350" y="136"/>
                      <a:pt x="350" y="136"/>
                      <a:pt x="350" y="136"/>
                    </a:cubicBezTo>
                    <a:cubicBezTo>
                      <a:pt x="448" y="238"/>
                      <a:pt x="448" y="238"/>
                      <a:pt x="448" y="238"/>
                    </a:cubicBezTo>
                    <a:cubicBezTo>
                      <a:pt x="448" y="238"/>
                      <a:pt x="448" y="238"/>
                      <a:pt x="448" y="238"/>
                    </a:cubicBezTo>
                    <a:close/>
                    <a:moveTo>
                      <a:pt x="98" y="39"/>
                    </a:moveTo>
                    <a:cubicBezTo>
                      <a:pt x="67" y="39"/>
                      <a:pt x="41" y="63"/>
                      <a:pt x="41" y="92"/>
                    </a:cubicBezTo>
                    <a:cubicBezTo>
                      <a:pt x="41" y="146"/>
                      <a:pt x="41" y="146"/>
                      <a:pt x="41" y="146"/>
                    </a:cubicBezTo>
                    <a:cubicBezTo>
                      <a:pt x="41" y="175"/>
                      <a:pt x="67" y="199"/>
                      <a:pt x="98" y="199"/>
                    </a:cubicBezTo>
                    <a:cubicBezTo>
                      <a:pt x="355" y="199"/>
                      <a:pt x="355" y="199"/>
                      <a:pt x="355" y="199"/>
                    </a:cubicBezTo>
                    <a:cubicBezTo>
                      <a:pt x="309" y="150"/>
                      <a:pt x="309" y="150"/>
                      <a:pt x="309" y="150"/>
                    </a:cubicBezTo>
                    <a:cubicBezTo>
                      <a:pt x="309" y="92"/>
                      <a:pt x="309" y="92"/>
                      <a:pt x="309" y="92"/>
                    </a:cubicBezTo>
                    <a:cubicBezTo>
                      <a:pt x="309" y="63"/>
                      <a:pt x="283" y="39"/>
                      <a:pt x="252" y="39"/>
                    </a:cubicBezTo>
                    <a:cubicBezTo>
                      <a:pt x="98" y="39"/>
                      <a:pt x="98" y="39"/>
                      <a:pt x="98" y="39"/>
                    </a:cubicBezTo>
                    <a:cubicBezTo>
                      <a:pt x="98" y="39"/>
                      <a:pt x="98" y="39"/>
                      <a:pt x="98" y="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2795764890"/>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Empower your employee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436475" cy="6994525"/>
          </a:xfrm>
        </p:spPr>
        <p:txBody>
          <a:bodyPr/>
          <a:lstStyle/>
          <a:p>
            <a:r>
              <a:rPr lang="en-US"/>
              <a:t>Click icon to add picture</a:t>
            </a:r>
          </a:p>
        </p:txBody>
      </p:sp>
      <p:sp>
        <p:nvSpPr>
          <p:cNvPr id="2" name="Title 1"/>
          <p:cNvSpPr>
            <a:spLocks noGrp="1"/>
          </p:cNvSpPr>
          <p:nvPr>
            <p:ph type="title"/>
          </p:nvPr>
        </p:nvSpPr>
        <p:spPr>
          <a:xfrm>
            <a:off x="0" y="3849977"/>
            <a:ext cx="4799702" cy="2717863"/>
          </a:xfrm>
          <a:noFill/>
        </p:spPr>
        <p:txBody>
          <a:bodyPr lIns="457200" bIns="457200" anchor="t" anchorCtr="0"/>
          <a:lstStyle>
            <a:lvl1pPr>
              <a:defRPr>
                <a:solidFill>
                  <a:schemeClr val="bg1"/>
                </a:solidFill>
              </a:defRPr>
            </a:lvl1pPr>
          </a:lstStyle>
          <a:p>
            <a:r>
              <a:rPr lang="en-US"/>
              <a:t>Click to edit Master title style</a:t>
            </a:r>
          </a:p>
        </p:txBody>
      </p:sp>
      <p:grpSp>
        <p:nvGrpSpPr>
          <p:cNvPr id="17" name="Group 16"/>
          <p:cNvGrpSpPr/>
          <p:nvPr/>
        </p:nvGrpSpPr>
        <p:grpSpPr>
          <a:xfrm>
            <a:off x="0" y="3681329"/>
            <a:ext cx="4995045" cy="2886511"/>
            <a:chOff x="-1" y="3609474"/>
            <a:chExt cx="4896853" cy="2830170"/>
          </a:xfrm>
        </p:grpSpPr>
        <p:sp>
          <p:nvSpPr>
            <p:cNvPr id="5" name="Rectangle 4"/>
            <p:cNvSpPr/>
            <p:nvPr/>
          </p:nvSpPr>
          <p:spPr>
            <a:xfrm>
              <a:off x="-1" y="3609474"/>
              <a:ext cx="4896853" cy="283017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56">
                <a:solidFill>
                  <a:prstClr val="white"/>
                </a:solidFill>
                <a:latin typeface="Segoe UI Light"/>
              </a:endParaRPr>
            </a:p>
          </p:txBody>
        </p:sp>
        <p:grpSp>
          <p:nvGrpSpPr>
            <p:cNvPr id="16" name="Group 15"/>
            <p:cNvGrpSpPr/>
            <p:nvPr/>
          </p:nvGrpSpPr>
          <p:grpSpPr>
            <a:xfrm>
              <a:off x="3592799" y="5118600"/>
              <a:ext cx="821948" cy="1053600"/>
              <a:chOff x="1414463" y="3775075"/>
              <a:chExt cx="1870075" cy="2397125"/>
            </a:xfrm>
            <a:solidFill>
              <a:schemeClr val="accent1">
                <a:lumMod val="75000"/>
              </a:schemeClr>
            </a:solidFill>
          </p:grpSpPr>
          <p:sp>
            <p:nvSpPr>
              <p:cNvPr id="13" name="Freeform 6"/>
              <p:cNvSpPr>
                <a:spLocks noEditPoints="1"/>
              </p:cNvSpPr>
              <p:nvPr/>
            </p:nvSpPr>
            <p:spPr bwMode="auto">
              <a:xfrm>
                <a:off x="1414463" y="3775075"/>
                <a:ext cx="757238" cy="2397125"/>
              </a:xfrm>
              <a:custGeom>
                <a:avLst/>
                <a:gdLst>
                  <a:gd name="T0" fmla="*/ 179 w 227"/>
                  <a:gd name="T1" fmla="*/ 399 h 719"/>
                  <a:gd name="T2" fmla="*/ 227 w 227"/>
                  <a:gd name="T3" fmla="*/ 399 h 719"/>
                  <a:gd name="T4" fmla="*/ 227 w 227"/>
                  <a:gd name="T5" fmla="*/ 365 h 719"/>
                  <a:gd name="T6" fmla="*/ 131 w 227"/>
                  <a:gd name="T7" fmla="*/ 365 h 719"/>
                  <a:gd name="T8" fmla="*/ 131 w 227"/>
                  <a:gd name="T9" fmla="*/ 154 h 719"/>
                  <a:gd name="T10" fmla="*/ 179 w 227"/>
                  <a:gd name="T11" fmla="*/ 108 h 719"/>
                  <a:gd name="T12" fmla="*/ 179 w 227"/>
                  <a:gd name="T13" fmla="*/ 0 h 719"/>
                  <a:gd name="T14" fmla="*/ 48 w 227"/>
                  <a:gd name="T15" fmla="*/ 0 h 719"/>
                  <a:gd name="T16" fmla="*/ 48 w 227"/>
                  <a:gd name="T17" fmla="*/ 108 h 719"/>
                  <a:gd name="T18" fmla="*/ 95 w 227"/>
                  <a:gd name="T19" fmla="*/ 154 h 719"/>
                  <a:gd name="T20" fmla="*/ 95 w 227"/>
                  <a:gd name="T21" fmla="*/ 365 h 719"/>
                  <a:gd name="T22" fmla="*/ 0 w 227"/>
                  <a:gd name="T23" fmla="*/ 365 h 719"/>
                  <a:gd name="T24" fmla="*/ 0 w 227"/>
                  <a:gd name="T25" fmla="*/ 399 h 719"/>
                  <a:gd name="T26" fmla="*/ 48 w 227"/>
                  <a:gd name="T27" fmla="*/ 399 h 719"/>
                  <a:gd name="T28" fmla="*/ 48 w 227"/>
                  <a:gd name="T29" fmla="*/ 656 h 719"/>
                  <a:gd name="T30" fmla="*/ 113 w 227"/>
                  <a:gd name="T31" fmla="*/ 719 h 719"/>
                  <a:gd name="T32" fmla="*/ 179 w 227"/>
                  <a:gd name="T33" fmla="*/ 656 h 719"/>
                  <a:gd name="T34" fmla="*/ 179 w 227"/>
                  <a:gd name="T35" fmla="*/ 399 h 719"/>
                  <a:gd name="T36" fmla="*/ 179 w 227"/>
                  <a:gd name="T37" fmla="*/ 399 h 719"/>
                  <a:gd name="T38" fmla="*/ 84 w 227"/>
                  <a:gd name="T39" fmla="*/ 91 h 719"/>
                  <a:gd name="T40" fmla="*/ 84 w 227"/>
                  <a:gd name="T41" fmla="*/ 34 h 719"/>
                  <a:gd name="T42" fmla="*/ 143 w 227"/>
                  <a:gd name="T43" fmla="*/ 34 h 719"/>
                  <a:gd name="T44" fmla="*/ 143 w 227"/>
                  <a:gd name="T45" fmla="*/ 91 h 719"/>
                  <a:gd name="T46" fmla="*/ 113 w 227"/>
                  <a:gd name="T47" fmla="*/ 119 h 719"/>
                  <a:gd name="T48" fmla="*/ 84 w 227"/>
                  <a:gd name="T49" fmla="*/ 91 h 719"/>
                  <a:gd name="T50" fmla="*/ 84 w 227"/>
                  <a:gd name="T51" fmla="*/ 91 h 719"/>
                  <a:gd name="T52" fmla="*/ 143 w 227"/>
                  <a:gd name="T53" fmla="*/ 656 h 719"/>
                  <a:gd name="T54" fmla="*/ 113 w 227"/>
                  <a:gd name="T55" fmla="*/ 685 h 719"/>
                  <a:gd name="T56" fmla="*/ 84 w 227"/>
                  <a:gd name="T57" fmla="*/ 656 h 719"/>
                  <a:gd name="T58" fmla="*/ 84 w 227"/>
                  <a:gd name="T59" fmla="*/ 399 h 719"/>
                  <a:gd name="T60" fmla="*/ 143 w 227"/>
                  <a:gd name="T61" fmla="*/ 399 h 719"/>
                  <a:gd name="T62" fmla="*/ 143 w 227"/>
                  <a:gd name="T63" fmla="*/ 656 h 719"/>
                  <a:gd name="T64" fmla="*/ 143 w 227"/>
                  <a:gd name="T65" fmla="*/ 656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7" h="719">
                    <a:moveTo>
                      <a:pt x="179" y="399"/>
                    </a:moveTo>
                    <a:cubicBezTo>
                      <a:pt x="227" y="399"/>
                      <a:pt x="227" y="399"/>
                      <a:pt x="227" y="399"/>
                    </a:cubicBezTo>
                    <a:cubicBezTo>
                      <a:pt x="227" y="365"/>
                      <a:pt x="227" y="365"/>
                      <a:pt x="227" y="365"/>
                    </a:cubicBezTo>
                    <a:cubicBezTo>
                      <a:pt x="131" y="365"/>
                      <a:pt x="131" y="365"/>
                      <a:pt x="131" y="365"/>
                    </a:cubicBezTo>
                    <a:cubicBezTo>
                      <a:pt x="131" y="154"/>
                      <a:pt x="131" y="154"/>
                      <a:pt x="131" y="154"/>
                    </a:cubicBezTo>
                    <a:cubicBezTo>
                      <a:pt x="179" y="108"/>
                      <a:pt x="179" y="108"/>
                      <a:pt x="179" y="108"/>
                    </a:cubicBezTo>
                    <a:cubicBezTo>
                      <a:pt x="179" y="0"/>
                      <a:pt x="179" y="0"/>
                      <a:pt x="179" y="0"/>
                    </a:cubicBezTo>
                    <a:cubicBezTo>
                      <a:pt x="48" y="0"/>
                      <a:pt x="48" y="0"/>
                      <a:pt x="48" y="0"/>
                    </a:cubicBezTo>
                    <a:cubicBezTo>
                      <a:pt x="48" y="108"/>
                      <a:pt x="48" y="108"/>
                      <a:pt x="48" y="108"/>
                    </a:cubicBezTo>
                    <a:cubicBezTo>
                      <a:pt x="95" y="154"/>
                      <a:pt x="95" y="154"/>
                      <a:pt x="95" y="154"/>
                    </a:cubicBezTo>
                    <a:cubicBezTo>
                      <a:pt x="95" y="365"/>
                      <a:pt x="95" y="365"/>
                      <a:pt x="95" y="365"/>
                    </a:cubicBezTo>
                    <a:cubicBezTo>
                      <a:pt x="0" y="365"/>
                      <a:pt x="0" y="365"/>
                      <a:pt x="0" y="365"/>
                    </a:cubicBezTo>
                    <a:cubicBezTo>
                      <a:pt x="0" y="399"/>
                      <a:pt x="0" y="399"/>
                      <a:pt x="0" y="399"/>
                    </a:cubicBezTo>
                    <a:cubicBezTo>
                      <a:pt x="48" y="399"/>
                      <a:pt x="48" y="399"/>
                      <a:pt x="48" y="399"/>
                    </a:cubicBezTo>
                    <a:cubicBezTo>
                      <a:pt x="48" y="656"/>
                      <a:pt x="48" y="656"/>
                      <a:pt x="48" y="656"/>
                    </a:cubicBezTo>
                    <a:cubicBezTo>
                      <a:pt x="48" y="690"/>
                      <a:pt x="78" y="719"/>
                      <a:pt x="113" y="719"/>
                    </a:cubicBezTo>
                    <a:cubicBezTo>
                      <a:pt x="149" y="719"/>
                      <a:pt x="179" y="690"/>
                      <a:pt x="179" y="656"/>
                    </a:cubicBezTo>
                    <a:cubicBezTo>
                      <a:pt x="179" y="399"/>
                      <a:pt x="179" y="399"/>
                      <a:pt x="179" y="399"/>
                    </a:cubicBezTo>
                    <a:cubicBezTo>
                      <a:pt x="179" y="399"/>
                      <a:pt x="179" y="399"/>
                      <a:pt x="179" y="399"/>
                    </a:cubicBezTo>
                    <a:close/>
                    <a:moveTo>
                      <a:pt x="84" y="91"/>
                    </a:moveTo>
                    <a:cubicBezTo>
                      <a:pt x="84" y="34"/>
                      <a:pt x="84" y="34"/>
                      <a:pt x="84" y="34"/>
                    </a:cubicBezTo>
                    <a:cubicBezTo>
                      <a:pt x="143" y="34"/>
                      <a:pt x="143" y="34"/>
                      <a:pt x="143" y="34"/>
                    </a:cubicBezTo>
                    <a:cubicBezTo>
                      <a:pt x="143" y="91"/>
                      <a:pt x="143" y="91"/>
                      <a:pt x="143" y="91"/>
                    </a:cubicBezTo>
                    <a:cubicBezTo>
                      <a:pt x="113" y="119"/>
                      <a:pt x="113" y="119"/>
                      <a:pt x="113" y="119"/>
                    </a:cubicBezTo>
                    <a:cubicBezTo>
                      <a:pt x="84" y="91"/>
                      <a:pt x="84" y="91"/>
                      <a:pt x="84" y="91"/>
                    </a:cubicBezTo>
                    <a:cubicBezTo>
                      <a:pt x="84" y="91"/>
                      <a:pt x="84" y="91"/>
                      <a:pt x="84" y="91"/>
                    </a:cubicBezTo>
                    <a:close/>
                    <a:moveTo>
                      <a:pt x="143" y="656"/>
                    </a:moveTo>
                    <a:cubicBezTo>
                      <a:pt x="143" y="673"/>
                      <a:pt x="131" y="685"/>
                      <a:pt x="113" y="685"/>
                    </a:cubicBezTo>
                    <a:cubicBezTo>
                      <a:pt x="95" y="685"/>
                      <a:pt x="84" y="673"/>
                      <a:pt x="84" y="656"/>
                    </a:cubicBezTo>
                    <a:cubicBezTo>
                      <a:pt x="84" y="399"/>
                      <a:pt x="84" y="399"/>
                      <a:pt x="84" y="399"/>
                    </a:cubicBezTo>
                    <a:cubicBezTo>
                      <a:pt x="143" y="399"/>
                      <a:pt x="143" y="399"/>
                      <a:pt x="143" y="399"/>
                    </a:cubicBezTo>
                    <a:cubicBezTo>
                      <a:pt x="143" y="656"/>
                      <a:pt x="143" y="656"/>
                      <a:pt x="143" y="656"/>
                    </a:cubicBezTo>
                    <a:cubicBezTo>
                      <a:pt x="143" y="656"/>
                      <a:pt x="143" y="656"/>
                      <a:pt x="143" y="6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sp>
            <p:nvSpPr>
              <p:cNvPr id="15" name="Freeform 8"/>
              <p:cNvSpPr>
                <a:spLocks noEditPoints="1"/>
              </p:cNvSpPr>
              <p:nvPr/>
            </p:nvSpPr>
            <p:spPr bwMode="auto">
              <a:xfrm>
                <a:off x="2392363" y="3775075"/>
                <a:ext cx="892175" cy="2397125"/>
              </a:xfrm>
              <a:custGeom>
                <a:avLst/>
                <a:gdLst>
                  <a:gd name="T0" fmla="*/ 197 w 267"/>
                  <a:gd name="T1" fmla="*/ 245 h 719"/>
                  <a:gd name="T2" fmla="*/ 203 w 267"/>
                  <a:gd name="T3" fmla="*/ 245 h 719"/>
                  <a:gd name="T4" fmla="*/ 267 w 267"/>
                  <a:gd name="T5" fmla="*/ 131 h 719"/>
                  <a:gd name="T6" fmla="*/ 134 w 267"/>
                  <a:gd name="T7" fmla="*/ 0 h 719"/>
                  <a:gd name="T8" fmla="*/ 0 w 267"/>
                  <a:gd name="T9" fmla="*/ 131 h 719"/>
                  <a:gd name="T10" fmla="*/ 70 w 267"/>
                  <a:gd name="T11" fmla="*/ 245 h 719"/>
                  <a:gd name="T12" fmla="*/ 70 w 267"/>
                  <a:gd name="T13" fmla="*/ 245 h 719"/>
                  <a:gd name="T14" fmla="*/ 70 w 267"/>
                  <a:gd name="T15" fmla="*/ 656 h 719"/>
                  <a:gd name="T16" fmla="*/ 134 w 267"/>
                  <a:gd name="T17" fmla="*/ 719 h 719"/>
                  <a:gd name="T18" fmla="*/ 197 w 267"/>
                  <a:gd name="T19" fmla="*/ 656 h 719"/>
                  <a:gd name="T20" fmla="*/ 197 w 267"/>
                  <a:gd name="T21" fmla="*/ 245 h 719"/>
                  <a:gd name="T22" fmla="*/ 197 w 267"/>
                  <a:gd name="T23" fmla="*/ 245 h 719"/>
                  <a:gd name="T24" fmla="*/ 174 w 267"/>
                  <a:gd name="T25" fmla="*/ 222 h 719"/>
                  <a:gd name="T26" fmla="*/ 163 w 267"/>
                  <a:gd name="T27" fmla="*/ 222 h 719"/>
                  <a:gd name="T28" fmla="*/ 163 w 267"/>
                  <a:gd name="T29" fmla="*/ 656 h 719"/>
                  <a:gd name="T30" fmla="*/ 134 w 267"/>
                  <a:gd name="T31" fmla="*/ 685 h 719"/>
                  <a:gd name="T32" fmla="*/ 105 w 267"/>
                  <a:gd name="T33" fmla="*/ 656 h 719"/>
                  <a:gd name="T34" fmla="*/ 105 w 267"/>
                  <a:gd name="T35" fmla="*/ 222 h 719"/>
                  <a:gd name="T36" fmla="*/ 93 w 267"/>
                  <a:gd name="T37" fmla="*/ 222 h 719"/>
                  <a:gd name="T38" fmla="*/ 35 w 267"/>
                  <a:gd name="T39" fmla="*/ 131 h 719"/>
                  <a:gd name="T40" fmla="*/ 110 w 267"/>
                  <a:gd name="T41" fmla="*/ 40 h 719"/>
                  <a:gd name="T42" fmla="*/ 116 w 267"/>
                  <a:gd name="T43" fmla="*/ 34 h 719"/>
                  <a:gd name="T44" fmla="*/ 116 w 267"/>
                  <a:gd name="T45" fmla="*/ 108 h 719"/>
                  <a:gd name="T46" fmla="*/ 134 w 267"/>
                  <a:gd name="T47" fmla="*/ 125 h 719"/>
                  <a:gd name="T48" fmla="*/ 151 w 267"/>
                  <a:gd name="T49" fmla="*/ 108 h 719"/>
                  <a:gd name="T50" fmla="*/ 151 w 267"/>
                  <a:gd name="T51" fmla="*/ 34 h 719"/>
                  <a:gd name="T52" fmla="*/ 157 w 267"/>
                  <a:gd name="T53" fmla="*/ 40 h 719"/>
                  <a:gd name="T54" fmla="*/ 232 w 267"/>
                  <a:gd name="T55" fmla="*/ 131 h 719"/>
                  <a:gd name="T56" fmla="*/ 174 w 267"/>
                  <a:gd name="T57" fmla="*/ 222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7" h="719">
                    <a:moveTo>
                      <a:pt x="197" y="245"/>
                    </a:moveTo>
                    <a:cubicBezTo>
                      <a:pt x="203" y="245"/>
                      <a:pt x="203" y="245"/>
                      <a:pt x="203" y="245"/>
                    </a:cubicBezTo>
                    <a:cubicBezTo>
                      <a:pt x="244" y="222"/>
                      <a:pt x="267" y="177"/>
                      <a:pt x="267" y="131"/>
                    </a:cubicBezTo>
                    <a:cubicBezTo>
                      <a:pt x="267" y="57"/>
                      <a:pt x="209" y="0"/>
                      <a:pt x="134" y="0"/>
                    </a:cubicBezTo>
                    <a:cubicBezTo>
                      <a:pt x="58" y="0"/>
                      <a:pt x="0" y="57"/>
                      <a:pt x="0" y="131"/>
                    </a:cubicBezTo>
                    <a:cubicBezTo>
                      <a:pt x="0" y="177"/>
                      <a:pt x="24" y="222"/>
                      <a:pt x="70" y="245"/>
                    </a:cubicBezTo>
                    <a:cubicBezTo>
                      <a:pt x="70" y="245"/>
                      <a:pt x="70" y="245"/>
                      <a:pt x="70" y="245"/>
                    </a:cubicBezTo>
                    <a:cubicBezTo>
                      <a:pt x="70" y="656"/>
                      <a:pt x="70" y="656"/>
                      <a:pt x="70" y="656"/>
                    </a:cubicBezTo>
                    <a:cubicBezTo>
                      <a:pt x="70" y="690"/>
                      <a:pt x="99" y="719"/>
                      <a:pt x="134" y="719"/>
                    </a:cubicBezTo>
                    <a:cubicBezTo>
                      <a:pt x="168" y="719"/>
                      <a:pt x="197" y="690"/>
                      <a:pt x="197" y="656"/>
                    </a:cubicBezTo>
                    <a:cubicBezTo>
                      <a:pt x="197" y="245"/>
                      <a:pt x="197" y="245"/>
                      <a:pt x="197" y="245"/>
                    </a:cubicBezTo>
                    <a:cubicBezTo>
                      <a:pt x="197" y="245"/>
                      <a:pt x="197" y="245"/>
                      <a:pt x="197" y="245"/>
                    </a:cubicBezTo>
                    <a:close/>
                    <a:moveTo>
                      <a:pt x="174" y="222"/>
                    </a:moveTo>
                    <a:cubicBezTo>
                      <a:pt x="163" y="222"/>
                      <a:pt x="163" y="222"/>
                      <a:pt x="163" y="222"/>
                    </a:cubicBezTo>
                    <a:cubicBezTo>
                      <a:pt x="163" y="656"/>
                      <a:pt x="163" y="656"/>
                      <a:pt x="163" y="656"/>
                    </a:cubicBezTo>
                    <a:cubicBezTo>
                      <a:pt x="163" y="673"/>
                      <a:pt x="151" y="685"/>
                      <a:pt x="134" y="685"/>
                    </a:cubicBezTo>
                    <a:cubicBezTo>
                      <a:pt x="116" y="685"/>
                      <a:pt x="105" y="673"/>
                      <a:pt x="105" y="656"/>
                    </a:cubicBezTo>
                    <a:cubicBezTo>
                      <a:pt x="105" y="222"/>
                      <a:pt x="105" y="222"/>
                      <a:pt x="105" y="222"/>
                    </a:cubicBezTo>
                    <a:cubicBezTo>
                      <a:pt x="93" y="222"/>
                      <a:pt x="93" y="222"/>
                      <a:pt x="93" y="222"/>
                    </a:cubicBezTo>
                    <a:cubicBezTo>
                      <a:pt x="58" y="205"/>
                      <a:pt x="35" y="171"/>
                      <a:pt x="35" y="131"/>
                    </a:cubicBezTo>
                    <a:cubicBezTo>
                      <a:pt x="35" y="85"/>
                      <a:pt x="64" y="51"/>
                      <a:pt x="110" y="40"/>
                    </a:cubicBezTo>
                    <a:cubicBezTo>
                      <a:pt x="116" y="34"/>
                      <a:pt x="116" y="34"/>
                      <a:pt x="116" y="34"/>
                    </a:cubicBezTo>
                    <a:cubicBezTo>
                      <a:pt x="116" y="108"/>
                      <a:pt x="116" y="108"/>
                      <a:pt x="116" y="108"/>
                    </a:cubicBezTo>
                    <a:cubicBezTo>
                      <a:pt x="116" y="119"/>
                      <a:pt x="122" y="125"/>
                      <a:pt x="134" y="125"/>
                    </a:cubicBezTo>
                    <a:cubicBezTo>
                      <a:pt x="145" y="125"/>
                      <a:pt x="151" y="119"/>
                      <a:pt x="151" y="108"/>
                    </a:cubicBezTo>
                    <a:cubicBezTo>
                      <a:pt x="151" y="34"/>
                      <a:pt x="151" y="34"/>
                      <a:pt x="151" y="34"/>
                    </a:cubicBezTo>
                    <a:cubicBezTo>
                      <a:pt x="157" y="40"/>
                      <a:pt x="157" y="40"/>
                      <a:pt x="157" y="40"/>
                    </a:cubicBezTo>
                    <a:cubicBezTo>
                      <a:pt x="203" y="51"/>
                      <a:pt x="232" y="85"/>
                      <a:pt x="232" y="131"/>
                    </a:cubicBezTo>
                    <a:cubicBezTo>
                      <a:pt x="232" y="171"/>
                      <a:pt x="209" y="205"/>
                      <a:pt x="17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727516468"/>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Optimize your operation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436475" cy="6994525"/>
          </a:xfrm>
        </p:spPr>
        <p:txBody>
          <a:bodyPr/>
          <a:lstStyle/>
          <a:p>
            <a:r>
              <a:rPr lang="en-US"/>
              <a:t>Click icon to add picture</a:t>
            </a:r>
          </a:p>
        </p:txBody>
      </p:sp>
      <p:sp>
        <p:nvSpPr>
          <p:cNvPr id="2" name="Title 1"/>
          <p:cNvSpPr>
            <a:spLocks noGrp="1"/>
          </p:cNvSpPr>
          <p:nvPr>
            <p:ph type="title"/>
          </p:nvPr>
        </p:nvSpPr>
        <p:spPr>
          <a:xfrm>
            <a:off x="0" y="3849977"/>
            <a:ext cx="4857998" cy="2717863"/>
          </a:xfrm>
          <a:noFill/>
        </p:spPr>
        <p:txBody>
          <a:bodyPr lIns="457200" bIns="457200" anchor="t" anchorCtr="0"/>
          <a:lstStyle>
            <a:lvl1pPr>
              <a:defRPr>
                <a:solidFill>
                  <a:schemeClr val="bg1"/>
                </a:solidFill>
              </a:defRPr>
            </a:lvl1pPr>
          </a:lstStyle>
          <a:p>
            <a:r>
              <a:rPr lang="en-US"/>
              <a:t>Click to edit Master title style</a:t>
            </a:r>
          </a:p>
        </p:txBody>
      </p:sp>
      <p:grpSp>
        <p:nvGrpSpPr>
          <p:cNvPr id="14" name="Group 13"/>
          <p:cNvGrpSpPr/>
          <p:nvPr/>
        </p:nvGrpSpPr>
        <p:grpSpPr>
          <a:xfrm>
            <a:off x="0" y="3681329"/>
            <a:ext cx="4995045" cy="2886511"/>
            <a:chOff x="-1" y="3609474"/>
            <a:chExt cx="4896853" cy="2830170"/>
          </a:xfrm>
        </p:grpSpPr>
        <p:sp>
          <p:nvSpPr>
            <p:cNvPr id="5" name="Rectangle 4"/>
            <p:cNvSpPr/>
            <p:nvPr/>
          </p:nvSpPr>
          <p:spPr>
            <a:xfrm>
              <a:off x="-1" y="3609474"/>
              <a:ext cx="4896853" cy="2830170"/>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56">
                <a:solidFill>
                  <a:prstClr val="white"/>
                </a:solidFill>
                <a:latin typeface="Segoe UI Light"/>
              </a:endParaRPr>
            </a:p>
          </p:txBody>
        </p:sp>
        <p:grpSp>
          <p:nvGrpSpPr>
            <p:cNvPr id="12" name="Group 11"/>
            <p:cNvGrpSpPr/>
            <p:nvPr/>
          </p:nvGrpSpPr>
          <p:grpSpPr>
            <a:xfrm>
              <a:off x="3500438" y="5108576"/>
              <a:ext cx="1044575" cy="1060450"/>
              <a:chOff x="3500438" y="5108576"/>
              <a:chExt cx="1044575" cy="1060450"/>
            </a:xfrm>
          </p:grpSpPr>
          <p:sp>
            <p:nvSpPr>
              <p:cNvPr id="8" name="Freeform 5"/>
              <p:cNvSpPr>
                <a:spLocks/>
              </p:cNvSpPr>
              <p:nvPr/>
            </p:nvSpPr>
            <p:spPr bwMode="auto">
              <a:xfrm>
                <a:off x="3500438" y="5108576"/>
                <a:ext cx="688975" cy="1020763"/>
              </a:xfrm>
              <a:custGeom>
                <a:avLst/>
                <a:gdLst>
                  <a:gd name="T0" fmla="*/ 36 w 477"/>
                  <a:gd name="T1" fmla="*/ 371 h 708"/>
                  <a:gd name="T2" fmla="*/ 360 w 477"/>
                  <a:gd name="T3" fmla="*/ 36 h 708"/>
                  <a:gd name="T4" fmla="*/ 468 w 477"/>
                  <a:gd name="T5" fmla="*/ 54 h 708"/>
                  <a:gd name="T6" fmla="*/ 477 w 477"/>
                  <a:gd name="T7" fmla="*/ 19 h 708"/>
                  <a:gd name="T8" fmla="*/ 360 w 477"/>
                  <a:gd name="T9" fmla="*/ 0 h 708"/>
                  <a:gd name="T10" fmla="*/ 0 w 477"/>
                  <a:gd name="T11" fmla="*/ 371 h 708"/>
                  <a:gd name="T12" fmla="*/ 203 w 477"/>
                  <a:gd name="T13" fmla="*/ 708 h 708"/>
                  <a:gd name="T14" fmla="*/ 220 w 477"/>
                  <a:gd name="T15" fmla="*/ 676 h 708"/>
                  <a:gd name="T16" fmla="*/ 36 w 477"/>
                  <a:gd name="T17" fmla="*/ 371 h 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7" h="708">
                    <a:moveTo>
                      <a:pt x="36" y="371"/>
                    </a:moveTo>
                    <a:cubicBezTo>
                      <a:pt x="36" y="186"/>
                      <a:pt x="181" y="36"/>
                      <a:pt x="360" y="36"/>
                    </a:cubicBezTo>
                    <a:cubicBezTo>
                      <a:pt x="398" y="36"/>
                      <a:pt x="432" y="45"/>
                      <a:pt x="468" y="54"/>
                    </a:cubicBezTo>
                    <a:cubicBezTo>
                      <a:pt x="477" y="19"/>
                      <a:pt x="477" y="19"/>
                      <a:pt x="477" y="19"/>
                    </a:cubicBezTo>
                    <a:cubicBezTo>
                      <a:pt x="440" y="10"/>
                      <a:pt x="403" y="0"/>
                      <a:pt x="360" y="0"/>
                    </a:cubicBezTo>
                    <a:cubicBezTo>
                      <a:pt x="161" y="0"/>
                      <a:pt x="0" y="166"/>
                      <a:pt x="0" y="371"/>
                    </a:cubicBezTo>
                    <a:cubicBezTo>
                      <a:pt x="0" y="512"/>
                      <a:pt x="78" y="641"/>
                      <a:pt x="203" y="708"/>
                    </a:cubicBezTo>
                    <a:cubicBezTo>
                      <a:pt x="220" y="676"/>
                      <a:pt x="220" y="676"/>
                      <a:pt x="220" y="676"/>
                    </a:cubicBezTo>
                    <a:cubicBezTo>
                      <a:pt x="107" y="615"/>
                      <a:pt x="36" y="498"/>
                      <a:pt x="36" y="371"/>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9" name="Freeform 6"/>
              <p:cNvSpPr>
                <a:spLocks noEditPoints="1"/>
              </p:cNvSpPr>
              <p:nvPr/>
            </p:nvSpPr>
            <p:spPr bwMode="auto">
              <a:xfrm>
                <a:off x="3683000" y="5307013"/>
                <a:ext cx="679450" cy="681038"/>
              </a:xfrm>
              <a:custGeom>
                <a:avLst/>
                <a:gdLst>
                  <a:gd name="T0" fmla="*/ 454 w 470"/>
                  <a:gd name="T1" fmla="*/ 123 h 472"/>
                  <a:gd name="T2" fmla="*/ 418 w 470"/>
                  <a:gd name="T3" fmla="*/ 141 h 472"/>
                  <a:gd name="T4" fmla="*/ 326 w 470"/>
                  <a:gd name="T5" fmla="*/ 52 h 472"/>
                  <a:gd name="T6" fmla="*/ 347 w 470"/>
                  <a:gd name="T7" fmla="*/ 20 h 472"/>
                  <a:gd name="T8" fmla="*/ 317 w 470"/>
                  <a:gd name="T9" fmla="*/ 0 h 472"/>
                  <a:gd name="T10" fmla="*/ 291 w 470"/>
                  <a:gd name="T11" fmla="*/ 38 h 472"/>
                  <a:gd name="T12" fmla="*/ 235 w 470"/>
                  <a:gd name="T13" fmla="*/ 30 h 472"/>
                  <a:gd name="T14" fmla="*/ 179 w 470"/>
                  <a:gd name="T15" fmla="*/ 38 h 472"/>
                  <a:gd name="T16" fmla="*/ 153 w 470"/>
                  <a:gd name="T17" fmla="*/ 0 h 472"/>
                  <a:gd name="T18" fmla="*/ 123 w 470"/>
                  <a:gd name="T19" fmla="*/ 20 h 472"/>
                  <a:gd name="T20" fmla="*/ 144 w 470"/>
                  <a:gd name="T21" fmla="*/ 52 h 472"/>
                  <a:gd name="T22" fmla="*/ 52 w 470"/>
                  <a:gd name="T23" fmla="*/ 141 h 472"/>
                  <a:gd name="T24" fmla="*/ 16 w 470"/>
                  <a:gd name="T25" fmla="*/ 123 h 472"/>
                  <a:gd name="T26" fmla="*/ 0 w 470"/>
                  <a:gd name="T27" fmla="*/ 155 h 472"/>
                  <a:gd name="T28" fmla="*/ 38 w 470"/>
                  <a:gd name="T29" fmla="*/ 175 h 472"/>
                  <a:gd name="T30" fmla="*/ 29 w 470"/>
                  <a:gd name="T31" fmla="*/ 236 h 472"/>
                  <a:gd name="T32" fmla="*/ 38 w 470"/>
                  <a:gd name="T33" fmla="*/ 298 h 472"/>
                  <a:gd name="T34" fmla="*/ 0 w 470"/>
                  <a:gd name="T35" fmla="*/ 318 h 472"/>
                  <a:gd name="T36" fmla="*/ 16 w 470"/>
                  <a:gd name="T37" fmla="*/ 350 h 472"/>
                  <a:gd name="T38" fmla="*/ 52 w 470"/>
                  <a:gd name="T39" fmla="*/ 332 h 472"/>
                  <a:gd name="T40" fmla="*/ 140 w 470"/>
                  <a:gd name="T41" fmla="*/ 419 h 472"/>
                  <a:gd name="T42" fmla="*/ 122 w 470"/>
                  <a:gd name="T43" fmla="*/ 455 h 472"/>
                  <a:gd name="T44" fmla="*/ 154 w 470"/>
                  <a:gd name="T45" fmla="*/ 472 h 472"/>
                  <a:gd name="T46" fmla="*/ 173 w 470"/>
                  <a:gd name="T47" fmla="*/ 433 h 472"/>
                  <a:gd name="T48" fmla="*/ 235 w 470"/>
                  <a:gd name="T49" fmla="*/ 443 h 472"/>
                  <a:gd name="T50" fmla="*/ 297 w 470"/>
                  <a:gd name="T51" fmla="*/ 433 h 472"/>
                  <a:gd name="T52" fmla="*/ 316 w 470"/>
                  <a:gd name="T53" fmla="*/ 472 h 472"/>
                  <a:gd name="T54" fmla="*/ 348 w 470"/>
                  <a:gd name="T55" fmla="*/ 455 h 472"/>
                  <a:gd name="T56" fmla="*/ 330 w 470"/>
                  <a:gd name="T57" fmla="*/ 419 h 472"/>
                  <a:gd name="T58" fmla="*/ 418 w 470"/>
                  <a:gd name="T59" fmla="*/ 332 h 472"/>
                  <a:gd name="T60" fmla="*/ 454 w 470"/>
                  <a:gd name="T61" fmla="*/ 350 h 472"/>
                  <a:gd name="T62" fmla="*/ 470 w 470"/>
                  <a:gd name="T63" fmla="*/ 318 h 472"/>
                  <a:gd name="T64" fmla="*/ 432 w 470"/>
                  <a:gd name="T65" fmla="*/ 298 h 472"/>
                  <a:gd name="T66" fmla="*/ 441 w 470"/>
                  <a:gd name="T67" fmla="*/ 236 h 472"/>
                  <a:gd name="T68" fmla="*/ 432 w 470"/>
                  <a:gd name="T69" fmla="*/ 175 h 472"/>
                  <a:gd name="T70" fmla="*/ 470 w 470"/>
                  <a:gd name="T71" fmla="*/ 155 h 472"/>
                  <a:gd name="T72" fmla="*/ 454 w 470"/>
                  <a:gd name="T73" fmla="*/ 123 h 472"/>
                  <a:gd name="T74" fmla="*/ 235 w 470"/>
                  <a:gd name="T75" fmla="*/ 407 h 472"/>
                  <a:gd name="T76" fmla="*/ 65 w 470"/>
                  <a:gd name="T77" fmla="*/ 236 h 472"/>
                  <a:gd name="T78" fmla="*/ 235 w 470"/>
                  <a:gd name="T79" fmla="*/ 66 h 472"/>
                  <a:gd name="T80" fmla="*/ 405 w 470"/>
                  <a:gd name="T81" fmla="*/ 236 h 472"/>
                  <a:gd name="T82" fmla="*/ 235 w 470"/>
                  <a:gd name="T83" fmla="*/ 407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0" h="472">
                    <a:moveTo>
                      <a:pt x="454" y="123"/>
                    </a:moveTo>
                    <a:cubicBezTo>
                      <a:pt x="418" y="141"/>
                      <a:pt x="418" y="141"/>
                      <a:pt x="418" y="141"/>
                    </a:cubicBezTo>
                    <a:cubicBezTo>
                      <a:pt x="397" y="103"/>
                      <a:pt x="365" y="71"/>
                      <a:pt x="326" y="52"/>
                    </a:cubicBezTo>
                    <a:cubicBezTo>
                      <a:pt x="347" y="20"/>
                      <a:pt x="347" y="20"/>
                      <a:pt x="347" y="20"/>
                    </a:cubicBezTo>
                    <a:cubicBezTo>
                      <a:pt x="317" y="0"/>
                      <a:pt x="317" y="0"/>
                      <a:pt x="317" y="0"/>
                    </a:cubicBezTo>
                    <a:cubicBezTo>
                      <a:pt x="291" y="38"/>
                      <a:pt x="291" y="38"/>
                      <a:pt x="291" y="38"/>
                    </a:cubicBezTo>
                    <a:cubicBezTo>
                      <a:pt x="274" y="33"/>
                      <a:pt x="255" y="30"/>
                      <a:pt x="235" y="30"/>
                    </a:cubicBezTo>
                    <a:cubicBezTo>
                      <a:pt x="215" y="30"/>
                      <a:pt x="196" y="33"/>
                      <a:pt x="179" y="38"/>
                    </a:cubicBezTo>
                    <a:cubicBezTo>
                      <a:pt x="153" y="0"/>
                      <a:pt x="153" y="0"/>
                      <a:pt x="153" y="0"/>
                    </a:cubicBezTo>
                    <a:cubicBezTo>
                      <a:pt x="123" y="20"/>
                      <a:pt x="123" y="20"/>
                      <a:pt x="123" y="20"/>
                    </a:cubicBezTo>
                    <a:cubicBezTo>
                      <a:pt x="144" y="52"/>
                      <a:pt x="144" y="52"/>
                      <a:pt x="144" y="52"/>
                    </a:cubicBezTo>
                    <a:cubicBezTo>
                      <a:pt x="105" y="71"/>
                      <a:pt x="73" y="103"/>
                      <a:pt x="52" y="141"/>
                    </a:cubicBezTo>
                    <a:cubicBezTo>
                      <a:pt x="16" y="123"/>
                      <a:pt x="16" y="123"/>
                      <a:pt x="16" y="123"/>
                    </a:cubicBezTo>
                    <a:cubicBezTo>
                      <a:pt x="0" y="155"/>
                      <a:pt x="0" y="155"/>
                      <a:pt x="0" y="155"/>
                    </a:cubicBezTo>
                    <a:cubicBezTo>
                      <a:pt x="38" y="175"/>
                      <a:pt x="38" y="175"/>
                      <a:pt x="38" y="175"/>
                    </a:cubicBezTo>
                    <a:cubicBezTo>
                      <a:pt x="32" y="194"/>
                      <a:pt x="29" y="215"/>
                      <a:pt x="29" y="236"/>
                    </a:cubicBezTo>
                    <a:cubicBezTo>
                      <a:pt x="29" y="258"/>
                      <a:pt x="32" y="279"/>
                      <a:pt x="38" y="298"/>
                    </a:cubicBezTo>
                    <a:cubicBezTo>
                      <a:pt x="0" y="318"/>
                      <a:pt x="0" y="318"/>
                      <a:pt x="0" y="318"/>
                    </a:cubicBezTo>
                    <a:cubicBezTo>
                      <a:pt x="16" y="350"/>
                      <a:pt x="16" y="350"/>
                      <a:pt x="16" y="350"/>
                    </a:cubicBezTo>
                    <a:cubicBezTo>
                      <a:pt x="52" y="332"/>
                      <a:pt x="52" y="332"/>
                      <a:pt x="52" y="332"/>
                    </a:cubicBezTo>
                    <a:cubicBezTo>
                      <a:pt x="72" y="369"/>
                      <a:pt x="102" y="400"/>
                      <a:pt x="140" y="419"/>
                    </a:cubicBezTo>
                    <a:cubicBezTo>
                      <a:pt x="122" y="455"/>
                      <a:pt x="122" y="455"/>
                      <a:pt x="122" y="455"/>
                    </a:cubicBezTo>
                    <a:cubicBezTo>
                      <a:pt x="154" y="472"/>
                      <a:pt x="154" y="472"/>
                      <a:pt x="154" y="472"/>
                    </a:cubicBezTo>
                    <a:cubicBezTo>
                      <a:pt x="173" y="433"/>
                      <a:pt x="173" y="433"/>
                      <a:pt x="173" y="433"/>
                    </a:cubicBezTo>
                    <a:cubicBezTo>
                      <a:pt x="193" y="439"/>
                      <a:pt x="213" y="443"/>
                      <a:pt x="235" y="443"/>
                    </a:cubicBezTo>
                    <a:cubicBezTo>
                      <a:pt x="257" y="443"/>
                      <a:pt x="277" y="439"/>
                      <a:pt x="297" y="433"/>
                    </a:cubicBezTo>
                    <a:cubicBezTo>
                      <a:pt x="316" y="472"/>
                      <a:pt x="316" y="472"/>
                      <a:pt x="316" y="472"/>
                    </a:cubicBezTo>
                    <a:cubicBezTo>
                      <a:pt x="348" y="455"/>
                      <a:pt x="348" y="455"/>
                      <a:pt x="348" y="455"/>
                    </a:cubicBezTo>
                    <a:cubicBezTo>
                      <a:pt x="330" y="419"/>
                      <a:pt x="330" y="419"/>
                      <a:pt x="330" y="419"/>
                    </a:cubicBezTo>
                    <a:cubicBezTo>
                      <a:pt x="368" y="400"/>
                      <a:pt x="398" y="369"/>
                      <a:pt x="418" y="332"/>
                    </a:cubicBezTo>
                    <a:cubicBezTo>
                      <a:pt x="454" y="350"/>
                      <a:pt x="454" y="350"/>
                      <a:pt x="454" y="350"/>
                    </a:cubicBezTo>
                    <a:cubicBezTo>
                      <a:pt x="470" y="318"/>
                      <a:pt x="470" y="318"/>
                      <a:pt x="470" y="318"/>
                    </a:cubicBezTo>
                    <a:cubicBezTo>
                      <a:pt x="432" y="298"/>
                      <a:pt x="432" y="298"/>
                      <a:pt x="432" y="298"/>
                    </a:cubicBezTo>
                    <a:cubicBezTo>
                      <a:pt x="438" y="279"/>
                      <a:pt x="441" y="258"/>
                      <a:pt x="441" y="236"/>
                    </a:cubicBezTo>
                    <a:cubicBezTo>
                      <a:pt x="441" y="215"/>
                      <a:pt x="438" y="194"/>
                      <a:pt x="432" y="175"/>
                    </a:cubicBezTo>
                    <a:cubicBezTo>
                      <a:pt x="470" y="155"/>
                      <a:pt x="470" y="155"/>
                      <a:pt x="470" y="155"/>
                    </a:cubicBezTo>
                    <a:lnTo>
                      <a:pt x="454" y="123"/>
                    </a:lnTo>
                    <a:close/>
                    <a:moveTo>
                      <a:pt x="235" y="407"/>
                    </a:moveTo>
                    <a:cubicBezTo>
                      <a:pt x="141" y="407"/>
                      <a:pt x="65" y="330"/>
                      <a:pt x="65" y="236"/>
                    </a:cubicBezTo>
                    <a:cubicBezTo>
                      <a:pt x="65" y="143"/>
                      <a:pt x="141" y="66"/>
                      <a:pt x="235" y="66"/>
                    </a:cubicBezTo>
                    <a:cubicBezTo>
                      <a:pt x="329" y="66"/>
                      <a:pt x="405" y="143"/>
                      <a:pt x="405" y="236"/>
                    </a:cubicBezTo>
                    <a:cubicBezTo>
                      <a:pt x="405" y="330"/>
                      <a:pt x="329" y="407"/>
                      <a:pt x="235" y="407"/>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0" name="Freeform 7"/>
              <p:cNvSpPr>
                <a:spLocks/>
              </p:cNvSpPr>
              <p:nvPr/>
            </p:nvSpPr>
            <p:spPr bwMode="auto">
              <a:xfrm>
                <a:off x="4227513" y="5165726"/>
                <a:ext cx="277813" cy="277813"/>
              </a:xfrm>
              <a:custGeom>
                <a:avLst/>
                <a:gdLst>
                  <a:gd name="T0" fmla="*/ 160 w 192"/>
                  <a:gd name="T1" fmla="*/ 193 h 193"/>
                  <a:gd name="T2" fmla="*/ 192 w 192"/>
                  <a:gd name="T3" fmla="*/ 177 h 193"/>
                  <a:gd name="T4" fmla="*/ 15 w 192"/>
                  <a:gd name="T5" fmla="*/ 0 h 193"/>
                  <a:gd name="T6" fmla="*/ 0 w 192"/>
                  <a:gd name="T7" fmla="*/ 33 h 193"/>
                  <a:gd name="T8" fmla="*/ 160 w 192"/>
                  <a:gd name="T9" fmla="*/ 193 h 193"/>
                </a:gdLst>
                <a:ahLst/>
                <a:cxnLst>
                  <a:cxn ang="0">
                    <a:pos x="T0" y="T1"/>
                  </a:cxn>
                  <a:cxn ang="0">
                    <a:pos x="T2" y="T3"/>
                  </a:cxn>
                  <a:cxn ang="0">
                    <a:pos x="T4" y="T5"/>
                  </a:cxn>
                  <a:cxn ang="0">
                    <a:pos x="T6" y="T7"/>
                  </a:cxn>
                  <a:cxn ang="0">
                    <a:pos x="T8" y="T9"/>
                  </a:cxn>
                </a:cxnLst>
                <a:rect l="0" t="0" r="r" b="b"/>
                <a:pathLst>
                  <a:path w="192" h="193">
                    <a:moveTo>
                      <a:pt x="160" y="193"/>
                    </a:moveTo>
                    <a:cubicBezTo>
                      <a:pt x="192" y="177"/>
                      <a:pt x="192" y="177"/>
                      <a:pt x="192" y="177"/>
                    </a:cubicBezTo>
                    <a:cubicBezTo>
                      <a:pt x="153" y="99"/>
                      <a:pt x="88" y="35"/>
                      <a:pt x="15" y="0"/>
                    </a:cubicBezTo>
                    <a:cubicBezTo>
                      <a:pt x="0" y="33"/>
                      <a:pt x="0" y="33"/>
                      <a:pt x="0" y="33"/>
                    </a:cubicBezTo>
                    <a:cubicBezTo>
                      <a:pt x="66" y="64"/>
                      <a:pt x="124" y="122"/>
                      <a:pt x="160" y="193"/>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sp>
            <p:nvSpPr>
              <p:cNvPr id="11" name="Freeform 8"/>
              <p:cNvSpPr>
                <a:spLocks/>
              </p:cNvSpPr>
              <p:nvPr/>
            </p:nvSpPr>
            <p:spPr bwMode="auto">
              <a:xfrm>
                <a:off x="3856038" y="5464176"/>
                <a:ext cx="688975" cy="704850"/>
              </a:xfrm>
              <a:custGeom>
                <a:avLst/>
                <a:gdLst>
                  <a:gd name="T0" fmla="*/ 458 w 477"/>
                  <a:gd name="T1" fmla="*/ 0 h 489"/>
                  <a:gd name="T2" fmla="*/ 423 w 477"/>
                  <a:gd name="T3" fmla="*/ 9 h 489"/>
                  <a:gd name="T4" fmla="*/ 441 w 477"/>
                  <a:gd name="T5" fmla="*/ 120 h 489"/>
                  <a:gd name="T6" fmla="*/ 117 w 477"/>
                  <a:gd name="T7" fmla="*/ 453 h 489"/>
                  <a:gd name="T8" fmla="*/ 9 w 477"/>
                  <a:gd name="T9" fmla="*/ 435 h 489"/>
                  <a:gd name="T10" fmla="*/ 9 w 477"/>
                  <a:gd name="T11" fmla="*/ 435 h 489"/>
                  <a:gd name="T12" fmla="*/ 0 w 477"/>
                  <a:gd name="T13" fmla="*/ 470 h 489"/>
                  <a:gd name="T14" fmla="*/ 117 w 477"/>
                  <a:gd name="T15" fmla="*/ 489 h 489"/>
                  <a:gd name="T16" fmla="*/ 477 w 477"/>
                  <a:gd name="T17" fmla="*/ 120 h 489"/>
                  <a:gd name="T18" fmla="*/ 458 w 477"/>
                  <a:gd name="T19" fmla="*/ 0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7" h="489">
                    <a:moveTo>
                      <a:pt x="458" y="0"/>
                    </a:moveTo>
                    <a:cubicBezTo>
                      <a:pt x="423" y="9"/>
                      <a:pt x="423" y="9"/>
                      <a:pt x="423" y="9"/>
                    </a:cubicBezTo>
                    <a:cubicBezTo>
                      <a:pt x="432" y="45"/>
                      <a:pt x="441" y="80"/>
                      <a:pt x="441" y="120"/>
                    </a:cubicBezTo>
                    <a:cubicBezTo>
                      <a:pt x="441" y="304"/>
                      <a:pt x="296" y="453"/>
                      <a:pt x="117" y="453"/>
                    </a:cubicBezTo>
                    <a:cubicBezTo>
                      <a:pt x="79" y="453"/>
                      <a:pt x="45" y="444"/>
                      <a:pt x="9" y="435"/>
                    </a:cubicBezTo>
                    <a:cubicBezTo>
                      <a:pt x="9" y="435"/>
                      <a:pt x="9" y="435"/>
                      <a:pt x="9" y="435"/>
                    </a:cubicBezTo>
                    <a:cubicBezTo>
                      <a:pt x="0" y="470"/>
                      <a:pt x="0" y="470"/>
                      <a:pt x="0" y="470"/>
                    </a:cubicBezTo>
                    <a:cubicBezTo>
                      <a:pt x="37" y="480"/>
                      <a:pt x="74" y="489"/>
                      <a:pt x="117" y="489"/>
                    </a:cubicBezTo>
                    <a:cubicBezTo>
                      <a:pt x="316" y="489"/>
                      <a:pt x="477" y="324"/>
                      <a:pt x="477" y="120"/>
                    </a:cubicBezTo>
                    <a:cubicBezTo>
                      <a:pt x="477" y="76"/>
                      <a:pt x="468" y="37"/>
                      <a:pt x="458" y="0"/>
                    </a:cubicBezTo>
                    <a:close/>
                  </a:path>
                </a:pathLst>
              </a:custGeom>
              <a:solidFill>
                <a:schemeClr val="tx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grpSp>
      </p:grpSp>
    </p:spTree>
    <p:extLst>
      <p:ext uri="{BB962C8B-B14F-4D97-AF65-F5344CB8AC3E}">
        <p14:creationId xmlns:p14="http://schemas.microsoft.com/office/powerpoint/2010/main" val="1303561054"/>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Transform your products section divider">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436475" cy="6994525"/>
          </a:xfrm>
        </p:spPr>
        <p:txBody>
          <a:bodyPr/>
          <a:lstStyle/>
          <a:p>
            <a:r>
              <a:rPr lang="en-US"/>
              <a:t>Click icon to add picture</a:t>
            </a:r>
          </a:p>
        </p:txBody>
      </p:sp>
      <p:sp>
        <p:nvSpPr>
          <p:cNvPr id="2" name="Title 1"/>
          <p:cNvSpPr>
            <a:spLocks noGrp="1"/>
          </p:cNvSpPr>
          <p:nvPr>
            <p:ph type="title"/>
          </p:nvPr>
        </p:nvSpPr>
        <p:spPr>
          <a:xfrm>
            <a:off x="0" y="3849977"/>
            <a:ext cx="4838566" cy="2717863"/>
          </a:xfrm>
          <a:noFill/>
        </p:spPr>
        <p:txBody>
          <a:bodyPr lIns="457200" bIns="457200" anchor="t" anchorCtr="0"/>
          <a:lstStyle>
            <a:lvl1pPr>
              <a:defRPr>
                <a:solidFill>
                  <a:schemeClr val="bg1"/>
                </a:solidFill>
              </a:defRPr>
            </a:lvl1pPr>
          </a:lstStyle>
          <a:p>
            <a:r>
              <a:rPr lang="en-US"/>
              <a:t>Click to edit Master title style</a:t>
            </a:r>
          </a:p>
        </p:txBody>
      </p:sp>
      <p:grpSp>
        <p:nvGrpSpPr>
          <p:cNvPr id="14" name="Group 13"/>
          <p:cNvGrpSpPr/>
          <p:nvPr/>
        </p:nvGrpSpPr>
        <p:grpSpPr>
          <a:xfrm>
            <a:off x="0" y="3681329"/>
            <a:ext cx="4995045" cy="2886511"/>
            <a:chOff x="-1" y="3609474"/>
            <a:chExt cx="4896853" cy="2830170"/>
          </a:xfrm>
        </p:grpSpPr>
        <p:sp>
          <p:nvSpPr>
            <p:cNvPr id="5" name="Rectangle 4"/>
            <p:cNvSpPr/>
            <p:nvPr/>
          </p:nvSpPr>
          <p:spPr>
            <a:xfrm>
              <a:off x="-1" y="3609474"/>
              <a:ext cx="4896853" cy="283017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lvl="0"/>
              <a:endParaRPr lang="en-US" sz="2856">
                <a:solidFill>
                  <a:prstClr val="white"/>
                </a:solidFill>
                <a:latin typeface="Segoe UI Light"/>
              </a:endParaRPr>
            </a:p>
          </p:txBody>
        </p:sp>
        <p:sp>
          <p:nvSpPr>
            <p:cNvPr id="13" name="Freeform 5"/>
            <p:cNvSpPr>
              <a:spLocks noEditPoints="1"/>
            </p:cNvSpPr>
            <p:nvPr/>
          </p:nvSpPr>
          <p:spPr bwMode="auto">
            <a:xfrm>
              <a:off x="3683000" y="5300663"/>
              <a:ext cx="795338" cy="793750"/>
            </a:xfrm>
            <a:custGeom>
              <a:avLst/>
              <a:gdLst>
                <a:gd name="T0" fmla="*/ 483 w 501"/>
                <a:gd name="T1" fmla="*/ 148 h 500"/>
                <a:gd name="T2" fmla="*/ 483 w 501"/>
                <a:gd name="T3" fmla="*/ 148 h 500"/>
                <a:gd name="T4" fmla="*/ 482 w 501"/>
                <a:gd name="T5" fmla="*/ 148 h 500"/>
                <a:gd name="T6" fmla="*/ 404 w 501"/>
                <a:gd name="T7" fmla="*/ 69 h 500"/>
                <a:gd name="T8" fmla="*/ 404 w 501"/>
                <a:gd name="T9" fmla="*/ 69 h 500"/>
                <a:gd name="T10" fmla="*/ 403 w 501"/>
                <a:gd name="T11" fmla="*/ 69 h 500"/>
                <a:gd name="T12" fmla="*/ 334 w 501"/>
                <a:gd name="T13" fmla="*/ 0 h 500"/>
                <a:gd name="T14" fmla="*/ 0 w 501"/>
                <a:gd name="T15" fmla="*/ 0 h 500"/>
                <a:gd name="T16" fmla="*/ 0 w 501"/>
                <a:gd name="T17" fmla="*/ 334 h 500"/>
                <a:gd name="T18" fmla="*/ 167 w 501"/>
                <a:gd name="T19" fmla="*/ 500 h 500"/>
                <a:gd name="T20" fmla="*/ 501 w 501"/>
                <a:gd name="T21" fmla="*/ 500 h 500"/>
                <a:gd name="T22" fmla="*/ 501 w 501"/>
                <a:gd name="T23" fmla="*/ 166 h 500"/>
                <a:gd name="T24" fmla="*/ 483 w 501"/>
                <a:gd name="T25" fmla="*/ 148 h 500"/>
                <a:gd name="T26" fmla="*/ 181 w 501"/>
                <a:gd name="T27" fmla="*/ 148 h 500"/>
                <a:gd name="T28" fmla="*/ 64 w 501"/>
                <a:gd name="T29" fmla="*/ 36 h 500"/>
                <a:gd name="T30" fmla="*/ 169 w 501"/>
                <a:gd name="T31" fmla="*/ 36 h 500"/>
                <a:gd name="T32" fmla="*/ 288 w 501"/>
                <a:gd name="T33" fmla="*/ 148 h 500"/>
                <a:gd name="T34" fmla="*/ 181 w 501"/>
                <a:gd name="T35" fmla="*/ 148 h 500"/>
                <a:gd name="T36" fmla="*/ 342 w 501"/>
                <a:gd name="T37" fmla="*/ 148 h 500"/>
                <a:gd name="T38" fmla="*/ 296 w 501"/>
                <a:gd name="T39" fmla="*/ 106 h 500"/>
                <a:gd name="T40" fmla="*/ 388 w 501"/>
                <a:gd name="T41" fmla="*/ 106 h 500"/>
                <a:gd name="T42" fmla="*/ 431 w 501"/>
                <a:gd name="T43" fmla="*/ 148 h 500"/>
                <a:gd name="T44" fmla="*/ 342 w 501"/>
                <a:gd name="T45" fmla="*/ 148 h 500"/>
                <a:gd name="T46" fmla="*/ 352 w 501"/>
                <a:gd name="T47" fmla="*/ 69 h 500"/>
                <a:gd name="T48" fmla="*/ 258 w 501"/>
                <a:gd name="T49" fmla="*/ 69 h 500"/>
                <a:gd name="T50" fmla="*/ 222 w 501"/>
                <a:gd name="T51" fmla="*/ 36 h 500"/>
                <a:gd name="T52" fmla="*/ 319 w 501"/>
                <a:gd name="T53" fmla="*/ 36 h 500"/>
                <a:gd name="T54" fmla="*/ 352 w 501"/>
                <a:gd name="T55" fmla="*/ 69 h 500"/>
                <a:gd name="T56" fmla="*/ 37 w 501"/>
                <a:gd name="T57" fmla="*/ 61 h 500"/>
                <a:gd name="T58" fmla="*/ 158 w 501"/>
                <a:gd name="T59" fmla="*/ 176 h 500"/>
                <a:gd name="T60" fmla="*/ 158 w 501"/>
                <a:gd name="T61" fmla="*/ 440 h 500"/>
                <a:gd name="T62" fmla="*/ 37 w 501"/>
                <a:gd name="T63" fmla="*/ 319 h 500"/>
                <a:gd name="T64" fmla="*/ 37 w 501"/>
                <a:gd name="T65" fmla="*/ 61 h 500"/>
                <a:gd name="T66" fmla="*/ 194 w 501"/>
                <a:gd name="T67" fmla="*/ 464 h 500"/>
                <a:gd name="T68" fmla="*/ 194 w 501"/>
                <a:gd name="T69" fmla="*/ 185 h 500"/>
                <a:gd name="T70" fmla="*/ 464 w 501"/>
                <a:gd name="T71" fmla="*/ 185 h 500"/>
                <a:gd name="T72" fmla="*/ 464 w 501"/>
                <a:gd name="T73" fmla="*/ 464 h 500"/>
                <a:gd name="T74" fmla="*/ 194 w 501"/>
                <a:gd name="T75" fmla="*/ 464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01" h="500">
                  <a:moveTo>
                    <a:pt x="483" y="148"/>
                  </a:moveTo>
                  <a:lnTo>
                    <a:pt x="483" y="148"/>
                  </a:lnTo>
                  <a:lnTo>
                    <a:pt x="482" y="148"/>
                  </a:lnTo>
                  <a:lnTo>
                    <a:pt x="404" y="69"/>
                  </a:lnTo>
                  <a:lnTo>
                    <a:pt x="404" y="69"/>
                  </a:lnTo>
                  <a:lnTo>
                    <a:pt x="403" y="69"/>
                  </a:lnTo>
                  <a:lnTo>
                    <a:pt x="334" y="0"/>
                  </a:lnTo>
                  <a:lnTo>
                    <a:pt x="0" y="0"/>
                  </a:lnTo>
                  <a:lnTo>
                    <a:pt x="0" y="334"/>
                  </a:lnTo>
                  <a:lnTo>
                    <a:pt x="167" y="500"/>
                  </a:lnTo>
                  <a:lnTo>
                    <a:pt x="501" y="500"/>
                  </a:lnTo>
                  <a:lnTo>
                    <a:pt x="501" y="166"/>
                  </a:lnTo>
                  <a:lnTo>
                    <a:pt x="483" y="148"/>
                  </a:lnTo>
                  <a:close/>
                  <a:moveTo>
                    <a:pt x="181" y="148"/>
                  </a:moveTo>
                  <a:lnTo>
                    <a:pt x="64" y="36"/>
                  </a:lnTo>
                  <a:lnTo>
                    <a:pt x="169" y="36"/>
                  </a:lnTo>
                  <a:lnTo>
                    <a:pt x="288" y="148"/>
                  </a:lnTo>
                  <a:lnTo>
                    <a:pt x="181" y="148"/>
                  </a:lnTo>
                  <a:close/>
                  <a:moveTo>
                    <a:pt x="342" y="148"/>
                  </a:moveTo>
                  <a:lnTo>
                    <a:pt x="296" y="106"/>
                  </a:lnTo>
                  <a:lnTo>
                    <a:pt x="388" y="106"/>
                  </a:lnTo>
                  <a:lnTo>
                    <a:pt x="431" y="148"/>
                  </a:lnTo>
                  <a:lnTo>
                    <a:pt x="342" y="148"/>
                  </a:lnTo>
                  <a:close/>
                  <a:moveTo>
                    <a:pt x="352" y="69"/>
                  </a:moveTo>
                  <a:lnTo>
                    <a:pt x="258" y="69"/>
                  </a:lnTo>
                  <a:lnTo>
                    <a:pt x="222" y="36"/>
                  </a:lnTo>
                  <a:lnTo>
                    <a:pt x="319" y="36"/>
                  </a:lnTo>
                  <a:lnTo>
                    <a:pt x="352" y="69"/>
                  </a:lnTo>
                  <a:close/>
                  <a:moveTo>
                    <a:pt x="37" y="61"/>
                  </a:moveTo>
                  <a:lnTo>
                    <a:pt x="158" y="176"/>
                  </a:lnTo>
                  <a:lnTo>
                    <a:pt x="158" y="440"/>
                  </a:lnTo>
                  <a:lnTo>
                    <a:pt x="37" y="319"/>
                  </a:lnTo>
                  <a:lnTo>
                    <a:pt x="37" y="61"/>
                  </a:lnTo>
                  <a:close/>
                  <a:moveTo>
                    <a:pt x="194" y="464"/>
                  </a:moveTo>
                  <a:lnTo>
                    <a:pt x="194" y="185"/>
                  </a:lnTo>
                  <a:lnTo>
                    <a:pt x="464" y="185"/>
                  </a:lnTo>
                  <a:lnTo>
                    <a:pt x="464" y="464"/>
                  </a:lnTo>
                  <a:lnTo>
                    <a:pt x="194" y="464"/>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en-US" sz="1836"/>
            </a:p>
          </p:txBody>
        </p:sp>
      </p:grpSp>
    </p:spTree>
    <p:extLst>
      <p:ext uri="{BB962C8B-B14F-4D97-AF65-F5344CB8AC3E}">
        <p14:creationId xmlns:p14="http://schemas.microsoft.com/office/powerpoint/2010/main" val="78786719"/>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p>
        </p:txBody>
      </p:sp>
      <p:sp>
        <p:nvSpPr>
          <p:cNvPr id="16" name="Text Placeholder 15"/>
          <p:cNvSpPr>
            <a:spLocks noGrp="1"/>
          </p:cNvSpPr>
          <p:nvPr>
            <p:ph type="body" sz="quarter" idx="14"/>
          </p:nvPr>
        </p:nvSpPr>
        <p:spPr>
          <a:xfrm>
            <a:off x="233184" y="1632056"/>
            <a:ext cx="12049414" cy="4668168"/>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20" name="Footer Placeholder 19"/>
          <p:cNvSpPr>
            <a:spLocks noGrp="1"/>
          </p:cNvSpPr>
          <p:nvPr>
            <p:ph type="ftr" sz="quarter" idx="16"/>
          </p:nvPr>
        </p:nvSpPr>
        <p:spPr>
          <a:xfrm>
            <a:off x="233185" y="6683658"/>
            <a:ext cx="11426011" cy="310869"/>
          </a:xfrm>
        </p:spPr>
        <p:txBody>
          <a:bodyPr/>
          <a:lstStyle/>
          <a:p>
            <a:endParaRPr lang="en-US">
              <a:solidFill>
                <a:srgbClr val="505050"/>
              </a:solidFill>
            </a:endParaRPr>
          </a:p>
        </p:txBody>
      </p:sp>
    </p:spTree>
    <p:extLst>
      <p:ext uri="{BB962C8B-B14F-4D97-AF65-F5344CB8AC3E}">
        <p14:creationId xmlns:p14="http://schemas.microsoft.com/office/powerpoint/2010/main" val="310424985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solidFill>
                  <a:schemeClr val="bg2"/>
                </a:solidFill>
              </a:defRPr>
            </a:lvl1pPr>
          </a:lstStyle>
          <a:p>
            <a:r>
              <a:rPr lang="en-US"/>
              <a:t>Click to edit Master title style</a:t>
            </a:r>
          </a:p>
        </p:txBody>
      </p:sp>
      <p:sp>
        <p:nvSpPr>
          <p:cNvPr id="19" name="Slide Number Placeholder 18"/>
          <p:cNvSpPr>
            <a:spLocks noGrp="1"/>
          </p:cNvSpPr>
          <p:nvPr>
            <p:ph type="sldNum" sz="quarter" idx="15"/>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20" name="Footer Placeholder 19"/>
          <p:cNvSpPr>
            <a:spLocks noGrp="1"/>
          </p:cNvSpPr>
          <p:nvPr>
            <p:ph type="ftr" sz="quarter" idx="16"/>
          </p:nvPr>
        </p:nvSpPr>
        <p:spPr>
          <a:xfrm>
            <a:off x="233185" y="6683658"/>
            <a:ext cx="11426011" cy="310869"/>
          </a:xfrm>
        </p:spPr>
        <p:txBody>
          <a:bodyPr/>
          <a:lstStyle/>
          <a:p>
            <a:endParaRPr lang="en-US">
              <a:solidFill>
                <a:srgbClr val="505050"/>
              </a:solidFill>
            </a:endParaRPr>
          </a:p>
        </p:txBody>
      </p:sp>
    </p:spTree>
    <p:extLst>
      <p:ext uri="{BB962C8B-B14F-4D97-AF65-F5344CB8AC3E}">
        <p14:creationId xmlns:p14="http://schemas.microsoft.com/office/powerpoint/2010/main" val="2404949276"/>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8"/>
            <a:ext cx="11426011" cy="310869"/>
          </a:xfrm>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79800744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33184" y="1632056"/>
            <a:ext cx="12049414" cy="4585300"/>
          </a:xfrm>
          <a:prstGeom prst="rect">
            <a:avLst/>
          </a:prstGeom>
        </p:spPr>
        <p:txBody>
          <a:bodyPr lIns="137160" rIns="137160" bIns="137160"/>
          <a:lstStyle>
            <a:lvl1pPr marL="0" indent="0">
              <a:buNone/>
              <a:defRPr>
                <a:solidFill>
                  <a:schemeClr val="tx1"/>
                </a:solidFill>
                <a:latin typeface="Segoe UI" panose="020B0502040204020203" pitchFamily="34" charset="0"/>
                <a:cs typeface="Segoe UI" panose="020B0502040204020203" pitchFamily="34" charset="0"/>
              </a:defRPr>
            </a:lvl1pPr>
            <a:lvl2pPr marL="287273" indent="0">
              <a:buNone/>
              <a:defRPr>
                <a:solidFill>
                  <a:schemeClr val="tx1"/>
                </a:solidFill>
                <a:latin typeface="Segoe UI" panose="020B0502040204020203" pitchFamily="34" charset="0"/>
                <a:cs typeface="Segoe UI" panose="020B0502040204020203" pitchFamily="34" charset="0"/>
              </a:defRPr>
            </a:lvl2pPr>
            <a:lvl3pPr marL="600171" indent="0">
              <a:buNone/>
              <a:defRPr>
                <a:solidFill>
                  <a:schemeClr val="tx1"/>
                </a:solidFill>
                <a:latin typeface="Segoe UI" panose="020B0502040204020203" pitchFamily="34" charset="0"/>
                <a:cs typeface="Segoe UI" panose="020B0502040204020203" pitchFamily="34" charset="0"/>
              </a:defRPr>
            </a:lvl3pPr>
            <a:lvl4pPr marL="887445" indent="0">
              <a:buNone/>
              <a:defRPr>
                <a:solidFill>
                  <a:schemeClr val="tx1"/>
                </a:solidFill>
                <a:latin typeface="Segoe UI" panose="020B0502040204020203" pitchFamily="34" charset="0"/>
                <a:cs typeface="Segoe UI" panose="020B0502040204020203" pitchFamily="34" charset="0"/>
              </a:defRPr>
            </a:lvl4pPr>
            <a:lvl5pPr marL="1127512" indent="0">
              <a:buNone/>
              <a:defRPr>
                <a:solidFill>
                  <a:schemeClr val="tx1"/>
                </a:solidFill>
                <a:latin typeface="Segoe UI" panose="020B0502040204020203" pitchFamily="34" charset="0"/>
                <a:cs typeface="Segoe UI" panose="020B0502040204020203" pitchFamily="34"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6"/>
          </p:nvPr>
        </p:nvSpPr>
        <p:spPr>
          <a:xfrm>
            <a:off x="233185" y="6683657"/>
            <a:ext cx="11426011" cy="310869"/>
          </a:xfrm>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282779901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p>
        </p:txBody>
      </p:sp>
      <p:sp>
        <p:nvSpPr>
          <p:cNvPr id="6" name="Footer Placeholder 5"/>
          <p:cNvSpPr>
            <a:spLocks noGrp="1"/>
          </p:cNvSpPr>
          <p:nvPr>
            <p:ph type="ftr" sz="quarter" idx="11"/>
          </p:nvPr>
        </p:nvSpPr>
        <p:spPr>
          <a:xfrm>
            <a:off x="233185" y="6683658"/>
            <a:ext cx="11426011"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Content Placeholder 8"/>
          <p:cNvSpPr>
            <a:spLocks noGrp="1"/>
          </p:cNvSpPr>
          <p:nvPr>
            <p:ph sz="quarter" idx="13"/>
          </p:nvPr>
        </p:nvSpPr>
        <p:spPr>
          <a:xfrm>
            <a:off x="233182" y="1628947"/>
            <a:ext cx="3917490" cy="4663017"/>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8"/>
          <p:cNvSpPr>
            <a:spLocks noGrp="1"/>
          </p:cNvSpPr>
          <p:nvPr>
            <p:ph sz="quarter" idx="14"/>
          </p:nvPr>
        </p:nvSpPr>
        <p:spPr>
          <a:xfrm>
            <a:off x="4233241" y="1628947"/>
            <a:ext cx="3920182" cy="4663017"/>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8"/>
          <p:cNvSpPr>
            <a:spLocks noGrp="1"/>
          </p:cNvSpPr>
          <p:nvPr>
            <p:ph sz="quarter" idx="15"/>
          </p:nvPr>
        </p:nvSpPr>
        <p:spPr>
          <a:xfrm>
            <a:off x="8235991" y="1628947"/>
            <a:ext cx="3917490" cy="4663017"/>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7394650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6217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p>
        </p:txBody>
      </p:sp>
      <p:sp>
        <p:nvSpPr>
          <p:cNvPr id="6" name="Footer Placeholder 5"/>
          <p:cNvSpPr>
            <a:spLocks noGrp="1"/>
          </p:cNvSpPr>
          <p:nvPr>
            <p:ph type="ftr" sz="quarter" idx="11"/>
          </p:nvPr>
        </p:nvSpPr>
        <p:spPr>
          <a:xfrm>
            <a:off x="233185" y="6683658"/>
            <a:ext cx="11426011"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9" name="Content Placeholder 8"/>
          <p:cNvSpPr>
            <a:spLocks noGrp="1"/>
          </p:cNvSpPr>
          <p:nvPr>
            <p:ph sz="quarter" idx="13"/>
          </p:nvPr>
        </p:nvSpPr>
        <p:spPr>
          <a:xfrm>
            <a:off x="233184" y="1628947"/>
            <a:ext cx="3917490" cy="3319032"/>
          </a:xfrm>
        </p:spPr>
        <p:txBody>
          <a:bodyPr lIns="137160" rIns="137160" bIns="137160"/>
          <a:lstStyle>
            <a:lvl1pPr>
              <a:lnSpc>
                <a:spcPct val="100000"/>
              </a:lnSpc>
              <a:spcAft>
                <a:spcPts val="1224"/>
              </a:spcAft>
              <a:defRPr/>
            </a:lvl1pPr>
            <a:lvl2pPr>
              <a:lnSpc>
                <a:spcPct val="100000"/>
              </a:lnSpc>
              <a:spcAft>
                <a:spcPts val="1224"/>
              </a:spcAft>
              <a:defRPr/>
            </a:lvl2pPr>
            <a:lvl3pPr>
              <a:lnSpc>
                <a:spcPct val="100000"/>
              </a:lnSpc>
              <a:spcAft>
                <a:spcPts val="1224"/>
              </a:spcAft>
              <a:defRPr/>
            </a:lvl3pPr>
            <a:lvl4pPr>
              <a:lnSpc>
                <a:spcPct val="100000"/>
              </a:lnSpc>
              <a:spcAft>
                <a:spcPts val="1224"/>
              </a:spcAft>
              <a:defRPr/>
            </a:lvl4pPr>
            <a:lvl5pPr>
              <a:lnSpc>
                <a:spcPct val="100000"/>
              </a:lnSpc>
              <a:spcAft>
                <a:spcPts val="1224"/>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8"/>
          <p:cNvSpPr>
            <a:spLocks noGrp="1"/>
          </p:cNvSpPr>
          <p:nvPr>
            <p:ph sz="quarter" idx="14"/>
          </p:nvPr>
        </p:nvSpPr>
        <p:spPr>
          <a:xfrm>
            <a:off x="4234587" y="1628947"/>
            <a:ext cx="3917490" cy="3319032"/>
          </a:xfrm>
        </p:spPr>
        <p:txBody>
          <a:bodyPr lIns="137160" rIns="137160" bIns="137160"/>
          <a:lstStyle>
            <a:lvl1pPr>
              <a:lnSpc>
                <a:spcPct val="100000"/>
              </a:lnSpc>
              <a:spcAft>
                <a:spcPts val="1224"/>
              </a:spcAft>
              <a:defRPr/>
            </a:lvl1pPr>
            <a:lvl2pPr>
              <a:lnSpc>
                <a:spcPct val="100000"/>
              </a:lnSpc>
              <a:spcAft>
                <a:spcPts val="1224"/>
              </a:spcAft>
              <a:defRPr/>
            </a:lvl2pPr>
            <a:lvl3pPr>
              <a:lnSpc>
                <a:spcPct val="100000"/>
              </a:lnSpc>
              <a:spcAft>
                <a:spcPts val="1224"/>
              </a:spcAft>
              <a:defRPr/>
            </a:lvl3pPr>
            <a:lvl4pPr>
              <a:lnSpc>
                <a:spcPct val="100000"/>
              </a:lnSpc>
              <a:spcAft>
                <a:spcPts val="1224"/>
              </a:spcAft>
              <a:defRPr/>
            </a:lvl4pPr>
            <a:lvl5pPr>
              <a:lnSpc>
                <a:spcPct val="100000"/>
              </a:lnSpc>
              <a:spcAft>
                <a:spcPts val="1224"/>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8"/>
          <p:cNvSpPr>
            <a:spLocks noGrp="1"/>
          </p:cNvSpPr>
          <p:nvPr>
            <p:ph sz="quarter" idx="15"/>
          </p:nvPr>
        </p:nvSpPr>
        <p:spPr>
          <a:xfrm>
            <a:off x="8235991" y="1628947"/>
            <a:ext cx="3917490" cy="3319032"/>
          </a:xfrm>
        </p:spPr>
        <p:txBody>
          <a:bodyPr lIns="137160" rIns="137160" bIns="137160"/>
          <a:lstStyle>
            <a:lvl1pPr>
              <a:lnSpc>
                <a:spcPct val="100000"/>
              </a:lnSpc>
              <a:spcAft>
                <a:spcPts val="1224"/>
              </a:spcAft>
              <a:defRPr/>
            </a:lvl1pPr>
            <a:lvl2pPr>
              <a:lnSpc>
                <a:spcPct val="100000"/>
              </a:lnSpc>
              <a:spcAft>
                <a:spcPts val="1224"/>
              </a:spcAft>
              <a:defRPr/>
            </a:lvl2pPr>
            <a:lvl3pPr>
              <a:lnSpc>
                <a:spcPct val="100000"/>
              </a:lnSpc>
              <a:spcAft>
                <a:spcPts val="1224"/>
              </a:spcAft>
              <a:defRPr/>
            </a:lvl3pPr>
            <a:lvl4pPr>
              <a:lnSpc>
                <a:spcPct val="100000"/>
              </a:lnSpc>
              <a:spcAft>
                <a:spcPts val="1224"/>
              </a:spcAft>
              <a:defRPr/>
            </a:lvl4pPr>
            <a:lvl5pPr>
              <a:lnSpc>
                <a:spcPct val="100000"/>
              </a:lnSpc>
              <a:spcAft>
                <a:spcPts val="1224"/>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8"/>
          <p:cNvSpPr>
            <a:spLocks noGrp="1"/>
          </p:cNvSpPr>
          <p:nvPr>
            <p:ph sz="quarter" idx="16"/>
          </p:nvPr>
        </p:nvSpPr>
        <p:spPr>
          <a:xfrm>
            <a:off x="233184" y="4947979"/>
            <a:ext cx="3917490" cy="1349166"/>
          </a:xfrm>
        </p:spPr>
        <p:txBody>
          <a:bodyPr lIns="137160" rIns="137160" bIns="137160"/>
          <a:lstStyle>
            <a:lvl1pPr>
              <a:lnSpc>
                <a:spcPct val="100000"/>
              </a:lnSpc>
              <a:spcAft>
                <a:spcPts val="1224"/>
              </a:spcAft>
              <a:defRPr sz="2448"/>
            </a:lvl1pPr>
          </a:lstStyle>
          <a:p>
            <a:pPr lvl="0"/>
            <a:r>
              <a:rPr lang="en-US"/>
              <a:t>Edit Master text styles</a:t>
            </a:r>
          </a:p>
        </p:txBody>
      </p:sp>
      <p:sp>
        <p:nvSpPr>
          <p:cNvPr id="17" name="Content Placeholder 8"/>
          <p:cNvSpPr>
            <a:spLocks noGrp="1"/>
          </p:cNvSpPr>
          <p:nvPr>
            <p:ph sz="quarter" idx="17"/>
          </p:nvPr>
        </p:nvSpPr>
        <p:spPr>
          <a:xfrm>
            <a:off x="4234587" y="4947979"/>
            <a:ext cx="3917490" cy="1349166"/>
          </a:xfrm>
        </p:spPr>
        <p:txBody>
          <a:bodyPr lIns="137160" rIns="137160" bIns="137160"/>
          <a:lstStyle>
            <a:lvl1pPr>
              <a:lnSpc>
                <a:spcPct val="100000"/>
              </a:lnSpc>
              <a:spcAft>
                <a:spcPts val="1224"/>
              </a:spcAft>
              <a:defRPr sz="2448"/>
            </a:lvl1pPr>
          </a:lstStyle>
          <a:p>
            <a:pPr lvl="0"/>
            <a:r>
              <a:rPr lang="en-US"/>
              <a:t>Edit Master text styles</a:t>
            </a:r>
          </a:p>
        </p:txBody>
      </p:sp>
      <p:sp>
        <p:nvSpPr>
          <p:cNvPr id="18" name="Content Placeholder 8"/>
          <p:cNvSpPr>
            <a:spLocks noGrp="1"/>
          </p:cNvSpPr>
          <p:nvPr>
            <p:ph sz="quarter" idx="18"/>
          </p:nvPr>
        </p:nvSpPr>
        <p:spPr>
          <a:xfrm>
            <a:off x="8235991" y="4947979"/>
            <a:ext cx="3917490" cy="1349166"/>
          </a:xfrm>
        </p:spPr>
        <p:txBody>
          <a:bodyPr lIns="137160" rIns="137160" bIns="137160"/>
          <a:lstStyle>
            <a:lvl1pPr>
              <a:lnSpc>
                <a:spcPct val="100000"/>
              </a:lnSpc>
              <a:spcAft>
                <a:spcPts val="1224"/>
              </a:spcAft>
              <a:defRPr sz="2448"/>
            </a:lvl1pPr>
          </a:lstStyle>
          <a:p>
            <a:pPr lvl="0"/>
            <a:r>
              <a:rPr lang="en-US"/>
              <a:t>Edit Master text styles</a:t>
            </a:r>
          </a:p>
        </p:txBody>
      </p:sp>
    </p:spTree>
    <p:extLst>
      <p:ext uri="{BB962C8B-B14F-4D97-AF65-F5344CB8AC3E}">
        <p14:creationId xmlns:p14="http://schemas.microsoft.com/office/powerpoint/2010/main" val="92456970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142251" y="1628947"/>
            <a:ext cx="4156850" cy="4153194"/>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628947"/>
            <a:ext cx="4145491" cy="4153194"/>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p>
        </p:txBody>
      </p:sp>
      <p:sp>
        <p:nvSpPr>
          <p:cNvPr id="6" name="Footer Placeholder 5"/>
          <p:cNvSpPr>
            <a:spLocks noGrp="1"/>
          </p:cNvSpPr>
          <p:nvPr>
            <p:ph type="ftr" sz="quarter" idx="11"/>
          </p:nvPr>
        </p:nvSpPr>
        <p:spPr>
          <a:xfrm>
            <a:off x="233185" y="6683658"/>
            <a:ext cx="11426011"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16" name="Content Placeholder 8"/>
          <p:cNvSpPr>
            <a:spLocks noGrp="1"/>
          </p:cNvSpPr>
          <p:nvPr>
            <p:ph sz="quarter" idx="15"/>
          </p:nvPr>
        </p:nvSpPr>
        <p:spPr>
          <a:xfrm>
            <a:off x="8290984" y="1628947"/>
            <a:ext cx="4143333" cy="4153194"/>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289026" y="3637153"/>
            <a:ext cx="2145292"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153809" y="3637153"/>
            <a:ext cx="2145292"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2000200" y="3637153"/>
            <a:ext cx="2145292" cy="2144988"/>
          </a:xfrm>
          <a:solidFill>
            <a:schemeClr val="tx2"/>
          </a:solidFill>
          <a:ln>
            <a:noFill/>
          </a:ln>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2592232501"/>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p>
        </p:txBody>
      </p:sp>
      <p:sp>
        <p:nvSpPr>
          <p:cNvPr id="3" name="Content Placeholder 2"/>
          <p:cNvSpPr>
            <a:spLocks noGrp="1"/>
          </p:cNvSpPr>
          <p:nvPr>
            <p:ph idx="1"/>
          </p:nvPr>
        </p:nvSpPr>
        <p:spPr>
          <a:xfrm>
            <a:off x="233184" y="1632056"/>
            <a:ext cx="8886898" cy="1657961"/>
          </a:xfrm>
        </p:spPr>
        <p:txBody>
          <a:bodyPr lIns="137160" rIns="137160" bIns="137160">
            <a:normAutofit/>
          </a:bodyPr>
          <a:lstStyle>
            <a:lvl1pPr>
              <a:defRPr sz="2040"/>
            </a:lvl1pPr>
            <a:lvl2pPr>
              <a:defRPr sz="1632"/>
            </a:lvl2pPr>
            <a:lvl3pPr>
              <a:defRPr sz="1428"/>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33185" y="6683658"/>
            <a:ext cx="11426011" cy="310868"/>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
        <p:nvSpPr>
          <p:cNvPr id="11" name="Content Placeholder 8"/>
          <p:cNvSpPr>
            <a:spLocks noGrp="1"/>
          </p:cNvSpPr>
          <p:nvPr>
            <p:ph sz="quarter" idx="13"/>
          </p:nvPr>
        </p:nvSpPr>
        <p:spPr>
          <a:xfrm>
            <a:off x="233183" y="3497263"/>
            <a:ext cx="39174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p:cNvSpPr>
            <a:spLocks noGrp="1"/>
          </p:cNvSpPr>
          <p:nvPr>
            <p:ph sz="quarter" idx="14"/>
          </p:nvPr>
        </p:nvSpPr>
        <p:spPr>
          <a:xfrm>
            <a:off x="4240059" y="3497263"/>
            <a:ext cx="39174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8"/>
          <p:cNvSpPr>
            <a:spLocks noGrp="1"/>
          </p:cNvSpPr>
          <p:nvPr>
            <p:ph sz="quarter" idx="15"/>
          </p:nvPr>
        </p:nvSpPr>
        <p:spPr>
          <a:xfrm>
            <a:off x="8246937" y="3497263"/>
            <a:ext cx="39174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742334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33183" y="272009"/>
            <a:ext cx="12203292" cy="660594"/>
          </a:xfrm>
        </p:spPr>
        <p:txBody>
          <a:bodyPr vert="horz" lIns="137160" tIns="91440" rIns="137160" bIns="137160" rtlCol="0" anchor="t" anchorCtr="0">
            <a:normAutofit/>
          </a:bodyPr>
          <a:lstStyle>
            <a:lvl1pPr>
              <a:defRPr lang="en-US" dirty="0"/>
            </a:lvl1pPr>
          </a:lstStyle>
          <a:p>
            <a:pPr lvl="0"/>
            <a:r>
              <a:rPr lang="en-US"/>
              <a:t>Click to edit Master title style</a:t>
            </a:r>
          </a:p>
        </p:txBody>
      </p:sp>
      <p:sp>
        <p:nvSpPr>
          <p:cNvPr id="3" name="Content Placeholder 2"/>
          <p:cNvSpPr>
            <a:spLocks noGrp="1"/>
          </p:cNvSpPr>
          <p:nvPr>
            <p:ph sz="half" idx="1"/>
          </p:nvPr>
        </p:nvSpPr>
        <p:spPr>
          <a:xfrm>
            <a:off x="233183" y="1654413"/>
            <a:ext cx="5922871" cy="4663017"/>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1016" y="1654415"/>
            <a:ext cx="5922871" cy="4663016"/>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233184" y="6683658"/>
            <a:ext cx="11426012"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4CED8391-71CF-4FD3-A093-40D26DE2D47C}" type="slidenum">
              <a:rPr lang="en-US" smtClean="0">
                <a:solidFill>
                  <a:srgbClr val="00188F"/>
                </a:solidFill>
              </a:rPr>
              <a:pPr/>
              <a:t>‹#›</a:t>
            </a:fld>
            <a:endParaRPr lang="en-US">
              <a:solidFill>
                <a:srgbClr val="00188F"/>
              </a:solidFill>
            </a:endParaRPr>
          </a:p>
        </p:txBody>
      </p:sp>
    </p:spTree>
    <p:extLst>
      <p:ext uri="{BB962C8B-B14F-4D97-AF65-F5344CB8AC3E}">
        <p14:creationId xmlns:p14="http://schemas.microsoft.com/office/powerpoint/2010/main" val="3583113481"/>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119" spc="-102" baseline="0">
                <a:solidFill>
                  <a:schemeClr val="tx1"/>
                </a:solidFill>
              </a:defRPr>
            </a:lvl1pPr>
          </a:lstStyle>
          <a:p>
            <a:r>
              <a:rPr lang="en-US"/>
              <a:t>Section title</a:t>
            </a:r>
          </a:p>
        </p:txBody>
      </p:sp>
      <p:sp>
        <p:nvSpPr>
          <p:cNvPr id="5" name="Picture Placeholder 4"/>
          <p:cNvSpPr>
            <a:spLocks noGrp="1"/>
          </p:cNvSpPr>
          <p:nvPr>
            <p:ph type="pic" sz="quarter" idx="10" hasCustomPrompt="1"/>
          </p:nvPr>
        </p:nvSpPr>
        <p:spPr>
          <a:xfrm>
            <a:off x="0" y="-4920"/>
            <a:ext cx="12436475" cy="7002244"/>
          </a:xfrm>
        </p:spPr>
        <p:txBody>
          <a:bodyPr/>
          <a:lstStyle>
            <a:lvl1pPr>
              <a:defRPr baseline="0">
                <a:solidFill>
                  <a:schemeClr val="tx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25022719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33184" y="1632056"/>
            <a:ext cx="11582924"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164110873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Microsoft logo w/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p:cNvSpPr/>
          <p:nvPr/>
        </p:nvSpPr>
        <p:spPr>
          <a:xfrm>
            <a:off x="0" y="0"/>
            <a:ext cx="12436475"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
        <p:nvSpPr>
          <p:cNvPr id="4" name="Rectangle 3"/>
          <p:cNvSpPr/>
          <p:nvPr/>
        </p:nvSpPr>
        <p:spPr>
          <a:xfrm>
            <a:off x="0" y="0"/>
            <a:ext cx="12436475"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Tree>
    <p:extLst>
      <p:ext uri="{BB962C8B-B14F-4D97-AF65-F5344CB8AC3E}">
        <p14:creationId xmlns:p14="http://schemas.microsoft.com/office/powerpoint/2010/main" val="1467185286"/>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1_Microsoft logo w/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4242683-717F-4D4E-97E2-50B5E8619AF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p:nvSpPr>
        <p:spPr>
          <a:xfrm>
            <a:off x="0" y="0"/>
            <a:ext cx="12436475"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
        <p:nvSpPr>
          <p:cNvPr id="2" name="Rectangle 1"/>
          <p:cNvSpPr/>
          <p:nvPr/>
        </p:nvSpPr>
        <p:spPr>
          <a:xfrm>
            <a:off x="0" y="0"/>
            <a:ext cx="12436475"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Tree>
    <p:extLst>
      <p:ext uri="{BB962C8B-B14F-4D97-AF65-F5344CB8AC3E}">
        <p14:creationId xmlns:p14="http://schemas.microsoft.com/office/powerpoint/2010/main" val="116121518"/>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2_Microsoft logo w/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48341C3-F032-463D-8569-1771E13A2440}"/>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a:xfrm>
            <a:off x="0" y="0"/>
            <a:ext cx="12436475"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
        <p:nvSpPr>
          <p:cNvPr id="2" name="Rectangle 1"/>
          <p:cNvSpPr/>
          <p:nvPr/>
        </p:nvSpPr>
        <p:spPr>
          <a:xfrm>
            <a:off x="0" y="0"/>
            <a:ext cx="12436475"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Tree>
    <p:extLst>
      <p:ext uri="{BB962C8B-B14F-4D97-AF65-F5344CB8AC3E}">
        <p14:creationId xmlns:p14="http://schemas.microsoft.com/office/powerpoint/2010/main" val="2001983133"/>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3_Microsoft logo w/photo">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CACF4FE-0314-43FD-8764-576DF60EADF4}"/>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sp>
        <p:nvSpPr>
          <p:cNvPr id="4" name="Rectangle 3"/>
          <p:cNvSpPr/>
          <p:nvPr userDrawn="1"/>
        </p:nvSpPr>
        <p:spPr>
          <a:xfrm>
            <a:off x="0" y="0"/>
            <a:ext cx="12436475" cy="699452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Tree>
    <p:extLst>
      <p:ext uri="{BB962C8B-B14F-4D97-AF65-F5344CB8AC3E}">
        <p14:creationId xmlns:p14="http://schemas.microsoft.com/office/powerpoint/2010/main" val="343626078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9421085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1_Microsoft logo">
    <p:bg>
      <p:bgPr>
        <a:solidFill>
          <a:schemeClr val="accent4"/>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2502" y="2956956"/>
            <a:ext cx="2938889" cy="1080617"/>
          </a:xfrm>
          <a:prstGeom prst="rect">
            <a:avLst/>
          </a:prstGeom>
        </p:spPr>
      </p:pic>
    </p:spTree>
    <p:extLst>
      <p:ext uri="{BB962C8B-B14F-4D97-AF65-F5344CB8AC3E}">
        <p14:creationId xmlns:p14="http://schemas.microsoft.com/office/powerpoint/2010/main" val="1151814416"/>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88172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HoloLens_Img_Side_Title_3">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rot="5400000">
            <a:off x="5828311" y="387237"/>
            <a:ext cx="6994524" cy="6221802"/>
          </a:xfrm>
          <a:prstGeom prst="rect">
            <a:avLst/>
          </a:prstGeom>
        </p:spPr>
      </p:pic>
      <p:sp>
        <p:nvSpPr>
          <p:cNvPr id="2" name="Title 1"/>
          <p:cNvSpPr>
            <a:spLocks noGrp="1"/>
          </p:cNvSpPr>
          <p:nvPr>
            <p:ph type="ctrTitle" hasCustomPrompt="1"/>
          </p:nvPr>
        </p:nvSpPr>
        <p:spPr>
          <a:xfrm>
            <a:off x="438435" y="2311841"/>
            <a:ext cx="5597871" cy="1499289"/>
          </a:xfrm>
        </p:spPr>
        <p:txBody>
          <a:bodyPr anchor="b"/>
          <a:lstStyle>
            <a:lvl1pPr algn="l">
              <a:defRPr sz="4488">
                <a:solidFill>
                  <a:schemeClr val="bg1">
                    <a:alpha val="99000"/>
                  </a:schemeClr>
                </a:solidFill>
              </a:defRPr>
            </a:lvl1pPr>
          </a:lstStyle>
          <a:p>
            <a:r>
              <a:rPr lang="en-US"/>
              <a:t>Click to edit </a:t>
            </a:r>
            <a:br>
              <a:rPr lang="en-US"/>
            </a:br>
            <a:r>
              <a:rPr lang="en-US"/>
              <a:t>Master title style</a:t>
            </a:r>
          </a:p>
        </p:txBody>
      </p:sp>
      <p:sp>
        <p:nvSpPr>
          <p:cNvPr id="3" name="Subtitle 2"/>
          <p:cNvSpPr>
            <a:spLocks noGrp="1"/>
          </p:cNvSpPr>
          <p:nvPr>
            <p:ph type="subTitle" idx="1"/>
          </p:nvPr>
        </p:nvSpPr>
        <p:spPr>
          <a:xfrm>
            <a:off x="438435" y="3737089"/>
            <a:ext cx="5597871" cy="556620"/>
          </a:xfrm>
        </p:spPr>
        <p:txBody>
          <a:bodyPr anchor="t">
            <a:noAutofit/>
          </a:bodyPr>
          <a:lstStyle>
            <a:lvl1pPr marL="0" indent="0" algn="l" defTabSz="932597" rtl="0" eaLnBrk="1" latinLnBrk="0" hangingPunct="1">
              <a:spcBef>
                <a:spcPts val="0"/>
              </a:spcBef>
              <a:spcAft>
                <a:spcPts val="612"/>
              </a:spcAft>
              <a:buSzPct val="90000"/>
              <a:buFont typeface="Wingdings" pitchFamily="2" charset="2"/>
              <a:buNone/>
              <a:defRPr lang="en-US" sz="2040" kern="1200" dirty="0">
                <a:solidFill>
                  <a:schemeClr val="accent3">
                    <a:alpha val="99000"/>
                  </a:schemeClr>
                </a:solidFill>
                <a:latin typeface="+mn-lt"/>
                <a:ea typeface="+mn-ea"/>
                <a:cs typeface="+mn-cs"/>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a:t>Click to edit Master subtitle style</a:t>
            </a:r>
          </a:p>
        </p:txBody>
      </p:sp>
      <p:sp>
        <p:nvSpPr>
          <p:cNvPr id="12" name="Text Placeholder 11"/>
          <p:cNvSpPr>
            <a:spLocks noGrp="1"/>
          </p:cNvSpPr>
          <p:nvPr>
            <p:ph type="body" sz="quarter" idx="10"/>
          </p:nvPr>
        </p:nvSpPr>
        <p:spPr>
          <a:xfrm>
            <a:off x="438435" y="4305809"/>
            <a:ext cx="5597871" cy="588872"/>
          </a:xfrm>
        </p:spPr>
        <p:txBody>
          <a:bodyPr>
            <a:noAutofit/>
          </a:bodyPr>
          <a:lstStyle>
            <a:lvl1pPr marL="0" indent="0">
              <a:buNone/>
              <a:defRPr lang="en-US" sz="2040" kern="1200" dirty="0" smtClean="0">
                <a:solidFill>
                  <a:schemeClr val="bg1">
                    <a:alpha val="99000"/>
                  </a:schemeClr>
                </a:solidFill>
                <a:latin typeface="+mn-lt"/>
                <a:ea typeface="+mn-ea"/>
                <a:cs typeface="+mn-cs"/>
              </a:defRPr>
            </a:lvl1pPr>
          </a:lstStyle>
          <a:p>
            <a:pPr marL="0" lvl="0" indent="0" algn="l" defTabSz="932597" rtl="0" eaLnBrk="1" latinLnBrk="0" hangingPunct="1">
              <a:spcBef>
                <a:spcPts val="0"/>
              </a:spcBef>
              <a:spcAft>
                <a:spcPts val="612"/>
              </a:spcAft>
              <a:buSzPct val="90000"/>
              <a:buFont typeface="Wingdings" pitchFamily="2" charset="2"/>
              <a:buNone/>
            </a:pPr>
            <a:r>
              <a:rPr lang="en-US"/>
              <a:t>Edit Master text styles</a:t>
            </a:r>
          </a:p>
        </p:txBody>
      </p:sp>
    </p:spTree>
    <p:extLst>
      <p:ext uri="{BB962C8B-B14F-4D97-AF65-F5344CB8AC3E}">
        <p14:creationId xmlns:p14="http://schemas.microsoft.com/office/powerpoint/2010/main" val="1493474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3_Flyer Slide">
    <p:spTree>
      <p:nvGrpSpPr>
        <p:cNvPr id="1" name=""/>
        <p:cNvGrpSpPr/>
        <p:nvPr/>
      </p:nvGrpSpPr>
      <p:grpSpPr>
        <a:xfrm>
          <a:off x="0" y="0"/>
          <a:ext cx="0" cy="0"/>
          <a:chOff x="0" y="0"/>
          <a:chExt cx="0" cy="0"/>
        </a:xfrm>
      </p:grpSpPr>
      <p:sp>
        <p:nvSpPr>
          <p:cNvPr id="197" name="Freeform 196"/>
          <p:cNvSpPr/>
          <p:nvPr/>
        </p:nvSpPr>
        <p:spPr>
          <a:xfrm>
            <a:off x="0" y="2295520"/>
            <a:ext cx="12436473" cy="4608614"/>
          </a:xfrm>
          <a:custGeom>
            <a:avLst/>
            <a:gdLst>
              <a:gd name="connsiteX0" fmla="*/ 0 w 12191998"/>
              <a:gd name="connsiteY0" fmla="*/ 2436493 h 4518659"/>
              <a:gd name="connsiteX1" fmla="*/ 7934416 w 12191998"/>
              <a:gd name="connsiteY1" fmla="*/ 2436493 h 4518659"/>
              <a:gd name="connsiteX2" fmla="*/ 7934416 w 12191998"/>
              <a:gd name="connsiteY2" fmla="*/ 2438996 h 4518659"/>
              <a:gd name="connsiteX3" fmla="*/ 7934416 w 12191998"/>
              <a:gd name="connsiteY3" fmla="*/ 4518659 h 4518659"/>
              <a:gd name="connsiteX4" fmla="*/ 0 w 12191998"/>
              <a:gd name="connsiteY4" fmla="*/ 4518659 h 4518659"/>
              <a:gd name="connsiteX5" fmla="*/ 12191998 w 12191998"/>
              <a:gd name="connsiteY5" fmla="*/ 0 h 4518659"/>
              <a:gd name="connsiteX6" fmla="*/ 12191998 w 12191998"/>
              <a:gd name="connsiteY6" fmla="*/ 4518659 h 4518659"/>
              <a:gd name="connsiteX7" fmla="*/ 7934699 w 12191998"/>
              <a:gd name="connsiteY7" fmla="*/ 4518659 h 4518659"/>
              <a:gd name="connsiteX8" fmla="*/ 7934416 w 12191998"/>
              <a:gd name="connsiteY8" fmla="*/ 2438996 h 451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8" h="4518659">
                <a:moveTo>
                  <a:pt x="0" y="2436493"/>
                </a:moveTo>
                <a:lnTo>
                  <a:pt x="7934416" y="2436493"/>
                </a:lnTo>
                <a:lnTo>
                  <a:pt x="7934416" y="2438996"/>
                </a:lnTo>
                <a:lnTo>
                  <a:pt x="7934416" y="4518659"/>
                </a:lnTo>
                <a:lnTo>
                  <a:pt x="0" y="4518659"/>
                </a:lnTo>
                <a:close/>
                <a:moveTo>
                  <a:pt x="12191998" y="0"/>
                </a:moveTo>
                <a:lnTo>
                  <a:pt x="12191998" y="4518659"/>
                </a:lnTo>
                <a:lnTo>
                  <a:pt x="7934699" y="4518659"/>
                </a:lnTo>
                <a:lnTo>
                  <a:pt x="7934416" y="2438996"/>
                </a:lnTo>
                <a:close/>
              </a:path>
            </a:pathLst>
          </a:cu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solidFill>
                <a:schemeClr val="tx2"/>
              </a:solidFill>
            </a:endParaRPr>
          </a:p>
        </p:txBody>
      </p:sp>
      <p:sp>
        <p:nvSpPr>
          <p:cNvPr id="196" name="Freeform 195"/>
          <p:cNvSpPr/>
          <p:nvPr/>
        </p:nvSpPr>
        <p:spPr>
          <a:xfrm>
            <a:off x="0" y="2395627"/>
            <a:ext cx="12436473" cy="4608614"/>
          </a:xfrm>
          <a:custGeom>
            <a:avLst/>
            <a:gdLst>
              <a:gd name="connsiteX0" fmla="*/ 0 w 12191998"/>
              <a:gd name="connsiteY0" fmla="*/ 2436493 h 4518659"/>
              <a:gd name="connsiteX1" fmla="*/ 7934416 w 12191998"/>
              <a:gd name="connsiteY1" fmla="*/ 2436493 h 4518659"/>
              <a:gd name="connsiteX2" fmla="*/ 7934416 w 12191998"/>
              <a:gd name="connsiteY2" fmla="*/ 2438996 h 4518659"/>
              <a:gd name="connsiteX3" fmla="*/ 7934416 w 12191998"/>
              <a:gd name="connsiteY3" fmla="*/ 4518659 h 4518659"/>
              <a:gd name="connsiteX4" fmla="*/ 0 w 12191998"/>
              <a:gd name="connsiteY4" fmla="*/ 4518659 h 4518659"/>
              <a:gd name="connsiteX5" fmla="*/ 12191998 w 12191998"/>
              <a:gd name="connsiteY5" fmla="*/ 0 h 4518659"/>
              <a:gd name="connsiteX6" fmla="*/ 12191998 w 12191998"/>
              <a:gd name="connsiteY6" fmla="*/ 4518659 h 4518659"/>
              <a:gd name="connsiteX7" fmla="*/ 7934699 w 12191998"/>
              <a:gd name="connsiteY7" fmla="*/ 4518659 h 4518659"/>
              <a:gd name="connsiteX8" fmla="*/ 7934416 w 12191998"/>
              <a:gd name="connsiteY8" fmla="*/ 2438996 h 451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1998" h="4518659">
                <a:moveTo>
                  <a:pt x="0" y="2436493"/>
                </a:moveTo>
                <a:lnTo>
                  <a:pt x="7934416" y="2436493"/>
                </a:lnTo>
                <a:lnTo>
                  <a:pt x="7934416" y="2438996"/>
                </a:lnTo>
                <a:lnTo>
                  <a:pt x="7934416" y="4518659"/>
                </a:lnTo>
                <a:lnTo>
                  <a:pt x="0" y="4518659"/>
                </a:lnTo>
                <a:close/>
                <a:moveTo>
                  <a:pt x="12191998" y="0"/>
                </a:moveTo>
                <a:lnTo>
                  <a:pt x="12191998" y="4518659"/>
                </a:lnTo>
                <a:lnTo>
                  <a:pt x="7934699" y="4518659"/>
                </a:lnTo>
                <a:lnTo>
                  <a:pt x="7934416" y="2438996"/>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solidFill>
                <a:schemeClr val="tx2"/>
              </a:solidFill>
            </a:endParaRPr>
          </a:p>
        </p:txBody>
      </p:sp>
      <p:sp>
        <p:nvSpPr>
          <p:cNvPr id="3" name="Text Placeholder 2"/>
          <p:cNvSpPr>
            <a:spLocks noGrp="1"/>
          </p:cNvSpPr>
          <p:nvPr>
            <p:ph type="body" sz="quarter" idx="10" hasCustomPrompt="1"/>
          </p:nvPr>
        </p:nvSpPr>
        <p:spPr>
          <a:xfrm>
            <a:off x="658837" y="5522437"/>
            <a:ext cx="8239165" cy="932603"/>
          </a:xfrm>
        </p:spPr>
        <p:txBody>
          <a:bodyPr lIns="91440" rIns="91440" anchor="t">
            <a:noAutofit/>
          </a:bodyPr>
          <a:lstStyle>
            <a:lvl1pPr marL="0" algn="l" defTabSz="1109731" rtl="0" eaLnBrk="1" latinLnBrk="0" hangingPunct="1">
              <a:lnSpc>
                <a:spcPct val="90000"/>
              </a:lnSpc>
              <a:spcBef>
                <a:spcPct val="0"/>
              </a:spcBef>
              <a:buNone/>
              <a:defRPr lang="en-US" sz="4896" kern="1200" spc="-102" baseline="0" dirty="0">
                <a:solidFill>
                  <a:schemeClr val="bg1"/>
                </a:solidFill>
                <a:latin typeface="+mj-lt"/>
                <a:ea typeface="Segoe UI Semibold" panose="020B0702040204020203" pitchFamily="34" charset="0"/>
                <a:cs typeface="Segoe UI Semibold" panose="020B0702040204020203" pitchFamily="34" charset="0"/>
              </a:defRPr>
            </a:lvl1pPr>
          </a:lstStyle>
          <a:p>
            <a:pPr lvl="0"/>
            <a:r>
              <a:rPr lang="en-US"/>
              <a:t>Title title</a:t>
            </a:r>
          </a:p>
        </p:txBody>
      </p:sp>
    </p:spTree>
    <p:extLst>
      <p:ext uri="{BB962C8B-B14F-4D97-AF65-F5344CB8AC3E}">
        <p14:creationId xmlns:p14="http://schemas.microsoft.com/office/powerpoint/2010/main" val="373531897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33184" y="272009"/>
            <a:ext cx="5983435" cy="1360047"/>
          </a:xfrm>
        </p:spPr>
        <p:txBody>
          <a:bodyPr rIns="137160" anchor="t" anchorCtr="0"/>
          <a:lstStyle/>
          <a:p>
            <a:r>
              <a:rPr lang="en-US"/>
              <a:t>Click to edit Master title style</a:t>
            </a:r>
          </a:p>
        </p:txBody>
      </p:sp>
      <p:sp>
        <p:nvSpPr>
          <p:cNvPr id="3" name="Footer Placeholder 2"/>
          <p:cNvSpPr>
            <a:spLocks noGrp="1"/>
          </p:cNvSpPr>
          <p:nvPr>
            <p:ph type="ftr" sz="quarter" idx="10"/>
          </p:nvPr>
        </p:nvSpPr>
        <p:spPr>
          <a:xfrm>
            <a:off x="233184" y="6683658"/>
            <a:ext cx="5983436" cy="310868"/>
          </a:xfrm>
        </p:spPr>
        <p:txBody>
          <a:bodyPr/>
          <a:lstStyle/>
          <a:p>
            <a:pPr defTabSz="1109731"/>
            <a:endParaRPr lang="en-US">
              <a:solidFill>
                <a:srgbClr val="505050"/>
              </a:solidFill>
            </a:endParaRPr>
          </a:p>
        </p:txBody>
      </p:sp>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a:solidFill>
                <a:srgbClr val="505050"/>
              </a:solidFill>
            </a:endParaRPr>
          </a:p>
        </p:txBody>
      </p:sp>
      <p:sp>
        <p:nvSpPr>
          <p:cNvPr id="6" name="Picture Placeholder 5"/>
          <p:cNvSpPr>
            <a:spLocks noGrp="1"/>
          </p:cNvSpPr>
          <p:nvPr>
            <p:ph type="pic" sz="quarter" idx="12"/>
          </p:nvPr>
        </p:nvSpPr>
        <p:spPr>
          <a:xfrm>
            <a:off x="6216619" y="0"/>
            <a:ext cx="6219856" cy="6994525"/>
          </a:xfrm>
        </p:spPr>
        <p:txBody>
          <a:bodyPr/>
          <a:lstStyle/>
          <a:p>
            <a:r>
              <a:rPr lang="en-US"/>
              <a:t>Click icon to add picture</a:t>
            </a:r>
          </a:p>
        </p:txBody>
      </p:sp>
      <p:sp>
        <p:nvSpPr>
          <p:cNvPr id="8" name="Text Placeholder 7"/>
          <p:cNvSpPr>
            <a:spLocks noGrp="1"/>
          </p:cNvSpPr>
          <p:nvPr>
            <p:ph type="body" sz="quarter" idx="13"/>
          </p:nvPr>
        </p:nvSpPr>
        <p:spPr>
          <a:xfrm>
            <a:off x="233183" y="1632056"/>
            <a:ext cx="5517067" cy="4973884"/>
          </a:xfrm>
        </p:spPr>
        <p:txBody>
          <a:bodyPr r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3462706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pPr defTabSz="1109731"/>
            <a:fld id="{FAADACFB-7C71-4E89-89D2-7BBA40B7BFA9}" type="slidenum">
              <a:rPr lang="en-US" smtClean="0">
                <a:solidFill>
                  <a:srgbClr val="505050"/>
                </a:solidFill>
              </a:rPr>
              <a:pPr defTabSz="1109731"/>
              <a:t>‹#›</a:t>
            </a:fld>
            <a:endParaRPr lang="en-US">
              <a:solidFill>
                <a:srgbClr val="505050"/>
              </a:solidFill>
            </a:endParaRPr>
          </a:p>
        </p:txBody>
      </p:sp>
      <p:sp>
        <p:nvSpPr>
          <p:cNvPr id="3" name="Footer Placeholder 2"/>
          <p:cNvSpPr>
            <a:spLocks noGrp="1"/>
          </p:cNvSpPr>
          <p:nvPr>
            <p:ph type="ftr" sz="quarter" idx="10"/>
          </p:nvPr>
        </p:nvSpPr>
        <p:spPr>
          <a:xfrm>
            <a:off x="233184" y="6683658"/>
            <a:ext cx="5983436" cy="310869"/>
          </a:xfrm>
        </p:spPr>
        <p:txBody>
          <a:bodyPr/>
          <a:lstStyle/>
          <a:p>
            <a:pPr defTabSz="1109731"/>
            <a:endParaRPr lang="en-US">
              <a:solidFill>
                <a:srgbClr val="505050"/>
              </a:solidFill>
            </a:endParaRPr>
          </a:p>
        </p:txBody>
      </p:sp>
      <p:sp>
        <p:nvSpPr>
          <p:cNvPr id="6" name="Picture Placeholder 5"/>
          <p:cNvSpPr>
            <a:spLocks noGrp="1"/>
          </p:cNvSpPr>
          <p:nvPr>
            <p:ph type="pic" sz="quarter" idx="12"/>
          </p:nvPr>
        </p:nvSpPr>
        <p:spPr>
          <a:xfrm>
            <a:off x="1" y="0"/>
            <a:ext cx="6219856" cy="6994525"/>
          </a:xfrm>
        </p:spPr>
        <p:txBody>
          <a:bodyPr/>
          <a:lstStyle/>
          <a:p>
            <a:r>
              <a:rPr lang="en-US"/>
              <a:t>Click icon to add picture</a:t>
            </a:r>
          </a:p>
        </p:txBody>
      </p:sp>
      <p:sp>
        <p:nvSpPr>
          <p:cNvPr id="2" name="Title 1"/>
          <p:cNvSpPr>
            <a:spLocks noGrp="1"/>
          </p:cNvSpPr>
          <p:nvPr>
            <p:ph type="title"/>
          </p:nvPr>
        </p:nvSpPr>
        <p:spPr>
          <a:xfrm>
            <a:off x="6688107" y="272009"/>
            <a:ext cx="5476321" cy="1360047"/>
          </a:xfrm>
        </p:spPr>
        <p:txBody>
          <a:bodyPr anchor="t" anchorCtr="0"/>
          <a:lstStyle/>
          <a:p>
            <a:r>
              <a:rPr lang="en-US"/>
              <a:t>Click to edit Master title style</a:t>
            </a:r>
          </a:p>
        </p:txBody>
      </p:sp>
      <p:sp>
        <p:nvSpPr>
          <p:cNvPr id="8" name="Text Placeholder 7"/>
          <p:cNvSpPr>
            <a:spLocks noGrp="1"/>
          </p:cNvSpPr>
          <p:nvPr>
            <p:ph type="body" sz="quarter" idx="13"/>
          </p:nvPr>
        </p:nvSpPr>
        <p:spPr>
          <a:xfrm>
            <a:off x="6682986" y="1632056"/>
            <a:ext cx="5481442" cy="50516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5608988"/>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p>
        </p:txBody>
      </p:sp>
      <p:sp>
        <p:nvSpPr>
          <p:cNvPr id="16" name="Text Placeholder 15"/>
          <p:cNvSpPr>
            <a:spLocks noGrp="1"/>
          </p:cNvSpPr>
          <p:nvPr>
            <p:ph type="body" sz="quarter" idx="14"/>
          </p:nvPr>
        </p:nvSpPr>
        <p:spPr>
          <a:xfrm>
            <a:off x="233184" y="1632056"/>
            <a:ext cx="12049414" cy="4668168"/>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233185" y="6683658"/>
            <a:ext cx="11426011" cy="310869"/>
          </a:xfrm>
        </p:spPr>
        <p:txBody>
          <a:bodyPr/>
          <a:lstStyle/>
          <a:p>
            <a:endParaRPr lang="en-US">
              <a:solidFill>
                <a:srgbClr val="505050"/>
              </a:solidFill>
            </a:endParaRPr>
          </a:p>
        </p:txBody>
      </p:sp>
    </p:spTree>
    <p:extLst>
      <p:ext uri="{BB962C8B-B14F-4D97-AF65-F5344CB8AC3E}">
        <p14:creationId xmlns:p14="http://schemas.microsoft.com/office/powerpoint/2010/main" val="369974501"/>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
        <p:nvSpPr>
          <p:cNvPr id="20" name="Footer Placeholder 19"/>
          <p:cNvSpPr>
            <a:spLocks noGrp="1"/>
          </p:cNvSpPr>
          <p:nvPr>
            <p:ph type="ftr" sz="quarter" idx="16"/>
          </p:nvPr>
        </p:nvSpPr>
        <p:spPr>
          <a:xfrm>
            <a:off x="233185" y="6683658"/>
            <a:ext cx="11426011" cy="310869"/>
          </a:xfrm>
        </p:spPr>
        <p:txBody>
          <a:bodyPr/>
          <a:lstStyle/>
          <a:p>
            <a:endParaRPr lang="en-US">
              <a:solidFill>
                <a:srgbClr val="505050"/>
              </a:solidFill>
            </a:endParaRPr>
          </a:p>
        </p:txBody>
      </p:sp>
    </p:spTree>
    <p:extLst>
      <p:ext uri="{BB962C8B-B14F-4D97-AF65-F5344CB8AC3E}">
        <p14:creationId xmlns:p14="http://schemas.microsoft.com/office/powerpoint/2010/main" val="286086693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33185" y="6683658"/>
            <a:ext cx="11426011" cy="310869"/>
          </a:xfrm>
        </p:spPr>
        <p:txBody>
          <a:bodyPr/>
          <a:lstStyle/>
          <a:p>
            <a:endParaRPr lang="en-US">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281503625"/>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p>
        </p:txBody>
      </p:sp>
      <p:sp>
        <p:nvSpPr>
          <p:cNvPr id="4" name="Text Placeholder 3"/>
          <p:cNvSpPr>
            <a:spLocks noGrp="1"/>
          </p:cNvSpPr>
          <p:nvPr>
            <p:ph type="body" sz="quarter" idx="15" hasCustomPrompt="1"/>
          </p:nvPr>
        </p:nvSpPr>
        <p:spPr>
          <a:xfrm>
            <a:off x="233184" y="1632056"/>
            <a:ext cx="12049414" cy="45853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7273" indent="0">
              <a:buNone/>
              <a:defRPr>
                <a:solidFill>
                  <a:schemeClr val="tx1"/>
                </a:solidFill>
                <a:latin typeface="Courier New" pitchFamily="49" charset="0"/>
                <a:cs typeface="Courier New" pitchFamily="49" charset="0"/>
              </a:defRPr>
            </a:lvl2pPr>
            <a:lvl3pPr marL="600171" indent="0">
              <a:buNone/>
              <a:defRPr>
                <a:solidFill>
                  <a:schemeClr val="tx1"/>
                </a:solidFill>
                <a:latin typeface="Courier New" pitchFamily="49" charset="0"/>
                <a:cs typeface="Courier New" pitchFamily="49" charset="0"/>
              </a:defRPr>
            </a:lvl3pPr>
            <a:lvl4pPr marL="887445" indent="0">
              <a:buNone/>
              <a:defRPr>
                <a:solidFill>
                  <a:schemeClr val="tx1"/>
                </a:solidFill>
                <a:latin typeface="Courier New" pitchFamily="49" charset="0"/>
                <a:cs typeface="Courier New" pitchFamily="49" charset="0"/>
              </a:defRPr>
            </a:lvl4pPr>
            <a:lvl5pPr marL="1127512" indent="0">
              <a:buNone/>
              <a:defRPr>
                <a:solidFill>
                  <a:schemeClr val="tx1"/>
                </a:solidFill>
                <a:latin typeface="Courier New" pitchFamily="49" charset="0"/>
                <a:cs typeface="Courier New" pitchFamily="49" charset="0"/>
              </a:defRPr>
            </a:lvl5pPr>
          </a:lstStyle>
          <a:p>
            <a:pPr lvl="0"/>
            <a:r>
              <a:rPr lang="en-US"/>
              <a:t>Click to add developer code</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6"/>
          </p:nvPr>
        </p:nvSpPr>
        <p:spPr>
          <a:xfrm>
            <a:off x="233185" y="6683657"/>
            <a:ext cx="11426011" cy="310869"/>
          </a:xfrm>
        </p:spPr>
        <p:txBody>
          <a:bodyPr/>
          <a:lstStyle/>
          <a:p>
            <a:endParaRPr lang="en-US">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82822052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24776320"/>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p>
        </p:txBody>
      </p:sp>
      <p:sp>
        <p:nvSpPr>
          <p:cNvPr id="6" name="Footer Placeholder 5"/>
          <p:cNvSpPr>
            <a:spLocks noGrp="1"/>
          </p:cNvSpPr>
          <p:nvPr>
            <p:ph type="ftr" sz="quarter" idx="11"/>
          </p:nvPr>
        </p:nvSpPr>
        <p:spPr>
          <a:xfrm>
            <a:off x="233185" y="6683658"/>
            <a:ext cx="11426011"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33182" y="1628947"/>
            <a:ext cx="3917490" cy="4663017"/>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8"/>
          <p:cNvSpPr>
            <a:spLocks noGrp="1"/>
          </p:cNvSpPr>
          <p:nvPr>
            <p:ph sz="quarter" idx="14"/>
          </p:nvPr>
        </p:nvSpPr>
        <p:spPr>
          <a:xfrm>
            <a:off x="4233241" y="1628947"/>
            <a:ext cx="3920182" cy="4663017"/>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8"/>
          <p:cNvSpPr>
            <a:spLocks noGrp="1"/>
          </p:cNvSpPr>
          <p:nvPr>
            <p:ph sz="quarter" idx="15"/>
          </p:nvPr>
        </p:nvSpPr>
        <p:spPr>
          <a:xfrm>
            <a:off x="8235991" y="1628947"/>
            <a:ext cx="3917490" cy="4663017"/>
          </a:xfrm>
        </p:spPr>
        <p:txBody>
          <a:bodyPr l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8729904"/>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p>
        </p:txBody>
      </p:sp>
      <p:sp>
        <p:nvSpPr>
          <p:cNvPr id="6" name="Footer Placeholder 5"/>
          <p:cNvSpPr>
            <a:spLocks noGrp="1"/>
          </p:cNvSpPr>
          <p:nvPr>
            <p:ph type="ftr" sz="quarter" idx="11"/>
          </p:nvPr>
        </p:nvSpPr>
        <p:spPr>
          <a:xfrm>
            <a:off x="233185" y="6683658"/>
            <a:ext cx="11426011"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9" name="Content Placeholder 8"/>
          <p:cNvSpPr>
            <a:spLocks noGrp="1"/>
          </p:cNvSpPr>
          <p:nvPr>
            <p:ph sz="quarter" idx="13"/>
          </p:nvPr>
        </p:nvSpPr>
        <p:spPr>
          <a:xfrm>
            <a:off x="233184" y="1628947"/>
            <a:ext cx="3917490" cy="3319032"/>
          </a:xfrm>
        </p:spPr>
        <p:txBody>
          <a:bodyPr lIns="137160" rIns="137160" bIns="137160"/>
          <a:lstStyle>
            <a:lvl1pPr>
              <a:lnSpc>
                <a:spcPct val="100000"/>
              </a:lnSpc>
              <a:spcAft>
                <a:spcPts val="1224"/>
              </a:spcAft>
              <a:defRPr/>
            </a:lvl1pPr>
            <a:lvl2pPr>
              <a:lnSpc>
                <a:spcPct val="100000"/>
              </a:lnSpc>
              <a:spcAft>
                <a:spcPts val="1224"/>
              </a:spcAft>
              <a:defRPr/>
            </a:lvl2pPr>
            <a:lvl3pPr>
              <a:lnSpc>
                <a:spcPct val="100000"/>
              </a:lnSpc>
              <a:spcAft>
                <a:spcPts val="1224"/>
              </a:spcAft>
              <a:defRPr/>
            </a:lvl3pPr>
            <a:lvl4pPr>
              <a:lnSpc>
                <a:spcPct val="100000"/>
              </a:lnSpc>
              <a:spcAft>
                <a:spcPts val="1224"/>
              </a:spcAft>
              <a:defRPr/>
            </a:lvl4pPr>
            <a:lvl5pPr>
              <a:lnSpc>
                <a:spcPct val="100000"/>
              </a:lnSpc>
              <a:spcAft>
                <a:spcPts val="1224"/>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8"/>
          <p:cNvSpPr>
            <a:spLocks noGrp="1"/>
          </p:cNvSpPr>
          <p:nvPr>
            <p:ph sz="quarter" idx="14"/>
          </p:nvPr>
        </p:nvSpPr>
        <p:spPr>
          <a:xfrm>
            <a:off x="4234587" y="1628947"/>
            <a:ext cx="3917490" cy="3319032"/>
          </a:xfrm>
        </p:spPr>
        <p:txBody>
          <a:bodyPr lIns="137160" rIns="137160" bIns="137160"/>
          <a:lstStyle>
            <a:lvl1pPr>
              <a:lnSpc>
                <a:spcPct val="100000"/>
              </a:lnSpc>
              <a:spcAft>
                <a:spcPts val="1224"/>
              </a:spcAft>
              <a:defRPr/>
            </a:lvl1pPr>
            <a:lvl2pPr>
              <a:lnSpc>
                <a:spcPct val="100000"/>
              </a:lnSpc>
              <a:spcAft>
                <a:spcPts val="1224"/>
              </a:spcAft>
              <a:defRPr/>
            </a:lvl2pPr>
            <a:lvl3pPr>
              <a:lnSpc>
                <a:spcPct val="100000"/>
              </a:lnSpc>
              <a:spcAft>
                <a:spcPts val="1224"/>
              </a:spcAft>
              <a:defRPr/>
            </a:lvl3pPr>
            <a:lvl4pPr>
              <a:lnSpc>
                <a:spcPct val="100000"/>
              </a:lnSpc>
              <a:spcAft>
                <a:spcPts val="1224"/>
              </a:spcAft>
              <a:defRPr/>
            </a:lvl4pPr>
            <a:lvl5pPr>
              <a:lnSpc>
                <a:spcPct val="100000"/>
              </a:lnSpc>
              <a:spcAft>
                <a:spcPts val="1224"/>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8"/>
          <p:cNvSpPr>
            <a:spLocks noGrp="1"/>
          </p:cNvSpPr>
          <p:nvPr>
            <p:ph sz="quarter" idx="15"/>
          </p:nvPr>
        </p:nvSpPr>
        <p:spPr>
          <a:xfrm>
            <a:off x="8235991" y="1628947"/>
            <a:ext cx="3917490" cy="3319032"/>
          </a:xfrm>
        </p:spPr>
        <p:txBody>
          <a:bodyPr lIns="137160" rIns="137160" bIns="137160"/>
          <a:lstStyle>
            <a:lvl1pPr>
              <a:lnSpc>
                <a:spcPct val="100000"/>
              </a:lnSpc>
              <a:spcAft>
                <a:spcPts val="1224"/>
              </a:spcAft>
              <a:defRPr/>
            </a:lvl1pPr>
            <a:lvl2pPr>
              <a:lnSpc>
                <a:spcPct val="100000"/>
              </a:lnSpc>
              <a:spcAft>
                <a:spcPts val="1224"/>
              </a:spcAft>
              <a:defRPr/>
            </a:lvl2pPr>
            <a:lvl3pPr>
              <a:lnSpc>
                <a:spcPct val="100000"/>
              </a:lnSpc>
              <a:spcAft>
                <a:spcPts val="1224"/>
              </a:spcAft>
              <a:defRPr/>
            </a:lvl3pPr>
            <a:lvl4pPr>
              <a:lnSpc>
                <a:spcPct val="100000"/>
              </a:lnSpc>
              <a:spcAft>
                <a:spcPts val="1224"/>
              </a:spcAft>
              <a:defRPr/>
            </a:lvl4pPr>
            <a:lvl5pPr>
              <a:lnSpc>
                <a:spcPct val="100000"/>
              </a:lnSpc>
              <a:spcAft>
                <a:spcPts val="1224"/>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8"/>
          <p:cNvSpPr>
            <a:spLocks noGrp="1"/>
          </p:cNvSpPr>
          <p:nvPr>
            <p:ph sz="quarter" idx="16"/>
          </p:nvPr>
        </p:nvSpPr>
        <p:spPr>
          <a:xfrm>
            <a:off x="233184" y="4947979"/>
            <a:ext cx="3917490" cy="1349166"/>
          </a:xfrm>
        </p:spPr>
        <p:txBody>
          <a:bodyPr lIns="137160" rIns="137160" bIns="137160"/>
          <a:lstStyle>
            <a:lvl1pPr>
              <a:lnSpc>
                <a:spcPct val="100000"/>
              </a:lnSpc>
              <a:spcAft>
                <a:spcPts val="1224"/>
              </a:spcAft>
              <a:defRPr sz="2448"/>
            </a:lvl1pPr>
          </a:lstStyle>
          <a:p>
            <a:pPr lvl="0"/>
            <a:r>
              <a:rPr lang="en-US"/>
              <a:t>Edit Master text styles</a:t>
            </a:r>
          </a:p>
        </p:txBody>
      </p:sp>
      <p:sp>
        <p:nvSpPr>
          <p:cNvPr id="17" name="Content Placeholder 8"/>
          <p:cNvSpPr>
            <a:spLocks noGrp="1"/>
          </p:cNvSpPr>
          <p:nvPr>
            <p:ph sz="quarter" idx="17"/>
          </p:nvPr>
        </p:nvSpPr>
        <p:spPr>
          <a:xfrm>
            <a:off x="4234587" y="4947979"/>
            <a:ext cx="3917490" cy="1349166"/>
          </a:xfrm>
        </p:spPr>
        <p:txBody>
          <a:bodyPr lIns="137160" rIns="137160" bIns="137160"/>
          <a:lstStyle>
            <a:lvl1pPr>
              <a:lnSpc>
                <a:spcPct val="100000"/>
              </a:lnSpc>
              <a:spcAft>
                <a:spcPts val="1224"/>
              </a:spcAft>
              <a:defRPr sz="2448"/>
            </a:lvl1pPr>
          </a:lstStyle>
          <a:p>
            <a:pPr lvl="0"/>
            <a:r>
              <a:rPr lang="en-US"/>
              <a:t>Edit Master text styles</a:t>
            </a:r>
          </a:p>
        </p:txBody>
      </p:sp>
      <p:sp>
        <p:nvSpPr>
          <p:cNvPr id="18" name="Content Placeholder 8"/>
          <p:cNvSpPr>
            <a:spLocks noGrp="1"/>
          </p:cNvSpPr>
          <p:nvPr>
            <p:ph sz="quarter" idx="18"/>
          </p:nvPr>
        </p:nvSpPr>
        <p:spPr>
          <a:xfrm>
            <a:off x="8235991" y="4947979"/>
            <a:ext cx="3917490" cy="1349166"/>
          </a:xfrm>
        </p:spPr>
        <p:txBody>
          <a:bodyPr lIns="137160" rIns="137160" bIns="137160"/>
          <a:lstStyle>
            <a:lvl1pPr>
              <a:lnSpc>
                <a:spcPct val="100000"/>
              </a:lnSpc>
              <a:spcAft>
                <a:spcPts val="1224"/>
              </a:spcAft>
              <a:defRPr sz="2448"/>
            </a:lvl1pPr>
          </a:lstStyle>
          <a:p>
            <a:pPr lvl="0"/>
            <a:r>
              <a:rPr lang="en-US"/>
              <a:t>Edit Master text styles</a:t>
            </a:r>
          </a:p>
        </p:txBody>
      </p:sp>
    </p:spTree>
    <p:extLst>
      <p:ext uri="{BB962C8B-B14F-4D97-AF65-F5344CB8AC3E}">
        <p14:creationId xmlns:p14="http://schemas.microsoft.com/office/powerpoint/2010/main" val="83836346"/>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142251" y="1628947"/>
            <a:ext cx="4156850" cy="4153194"/>
          </a:xfrm>
        </p:spPr>
        <p:txBody>
          <a:bodyPr lIns="137160" tIns="91440" rIns="137160" bIns="137160"/>
          <a:lstStyle/>
          <a:p>
            <a:pPr lvl="0"/>
            <a:r>
              <a:rPr lang="en-US"/>
              <a:t>Edit Master text styles</a:t>
            </a:r>
          </a:p>
        </p:txBody>
      </p:sp>
      <p:sp>
        <p:nvSpPr>
          <p:cNvPr id="9" name="Content Placeholder 8"/>
          <p:cNvSpPr>
            <a:spLocks noGrp="1"/>
          </p:cNvSpPr>
          <p:nvPr>
            <p:ph sz="quarter" idx="13"/>
          </p:nvPr>
        </p:nvSpPr>
        <p:spPr>
          <a:xfrm>
            <a:off x="1" y="1628947"/>
            <a:ext cx="4145491" cy="4153194"/>
          </a:xfrm>
        </p:spPr>
        <p:txBody>
          <a:bodyPr lIns="137160" tIns="91440" rIns="137160" bIns="137160"/>
          <a:lstStyle/>
          <a:p>
            <a:pPr lvl="0"/>
            <a:r>
              <a:rPr lang="en-US"/>
              <a:t>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p>
        </p:txBody>
      </p:sp>
      <p:sp>
        <p:nvSpPr>
          <p:cNvPr id="6" name="Footer Placeholder 5"/>
          <p:cNvSpPr>
            <a:spLocks noGrp="1"/>
          </p:cNvSpPr>
          <p:nvPr>
            <p:ph type="ftr" sz="quarter" idx="11"/>
          </p:nvPr>
        </p:nvSpPr>
        <p:spPr>
          <a:xfrm>
            <a:off x="233185" y="6683658"/>
            <a:ext cx="11426011"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6" name="Content Placeholder 8"/>
          <p:cNvSpPr>
            <a:spLocks noGrp="1"/>
          </p:cNvSpPr>
          <p:nvPr>
            <p:ph sz="quarter" idx="15"/>
          </p:nvPr>
        </p:nvSpPr>
        <p:spPr>
          <a:xfrm>
            <a:off x="8290984" y="1628947"/>
            <a:ext cx="4143333" cy="4153194"/>
          </a:xfrm>
        </p:spPr>
        <p:txBody>
          <a:bodyPr lIns="137160" tIns="91440" rIns="137160" bIns="137160"/>
          <a:lstStyle/>
          <a:p>
            <a:pPr lvl="0"/>
            <a:r>
              <a:rPr lang="en-US"/>
              <a:t>Edit Master text styles</a:t>
            </a:r>
          </a:p>
        </p:txBody>
      </p:sp>
      <p:sp>
        <p:nvSpPr>
          <p:cNvPr id="4" name="Text Placeholder 3"/>
          <p:cNvSpPr>
            <a:spLocks noGrp="1"/>
          </p:cNvSpPr>
          <p:nvPr>
            <p:ph type="body" sz="quarter" idx="16"/>
          </p:nvPr>
        </p:nvSpPr>
        <p:spPr>
          <a:xfrm>
            <a:off x="10289026" y="3637153"/>
            <a:ext cx="2145292"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19" name="Text Placeholder 3"/>
          <p:cNvSpPr>
            <a:spLocks noGrp="1"/>
          </p:cNvSpPr>
          <p:nvPr>
            <p:ph type="body" sz="quarter" idx="17"/>
          </p:nvPr>
        </p:nvSpPr>
        <p:spPr>
          <a:xfrm>
            <a:off x="6153809" y="3637153"/>
            <a:ext cx="2145292" cy="2144988"/>
          </a:xfrm>
          <a:solidFill>
            <a:schemeClr val="tx2"/>
          </a:solidFill>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
        <p:nvSpPr>
          <p:cNvPr id="20" name="Text Placeholder 3"/>
          <p:cNvSpPr>
            <a:spLocks noGrp="1"/>
          </p:cNvSpPr>
          <p:nvPr>
            <p:ph type="body" sz="quarter" idx="18"/>
          </p:nvPr>
        </p:nvSpPr>
        <p:spPr>
          <a:xfrm>
            <a:off x="2000200" y="3637153"/>
            <a:ext cx="2145292" cy="2144988"/>
          </a:xfrm>
          <a:solidFill>
            <a:schemeClr val="tx2"/>
          </a:solidFill>
          <a:ln>
            <a:noFill/>
          </a:ln>
        </p:spPr>
        <p:txBody>
          <a:bodyPr lIns="137160" tIns="91440" rIns="137160" bIns="137160">
            <a:normAutofit/>
          </a:bodyPr>
          <a:lstStyle>
            <a:lvl1pPr>
              <a:lnSpc>
                <a:spcPct val="85000"/>
              </a:lnSpc>
              <a:spcAft>
                <a:spcPts val="0"/>
              </a:spcAft>
              <a:defRPr sz="408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Edit Master text styles</a:t>
            </a:r>
          </a:p>
        </p:txBody>
      </p:sp>
    </p:spTree>
    <p:extLst>
      <p:ext uri="{BB962C8B-B14F-4D97-AF65-F5344CB8AC3E}">
        <p14:creationId xmlns:p14="http://schemas.microsoft.com/office/powerpoint/2010/main" val="1694890823"/>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p>
        </p:txBody>
      </p:sp>
      <p:sp>
        <p:nvSpPr>
          <p:cNvPr id="3" name="Content Placeholder 2"/>
          <p:cNvSpPr>
            <a:spLocks noGrp="1"/>
          </p:cNvSpPr>
          <p:nvPr>
            <p:ph idx="1"/>
          </p:nvPr>
        </p:nvSpPr>
        <p:spPr>
          <a:xfrm>
            <a:off x="233184" y="1632056"/>
            <a:ext cx="8886898" cy="1657961"/>
          </a:xfrm>
        </p:spPr>
        <p:txBody>
          <a:bodyPr lIns="137160" rIns="137160" bIns="137160">
            <a:normAutofit/>
          </a:bodyPr>
          <a:lstStyle>
            <a:lvl1pPr>
              <a:defRPr sz="2040"/>
            </a:lvl1pPr>
            <a:lvl2pPr>
              <a:defRPr sz="1632"/>
            </a:lvl2pPr>
            <a:lvl3pPr>
              <a:defRPr sz="1428"/>
            </a:lvl3pPr>
          </a:lstStyle>
          <a:p>
            <a:pPr lvl="0"/>
            <a:r>
              <a:rPr lang="en-US"/>
              <a:t>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33185" y="6683658"/>
            <a:ext cx="11426011" cy="310868"/>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
        <p:nvSpPr>
          <p:cNvPr id="11" name="Content Placeholder 8"/>
          <p:cNvSpPr>
            <a:spLocks noGrp="1"/>
          </p:cNvSpPr>
          <p:nvPr>
            <p:ph sz="quarter" idx="13"/>
          </p:nvPr>
        </p:nvSpPr>
        <p:spPr>
          <a:xfrm>
            <a:off x="233183" y="3497263"/>
            <a:ext cx="39174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8"/>
          <p:cNvSpPr>
            <a:spLocks noGrp="1"/>
          </p:cNvSpPr>
          <p:nvPr>
            <p:ph sz="quarter" idx="14"/>
          </p:nvPr>
        </p:nvSpPr>
        <p:spPr>
          <a:xfrm>
            <a:off x="4240059" y="3497263"/>
            <a:ext cx="39174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8"/>
          <p:cNvSpPr>
            <a:spLocks noGrp="1"/>
          </p:cNvSpPr>
          <p:nvPr>
            <p:ph sz="quarter" idx="15"/>
          </p:nvPr>
        </p:nvSpPr>
        <p:spPr>
          <a:xfrm>
            <a:off x="8246937" y="3497263"/>
            <a:ext cx="3917490" cy="2794701"/>
          </a:xfrm>
        </p:spPr>
        <p:txBody>
          <a:bodyPr lIns="137160" rIns="137160" bIns="137160">
            <a:noAutofit/>
          </a:bodyPr>
          <a:lstStyle>
            <a:lvl1pPr>
              <a:defRPr sz="2040"/>
            </a:lvl1pPr>
            <a:lvl2pPr>
              <a:defRPr sz="1632"/>
            </a:lvl2pPr>
            <a:lvl3pPr>
              <a:defRPr sz="1428"/>
            </a:lvl3pPr>
            <a:lvl4pPr>
              <a:defRPr sz="1224"/>
            </a:lvl4pPr>
            <a:lvl5pPr>
              <a:defRPr sz="1224"/>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9940423"/>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33183" y="272009"/>
            <a:ext cx="12203292" cy="660594"/>
          </a:xfrm>
        </p:spPr>
        <p:txBody>
          <a:bodyPr vert="horz" lIns="137160" tIns="91440" rIns="137160" bIns="137160" rtlCol="0" anchor="t" anchorCtr="0">
            <a:normAutofit/>
          </a:bodyPr>
          <a:lstStyle>
            <a:lvl1pPr>
              <a:defRPr lang="en-US" dirty="0"/>
            </a:lvl1pPr>
          </a:lstStyle>
          <a:p>
            <a:pPr lvl="0"/>
            <a:r>
              <a:rPr lang="en-US"/>
              <a:t>Click to edit Master title style</a:t>
            </a:r>
          </a:p>
        </p:txBody>
      </p:sp>
      <p:sp>
        <p:nvSpPr>
          <p:cNvPr id="3" name="Content Placeholder 2"/>
          <p:cNvSpPr>
            <a:spLocks noGrp="1"/>
          </p:cNvSpPr>
          <p:nvPr>
            <p:ph sz="half" idx="1"/>
          </p:nvPr>
        </p:nvSpPr>
        <p:spPr>
          <a:xfrm>
            <a:off x="233183" y="1654413"/>
            <a:ext cx="5922871" cy="4663017"/>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31016" y="1654415"/>
            <a:ext cx="5922871" cy="4663016"/>
          </a:xfrm>
        </p:spPr>
        <p:txBody>
          <a:bodyPr lIns="137160" tIns="91440" rIns="137160" bIns="137160"/>
          <a:lstStyle>
            <a:lvl1pPr>
              <a:lnSpc>
                <a:spcPct val="100000"/>
              </a:lnSpc>
              <a:defRPr sz="2448"/>
            </a:lvl1pPr>
            <a:lvl2pPr>
              <a:lnSpc>
                <a:spcPct val="100000"/>
              </a:lnSpc>
              <a:defRPr sz="2448"/>
            </a:lvl2pPr>
            <a:lvl3pPr>
              <a:lnSpc>
                <a:spcPct val="100000"/>
              </a:lnSpc>
              <a:defRPr sz="1904"/>
            </a:lvl3pPr>
            <a:lvl4pPr>
              <a:lnSpc>
                <a:spcPct val="100000"/>
              </a:lnSpc>
              <a:defRPr sz="1904"/>
            </a:lvl4pPr>
            <a:lvl5pPr>
              <a:lnSpc>
                <a:spcPct val="100000"/>
              </a:lnSpc>
              <a:defRPr sz="1496"/>
            </a:lvl5pPr>
            <a:lvl6pPr>
              <a:defRPr sz="2448"/>
            </a:lvl6pPr>
            <a:lvl7pPr>
              <a:defRPr sz="2448"/>
            </a:lvl7pPr>
            <a:lvl8pPr>
              <a:defRPr sz="2448"/>
            </a:lvl8pPr>
            <a:lvl9pPr>
              <a:defRPr sz="244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233184" y="6683658"/>
            <a:ext cx="11426012" cy="310869"/>
          </a:xfrm>
        </p:spPr>
        <p:txBody>
          <a:bodyPr/>
          <a:lstStyle/>
          <a:p>
            <a:endParaRPr lang="en-US">
              <a:solidFill>
                <a:srgbClr val="737373"/>
              </a:solidFill>
            </a:endParaRPr>
          </a:p>
        </p:txBody>
      </p:sp>
      <p:sp>
        <p:nvSpPr>
          <p:cNvPr id="7" name="Slide Number Placeholder 6"/>
          <p:cNvSpPr>
            <a:spLocks noGrp="1"/>
          </p:cNvSpPr>
          <p:nvPr>
            <p:ph type="sldNum" sz="quarter" idx="12"/>
          </p:nvPr>
        </p:nvSpPr>
        <p:spPr/>
        <p:txBody>
          <a:bodyPr/>
          <a:lstStyle/>
          <a:p>
            <a:fld id="{FB729ABE-044A-472F-86F1-BEFBB904A5C9}" type="slidenum">
              <a:rPr lang="en-US" smtClean="0">
                <a:solidFill>
                  <a:srgbClr val="737373"/>
                </a:solidFill>
              </a:rPr>
              <a:pPr/>
              <a:t>‹#›</a:t>
            </a:fld>
            <a:endParaRPr lang="en-US">
              <a:solidFill>
                <a:srgbClr val="737373"/>
              </a:solidFill>
            </a:endParaRPr>
          </a:p>
        </p:txBody>
      </p:sp>
    </p:spTree>
    <p:extLst>
      <p:ext uri="{BB962C8B-B14F-4D97-AF65-F5344CB8AC3E}">
        <p14:creationId xmlns:p14="http://schemas.microsoft.com/office/powerpoint/2010/main" val="853006113"/>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33184" y="272009"/>
            <a:ext cx="2518629" cy="2664431"/>
          </a:xfrm>
        </p:spPr>
        <p:txBody>
          <a:bodyPr anchor="t"/>
          <a:lstStyle/>
          <a:p>
            <a:r>
              <a:rPr lang="en-US"/>
              <a:t>Click to edit Master title style</a:t>
            </a:r>
          </a:p>
        </p:txBody>
      </p:sp>
      <p:pic>
        <p:nvPicPr>
          <p:cNvPr id="11"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2079" y="714256"/>
            <a:ext cx="8130104" cy="5802865"/>
          </a:xfrm>
          <a:prstGeom prst="rect">
            <a:avLst/>
          </a:prstGeom>
        </p:spPr>
      </p:pic>
      <p:pic>
        <p:nvPicPr>
          <p:cNvPr id="5"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92079" y="714256"/>
            <a:ext cx="8130104" cy="5802865"/>
          </a:xfrm>
          <a:prstGeom prst="rect">
            <a:avLst/>
          </a:prstGeom>
        </p:spPr>
      </p:pic>
      <p:pic>
        <p:nvPicPr>
          <p:cNvPr id="6" name="Content Placeholder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92080" y="714256"/>
            <a:ext cx="8130103" cy="5802865"/>
          </a:xfrm>
          <a:prstGeom prst="rect">
            <a:avLst/>
          </a:prstGeom>
        </p:spPr>
      </p:pic>
    </p:spTree>
    <p:extLst>
      <p:ext uri="{BB962C8B-B14F-4D97-AF65-F5344CB8AC3E}">
        <p14:creationId xmlns:p14="http://schemas.microsoft.com/office/powerpoint/2010/main" val="34128503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33184" y="272009"/>
            <a:ext cx="8783260" cy="1049179"/>
          </a:xfrm>
        </p:spPr>
        <p:txBody>
          <a:bodyPr anchor="t"/>
          <a:lstStyle/>
          <a:p>
            <a:r>
              <a:rPr lang="en-US"/>
              <a:t>Click to edit Master title style</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16444" y="595830"/>
            <a:ext cx="2901844" cy="1809928"/>
          </a:xfrm>
          <a:prstGeom prst="rect">
            <a:avLst/>
          </a:prstGeom>
        </p:spPr>
      </p:pic>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16444" y="4672768"/>
            <a:ext cx="2901844" cy="1809928"/>
          </a:xfrm>
          <a:prstGeom prst="rect">
            <a:avLst/>
          </a:prstGeom>
        </p:spPr>
      </p:pic>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16444" y="2626367"/>
            <a:ext cx="2901844" cy="1809928"/>
          </a:xfrm>
          <a:prstGeom prst="rect">
            <a:avLst/>
          </a:prstGeom>
        </p:spPr>
      </p:pic>
      <p:pic>
        <p:nvPicPr>
          <p:cNvPr id="8" name="Content Placeholder 18"/>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 y="2253791"/>
            <a:ext cx="8128835" cy="4740734"/>
          </a:xfrm>
          <a:prstGeom prst="rect">
            <a:avLst/>
          </a:prstGeom>
        </p:spPr>
      </p:pic>
      <p:sp>
        <p:nvSpPr>
          <p:cNvPr id="10" name="Picture Placeholder 9"/>
          <p:cNvSpPr>
            <a:spLocks noGrp="1"/>
          </p:cNvSpPr>
          <p:nvPr>
            <p:ph type="pic" sz="quarter" idx="10" hasCustomPrompt="1"/>
          </p:nvPr>
        </p:nvSpPr>
        <p:spPr>
          <a:xfrm>
            <a:off x="1" y="2805582"/>
            <a:ext cx="7539613" cy="4188943"/>
          </a:xfrm>
        </p:spPr>
        <p:txBody>
          <a:bodyPr/>
          <a:lstStyle>
            <a:lvl1pPr>
              <a:defRPr/>
            </a:lvl1pPr>
          </a:lstStyle>
          <a:p>
            <a:r>
              <a:rPr lang="en-US"/>
              <a:t>Click to add screenshot</a:t>
            </a:r>
          </a:p>
        </p:txBody>
      </p:sp>
      <p:sp>
        <p:nvSpPr>
          <p:cNvPr id="12" name="Picture Placeholder 11"/>
          <p:cNvSpPr>
            <a:spLocks noGrp="1"/>
          </p:cNvSpPr>
          <p:nvPr>
            <p:ph type="pic" sz="quarter" idx="11" hasCustomPrompt="1"/>
          </p:nvPr>
        </p:nvSpPr>
        <p:spPr>
          <a:xfrm>
            <a:off x="9191332" y="772185"/>
            <a:ext cx="2545591" cy="1432892"/>
          </a:xfrm>
        </p:spPr>
        <p:txBody>
          <a:bodyPr/>
          <a:lstStyle>
            <a:lvl1pPr>
              <a:defRPr/>
            </a:lvl1pPr>
          </a:lstStyle>
          <a:p>
            <a:r>
              <a:rPr lang="en-US"/>
              <a:t>Click to add screenshot</a:t>
            </a:r>
          </a:p>
        </p:txBody>
      </p:sp>
      <p:sp>
        <p:nvSpPr>
          <p:cNvPr id="14" name="Picture Placeholder 13"/>
          <p:cNvSpPr>
            <a:spLocks noGrp="1"/>
          </p:cNvSpPr>
          <p:nvPr>
            <p:ph type="pic" sz="quarter" idx="12" hasCustomPrompt="1"/>
          </p:nvPr>
        </p:nvSpPr>
        <p:spPr>
          <a:xfrm>
            <a:off x="9191332" y="2805906"/>
            <a:ext cx="2545591" cy="1429667"/>
          </a:xfrm>
        </p:spPr>
        <p:txBody>
          <a:bodyPr/>
          <a:lstStyle>
            <a:lvl1pPr>
              <a:defRPr baseline="0"/>
            </a:lvl1pPr>
          </a:lstStyle>
          <a:p>
            <a:r>
              <a:rPr lang="en-US"/>
              <a:t>Click to add screenshot</a:t>
            </a:r>
          </a:p>
        </p:txBody>
      </p:sp>
      <p:sp>
        <p:nvSpPr>
          <p:cNvPr id="16" name="Picture Placeholder 15"/>
          <p:cNvSpPr>
            <a:spLocks noGrp="1"/>
          </p:cNvSpPr>
          <p:nvPr>
            <p:ph type="pic" sz="quarter" idx="13" hasCustomPrompt="1"/>
          </p:nvPr>
        </p:nvSpPr>
        <p:spPr>
          <a:xfrm>
            <a:off x="9191332" y="4840308"/>
            <a:ext cx="2545591" cy="1440193"/>
          </a:xfrm>
        </p:spPr>
        <p:txBody>
          <a:bodyPr/>
          <a:lstStyle>
            <a:lvl1pPr>
              <a:defRPr/>
            </a:lvl1pPr>
          </a:lstStyle>
          <a:p>
            <a:r>
              <a:rPr lang="en-US"/>
              <a:t>Click to add screenshot</a:t>
            </a:r>
          </a:p>
        </p:txBody>
      </p:sp>
      <p:pic>
        <p:nvPicPr>
          <p:cNvPr id="11" name="Pictur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16444" y="595830"/>
            <a:ext cx="2901844" cy="1809928"/>
          </a:xfrm>
          <a:prstGeom prst="rect">
            <a:avLst/>
          </a:prstGeom>
        </p:spPr>
      </p:pic>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16444" y="4672768"/>
            <a:ext cx="2901844" cy="1809928"/>
          </a:xfrm>
          <a:prstGeom prst="rect">
            <a:avLst/>
          </a:prstGeom>
        </p:spPr>
      </p:pic>
      <p:pic>
        <p:nvPicPr>
          <p:cNvPr id="15" name="Pictur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16444" y="2626367"/>
            <a:ext cx="2901844" cy="1809928"/>
          </a:xfrm>
          <a:prstGeom prst="rect">
            <a:avLst/>
          </a:prstGeom>
        </p:spPr>
      </p:pic>
      <p:pic>
        <p:nvPicPr>
          <p:cNvPr id="17" name="Content Placeholder 18"/>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 y="2253791"/>
            <a:ext cx="8128835" cy="4740734"/>
          </a:xfrm>
          <a:prstGeom prst="rect">
            <a:avLst/>
          </a:prstGeom>
        </p:spPr>
      </p:pic>
      <p:pic>
        <p:nvPicPr>
          <p:cNvPr id="18" name="Picture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6444" y="595830"/>
            <a:ext cx="2901844" cy="1809928"/>
          </a:xfrm>
          <a:prstGeom prst="rect">
            <a:avLst/>
          </a:prstGeom>
        </p:spPr>
      </p:pic>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6444" y="4672768"/>
            <a:ext cx="2901844" cy="1809928"/>
          </a:xfrm>
          <a:prstGeom prst="rect">
            <a:avLst/>
          </a:prstGeom>
        </p:spPr>
      </p:pic>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16444" y="2626367"/>
            <a:ext cx="2901844" cy="1809928"/>
          </a:xfrm>
          <a:prstGeom prst="rect">
            <a:avLst/>
          </a:prstGeom>
        </p:spPr>
      </p:pic>
      <p:pic>
        <p:nvPicPr>
          <p:cNvPr id="21" name="Content Placeholder 1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1" y="2253791"/>
            <a:ext cx="8128835" cy="4740734"/>
          </a:xfrm>
          <a:prstGeom prst="rect">
            <a:avLst/>
          </a:prstGeom>
        </p:spPr>
      </p:pic>
    </p:spTree>
    <p:extLst>
      <p:ext uri="{BB962C8B-B14F-4D97-AF65-F5344CB8AC3E}">
        <p14:creationId xmlns:p14="http://schemas.microsoft.com/office/powerpoint/2010/main" val="3942554604"/>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436475" cy="6994525"/>
          </a:xfrm>
        </p:spPr>
        <p:txBody>
          <a:bodyPr/>
          <a:lstStyle/>
          <a:p>
            <a:r>
              <a:rPr lang="en-US"/>
              <a:t>Click icon to add picture</a:t>
            </a:r>
          </a:p>
        </p:txBody>
      </p:sp>
      <p:sp>
        <p:nvSpPr>
          <p:cNvPr id="15" name="Text Placeholder 14"/>
          <p:cNvSpPr>
            <a:spLocks noGrp="1"/>
          </p:cNvSpPr>
          <p:nvPr>
            <p:ph type="body" sz="quarter" idx="12" hasCustomPrompt="1"/>
          </p:nvPr>
        </p:nvSpPr>
        <p:spPr>
          <a:xfrm>
            <a:off x="4817515" y="2844437"/>
            <a:ext cx="2798207" cy="932603"/>
          </a:xfrm>
        </p:spPr>
        <p:txBody>
          <a:bodyPr>
            <a:normAutofit/>
          </a:bodyPr>
          <a:lstStyle>
            <a:lvl1pPr marL="0" marR="0" indent="0" algn="ctr" defTabSz="932597" rtl="0" eaLnBrk="1" fontAlgn="auto" latinLnBrk="0" hangingPunct="1">
              <a:lnSpc>
                <a:spcPct val="100000"/>
              </a:lnSpc>
              <a:spcBef>
                <a:spcPts val="0"/>
              </a:spcBef>
              <a:spcAft>
                <a:spcPts val="0"/>
              </a:spcAft>
              <a:buClrTx/>
              <a:buSzTx/>
              <a:buFont typeface="Wingdings" pitchFamily="2" charset="2"/>
              <a:buNone/>
              <a:tabLst/>
              <a:defRPr lang="en-US" sz="6119"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32597" rtl="0" eaLnBrk="1" fontAlgn="auto" latinLnBrk="0" hangingPunct="1">
              <a:lnSpc>
                <a:spcPct val="100000"/>
              </a:lnSpc>
              <a:spcBef>
                <a:spcPts val="0"/>
              </a:spcBef>
              <a:spcAft>
                <a:spcPts val="0"/>
              </a:spcAft>
              <a:buClrTx/>
              <a:buSzTx/>
              <a:buFont typeface="Wingdings" pitchFamily="2" charset="2"/>
              <a:buNone/>
              <a:tabLst/>
              <a:defRPr/>
            </a:pPr>
            <a:r>
              <a:rPr lang="en-US" sz="4488" b="1" kern="1200" spc="0" baseline="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846846384"/>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9" spc="-102" baseline="0">
                <a:solidFill>
                  <a:schemeClr val="bg1"/>
                </a:solidFill>
              </a:defRPr>
            </a:lvl1pPr>
          </a:lstStyle>
          <a:p>
            <a:r>
              <a:rPr lang="en-US"/>
              <a:t>Section title</a:t>
            </a:r>
          </a:p>
        </p:txBody>
      </p:sp>
      <p:sp>
        <p:nvSpPr>
          <p:cNvPr id="5" name="Picture Placeholder 4"/>
          <p:cNvSpPr>
            <a:spLocks noGrp="1"/>
          </p:cNvSpPr>
          <p:nvPr>
            <p:ph type="pic" sz="quarter" idx="10" hasCustomPrompt="1"/>
          </p:nvPr>
        </p:nvSpPr>
        <p:spPr>
          <a:xfrm>
            <a:off x="0" y="-4920"/>
            <a:ext cx="12436475" cy="6994525"/>
          </a:xfrm>
        </p:spPr>
        <p:txBody>
          <a:bodyPr/>
          <a:lstStyle>
            <a:lvl1pPr>
              <a:defRPr baseline="0">
                <a:solidFill>
                  <a:schemeClr val="bg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2549815145"/>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Section Title w/black overlay">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920"/>
            <a:ext cx="12436475" cy="6994525"/>
          </a:xfrm>
        </p:spPr>
        <p:txBody>
          <a:bodyPr/>
          <a:lstStyle>
            <a:lvl1pPr>
              <a:defRPr baseline="0">
                <a:solidFill>
                  <a:schemeClr val="bg1"/>
                </a:solidFill>
              </a:defRPr>
            </a:lvl1pPr>
          </a:lstStyle>
          <a:p>
            <a:r>
              <a:rPr lang="en-US"/>
              <a:t>Click on icon to</a:t>
            </a:r>
            <a:br>
              <a:rPr lang="en-US"/>
            </a:br>
            <a:r>
              <a:rPr lang="en-US"/>
              <a:t>insert picture then</a:t>
            </a:r>
            <a:br>
              <a:rPr lang="en-US"/>
            </a:br>
            <a:r>
              <a:rPr lang="en-US"/>
              <a:t>send to back</a:t>
            </a:r>
          </a:p>
        </p:txBody>
      </p:sp>
      <p:sp>
        <p:nvSpPr>
          <p:cNvPr id="6" name="Rectangle 5"/>
          <p:cNvSpPr/>
          <p:nvPr/>
        </p:nvSpPr>
        <p:spPr>
          <a:xfrm>
            <a:off x="6987336" y="-4920"/>
            <a:ext cx="5449140" cy="6999445"/>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
        <p:nvSpPr>
          <p:cNvPr id="4" name="Title 1"/>
          <p:cNvSpPr>
            <a:spLocks noGrp="1"/>
          </p:cNvSpPr>
          <p:nvPr>
            <p:ph type="title" hasCustomPrompt="1"/>
          </p:nvPr>
        </p:nvSpPr>
        <p:spPr>
          <a:xfrm>
            <a:off x="-5398" y="-1026"/>
            <a:ext cx="4718168"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119" spc="-102" baseline="0">
                <a:solidFill>
                  <a:schemeClr val="bg1"/>
                </a:solidFill>
              </a:defRPr>
            </a:lvl1pPr>
          </a:lstStyle>
          <a:p>
            <a:r>
              <a:rPr lang="en-US"/>
              <a:t>Section title</a:t>
            </a:r>
          </a:p>
        </p:txBody>
      </p:sp>
      <p:sp>
        <p:nvSpPr>
          <p:cNvPr id="7" name="Rectangle 6"/>
          <p:cNvSpPr/>
          <p:nvPr userDrawn="1"/>
        </p:nvSpPr>
        <p:spPr>
          <a:xfrm>
            <a:off x="6987336" y="-4920"/>
            <a:ext cx="5449140" cy="6999445"/>
          </a:xfrm>
          <a:prstGeom prst="rect">
            <a:avLst/>
          </a:prstGeom>
          <a:gradFill flip="none" rotWithShape="1">
            <a:gsLst>
              <a:gs pos="0">
                <a:schemeClr val="bg2">
                  <a:alpha val="0"/>
                </a:schemeClr>
              </a:gs>
              <a:gs pos="100000">
                <a:schemeClr val="bg2">
                  <a:alpha val="5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93260" rIns="93260" bIns="93260" numCol="1" spcCol="0" rtlCol="0" fromWordArt="0" anchor="b" anchorCtr="0" forceAA="0" compatLnSpc="1">
            <a:prstTxWarp prst="textNoShape">
              <a:avLst/>
            </a:prstTxWarp>
            <a:noAutofit/>
          </a:bodyPr>
          <a:lstStyle/>
          <a:p>
            <a:pPr algn="r"/>
            <a:endParaRPr lang="en-US" sz="1224" err="1"/>
          </a:p>
        </p:txBody>
      </p:sp>
    </p:spTree>
    <p:extLst>
      <p:ext uri="{BB962C8B-B14F-4D97-AF65-F5344CB8AC3E}">
        <p14:creationId xmlns:p14="http://schemas.microsoft.com/office/powerpoint/2010/main" val="193819675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2831157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399" y="-1026"/>
            <a:ext cx="6758302" cy="69983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119" spc="-102" baseline="0">
                <a:solidFill>
                  <a:schemeClr val="tx1"/>
                </a:solidFill>
              </a:defRPr>
            </a:lvl1pPr>
          </a:lstStyle>
          <a:p>
            <a:r>
              <a:rPr lang="en-US"/>
              <a:t>Section title</a:t>
            </a:r>
          </a:p>
        </p:txBody>
      </p:sp>
      <p:sp>
        <p:nvSpPr>
          <p:cNvPr id="5" name="Picture Placeholder 4"/>
          <p:cNvSpPr>
            <a:spLocks noGrp="1"/>
          </p:cNvSpPr>
          <p:nvPr>
            <p:ph type="pic" sz="quarter" idx="10" hasCustomPrompt="1"/>
          </p:nvPr>
        </p:nvSpPr>
        <p:spPr>
          <a:xfrm>
            <a:off x="0" y="-4920"/>
            <a:ext cx="12436475" cy="7002244"/>
          </a:xfrm>
        </p:spPr>
        <p:txBody>
          <a:bodyPr/>
          <a:lstStyle>
            <a:lvl1pPr>
              <a:defRPr baseline="0">
                <a:solidFill>
                  <a:schemeClr val="tx1"/>
                </a:solidFill>
              </a:defRPr>
            </a:lvl1pPr>
          </a:lstStyle>
          <a:p>
            <a:r>
              <a:rPr lang="en-US"/>
              <a:t>Click on icon to</a:t>
            </a:r>
            <a:br>
              <a:rPr lang="en-US"/>
            </a:br>
            <a:r>
              <a:rPr lang="en-US"/>
              <a:t>insert picture then</a:t>
            </a:r>
            <a:br>
              <a:rPr lang="en-US"/>
            </a:br>
            <a:r>
              <a:rPr lang="en-US"/>
              <a:t>send to back</a:t>
            </a:r>
          </a:p>
        </p:txBody>
      </p:sp>
    </p:spTree>
    <p:extLst>
      <p:ext uri="{BB962C8B-B14F-4D97-AF65-F5344CB8AC3E}">
        <p14:creationId xmlns:p14="http://schemas.microsoft.com/office/powerpoint/2010/main" val="2999623811"/>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a:t>Click to add title</a:t>
            </a:r>
          </a:p>
        </p:txBody>
      </p:sp>
      <p:sp>
        <p:nvSpPr>
          <p:cNvPr id="5" name="Text Placeholder 15"/>
          <p:cNvSpPr>
            <a:spLocks noGrp="1"/>
          </p:cNvSpPr>
          <p:nvPr>
            <p:ph type="body" sz="quarter" idx="14" hasCustomPrompt="1"/>
          </p:nvPr>
        </p:nvSpPr>
        <p:spPr>
          <a:xfrm>
            <a:off x="233184" y="1632056"/>
            <a:ext cx="11582924" cy="4663017"/>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speaker notes</a:t>
            </a:r>
          </a:p>
          <a:p>
            <a:pPr lvl="1"/>
            <a:r>
              <a:rPr lang="en-US"/>
              <a:t>Second level</a:t>
            </a:r>
          </a:p>
          <a:p>
            <a:pPr lvl="2"/>
            <a:r>
              <a:rPr lang="en-US"/>
              <a:t>Third level</a:t>
            </a:r>
          </a:p>
          <a:p>
            <a:pPr lvl="3"/>
            <a:r>
              <a:rPr lang="en-US"/>
              <a:t>Fourth level</a:t>
            </a:r>
          </a:p>
          <a:p>
            <a:pPr lvl="4"/>
            <a:r>
              <a:rPr lang="en-US"/>
              <a:t>Fifth level</a:t>
            </a:r>
          </a:p>
        </p:txBody>
      </p:sp>
      <p:sp>
        <p:nvSpPr>
          <p:cNvPr id="6"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74" spc="-61"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a:t>Next slide topic</a:t>
            </a:r>
          </a:p>
        </p:txBody>
      </p:sp>
    </p:spTree>
    <p:extLst>
      <p:ext uri="{BB962C8B-B14F-4D97-AF65-F5344CB8AC3E}">
        <p14:creationId xmlns:p14="http://schemas.microsoft.com/office/powerpoint/2010/main" val="2758461828"/>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2502" y="2956956"/>
            <a:ext cx="2938889" cy="1080617"/>
          </a:xfrm>
          <a:prstGeom prst="rect">
            <a:avLst/>
          </a:prstGeom>
        </p:spPr>
      </p:pic>
    </p:spTree>
    <p:extLst>
      <p:ext uri="{BB962C8B-B14F-4D97-AF65-F5344CB8AC3E}">
        <p14:creationId xmlns:p14="http://schemas.microsoft.com/office/powerpoint/2010/main" val="3650858214"/>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2502" y="2956956"/>
            <a:ext cx="2938889" cy="1080617"/>
          </a:xfrm>
          <a:prstGeom prst="rect">
            <a:avLst/>
          </a:prstGeom>
        </p:spPr>
      </p:pic>
    </p:spTree>
    <p:extLst>
      <p:ext uri="{BB962C8B-B14F-4D97-AF65-F5344CB8AC3E}">
        <p14:creationId xmlns:p14="http://schemas.microsoft.com/office/powerpoint/2010/main" val="2622887"/>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Intro Section">
    <p:spTree>
      <p:nvGrpSpPr>
        <p:cNvPr id="1" name=""/>
        <p:cNvGrpSpPr/>
        <p:nvPr/>
      </p:nvGrpSpPr>
      <p:grpSpPr>
        <a:xfrm>
          <a:off x="0" y="0"/>
          <a:ext cx="0" cy="0"/>
          <a:chOff x="0" y="0"/>
          <a:chExt cx="0" cy="0"/>
        </a:xfrm>
      </p:grpSpPr>
      <p:sp>
        <p:nvSpPr>
          <p:cNvPr id="3" name="Rectangle 2"/>
          <p:cNvSpPr/>
          <p:nvPr/>
        </p:nvSpPr>
        <p:spPr>
          <a:xfrm>
            <a:off x="-17169" y="-22329"/>
            <a:ext cx="12455264" cy="848955"/>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421"/>
            <a:endParaRPr lang="en-US" sz="1836">
              <a:solidFill>
                <a:srgbClr val="E4DED8"/>
              </a:solidFill>
            </a:endParaRPr>
          </a:p>
        </p:txBody>
      </p:sp>
      <p:sp>
        <p:nvSpPr>
          <p:cNvPr id="4" name="Text Placeholder 4"/>
          <p:cNvSpPr txBox="1">
            <a:spLocks/>
          </p:cNvSpPr>
          <p:nvPr/>
        </p:nvSpPr>
        <p:spPr>
          <a:xfrm>
            <a:off x="1" y="785266"/>
            <a:ext cx="12436475" cy="380490"/>
          </a:xfrm>
          <a:prstGeom prst="rect">
            <a:avLst/>
          </a:prstGeom>
        </p:spPr>
        <p:txBody>
          <a:bodyPr vert="horz" lIns="326411" tIns="54387" rIns="54387" bIns="54387" rtlCol="0">
            <a:noAutofit/>
          </a:bodyPr>
          <a:lstStyle>
            <a:lvl1pPr marL="0" indent="0" algn="l" defTabSz="1088105" rtl="0" eaLnBrk="1" latinLnBrk="0" hangingPunct="1">
              <a:spcBef>
                <a:spcPts val="1800"/>
              </a:spcBef>
              <a:buClr>
                <a:srgbClr val="0072C6"/>
              </a:buClr>
              <a:buSzPct val="100000"/>
              <a:buFont typeface="Wingdings" pitchFamily="2" charset="2"/>
              <a:buNone/>
              <a:defRPr sz="2800" kern="1200">
                <a:solidFill>
                  <a:schemeClr val="tx1"/>
                </a:solidFill>
                <a:latin typeface="Segoe UI Light" pitchFamily="34" charset="0"/>
                <a:ea typeface="Segoe UI" pitchFamily="34" charset="0"/>
                <a:cs typeface="Segoe UI" pitchFamily="34" charset="0"/>
              </a:defRPr>
            </a:lvl1pPr>
            <a:lvl2pPr marL="281674" indent="0" algn="l" defTabSz="1088105" rtl="0" eaLnBrk="1" latinLnBrk="0" hangingPunct="1">
              <a:spcBef>
                <a:spcPct val="20000"/>
              </a:spcBef>
              <a:buFont typeface="Arial" pitchFamily="34" charset="0"/>
              <a:buNone/>
              <a:defRPr sz="1800" kern="1200">
                <a:solidFill>
                  <a:schemeClr val="tx1"/>
                </a:solidFill>
                <a:latin typeface="Segoe UI" pitchFamily="34" charset="0"/>
                <a:ea typeface="Segoe UI" pitchFamily="34" charset="0"/>
                <a:cs typeface="Segoe UI" pitchFamily="34" charset="0"/>
              </a:defRPr>
            </a:lvl2pPr>
            <a:lvl3pPr marL="588476" indent="0" algn="l" defTabSz="1088105" rtl="0" eaLnBrk="1" latinLnBrk="0" hangingPunct="1">
              <a:spcBef>
                <a:spcPct val="20000"/>
              </a:spcBef>
              <a:buFont typeface="Arial" pitchFamily="34" charset="0"/>
              <a:buNone/>
              <a:defRPr sz="1600" kern="1200">
                <a:solidFill>
                  <a:schemeClr val="tx1"/>
                </a:solidFill>
                <a:latin typeface="Segoe UI" pitchFamily="34" charset="0"/>
                <a:ea typeface="Segoe UI" pitchFamily="34" charset="0"/>
                <a:cs typeface="Segoe UI" pitchFamily="34" charset="0"/>
              </a:defRPr>
            </a:lvl3pPr>
            <a:lvl4pPr marL="87015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4pPr>
            <a:lvl5pPr marL="1105540" indent="0" algn="l" defTabSz="1088105" rtl="0" eaLnBrk="1" latinLnBrk="0" hangingPunct="1">
              <a:spcBef>
                <a:spcPct val="20000"/>
              </a:spcBef>
              <a:buFont typeface="Arial" pitchFamily="34" charset="0"/>
              <a:buNone/>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a:lstStyle>
          <a:p>
            <a:endParaRPr lang="en-US" sz="2448">
              <a:solidFill>
                <a:schemeClr val="accent1"/>
              </a:solidFill>
              <a:latin typeface="+mn-lt"/>
            </a:endParaRPr>
          </a:p>
        </p:txBody>
      </p:sp>
      <p:sp>
        <p:nvSpPr>
          <p:cNvPr id="5" name="Rectangle 4"/>
          <p:cNvSpPr/>
          <p:nvPr/>
        </p:nvSpPr>
        <p:spPr bwMode="auto">
          <a:xfrm>
            <a:off x="231625" y="1632057"/>
            <a:ext cx="4900725" cy="1927271"/>
          </a:xfrm>
          <a:prstGeom prst="rect">
            <a:avLst/>
          </a:prstGeom>
          <a:no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3256" tIns="46628" rIns="93256" bIns="46628" numCol="1" rtlCol="0" anchor="t" anchorCtr="0" compatLnSpc="1">
            <a:prstTxWarp prst="textNoShape">
              <a:avLst/>
            </a:prstTxWarp>
          </a:bodyPr>
          <a:lstStyle/>
          <a:p>
            <a:pPr defTabSz="932290" fontAlgn="base">
              <a:spcBef>
                <a:spcPct val="0"/>
              </a:spcBef>
              <a:spcAft>
                <a:spcPct val="0"/>
              </a:spcAft>
            </a:pPr>
            <a:endParaRPr lang="en-US" sz="2040">
              <a:solidFill>
                <a:schemeClr val="accent1"/>
              </a:solidFill>
              <a:ea typeface="Segoe UI" panose="020B0502040204020203" pitchFamily="34" charset="0"/>
              <a:cs typeface="Segoe UI" panose="020B0502040204020203" pitchFamily="34" charset="0"/>
            </a:endParaRPr>
          </a:p>
        </p:txBody>
      </p:sp>
      <p:sp>
        <p:nvSpPr>
          <p:cNvPr id="6" name="Title 1"/>
          <p:cNvSpPr txBox="1">
            <a:spLocks/>
          </p:cNvSpPr>
          <p:nvPr/>
        </p:nvSpPr>
        <p:spPr>
          <a:xfrm>
            <a:off x="286254" y="-5304"/>
            <a:ext cx="8186681" cy="839456"/>
          </a:xfrm>
          <a:prstGeom prst="rect">
            <a:avLst/>
          </a:prstGeom>
          <a:effectLst/>
        </p:spPr>
        <p:txBody>
          <a:bodyPr lIns="93244" tIns="46620" rIns="93244" bIns="46620" anchor="ctr"/>
          <a:lstStyle>
            <a:lvl1pPr algn="ctr" defTabSz="914400" rtl="0" eaLnBrk="1" latinLnBrk="0" hangingPunct="1">
              <a:lnSpc>
                <a:spcPts val="3800"/>
              </a:lnSpc>
              <a:spcBef>
                <a:spcPct val="0"/>
              </a:spcBef>
              <a:buNone/>
              <a:defRPr sz="2800" b="1" i="1" kern="1200" spc="300" baseline="0">
                <a:solidFill>
                  <a:schemeClr val="accent3"/>
                </a:solidFill>
                <a:latin typeface="+mn-lt"/>
                <a:ea typeface="+mj-ea"/>
                <a:cs typeface="+mj-cs"/>
              </a:defRPr>
            </a:lvl1pPr>
          </a:lstStyle>
          <a:p>
            <a:pPr algn="l">
              <a:lnSpc>
                <a:spcPts val="3570"/>
              </a:lnSpc>
            </a:pPr>
            <a:endParaRPr lang="en-US" sz="2448" i="0" kern="900">
              <a:gradFill>
                <a:gsLst>
                  <a:gs pos="100000">
                    <a:schemeClr val="accent1"/>
                  </a:gs>
                  <a:gs pos="0">
                    <a:schemeClr val="accent1"/>
                  </a:gs>
                </a:gsLst>
                <a:lin ang="5400000" scaled="0"/>
              </a:gradFill>
            </a:endParaRPr>
          </a:p>
        </p:txBody>
      </p:sp>
    </p:spTree>
    <p:extLst>
      <p:ext uri="{BB962C8B-B14F-4D97-AF65-F5344CB8AC3E}">
        <p14:creationId xmlns:p14="http://schemas.microsoft.com/office/powerpoint/2010/main" val="1086190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2125664"/>
            <a:ext cx="11887200" cy="1520416"/>
          </a:xfrm>
        </p:spPr>
        <p:txBody>
          <a:bodyPr/>
          <a:lstStyle>
            <a:lvl1pPr marL="0" indent="0">
              <a:buNone/>
              <a:defRPr sz="2800">
                <a:gradFill>
                  <a:gsLst>
                    <a:gs pos="1250">
                      <a:schemeClr val="tx1"/>
                    </a:gs>
                    <a:gs pos="99000">
                      <a:schemeClr val="tx1"/>
                    </a:gs>
                  </a:gsLst>
                  <a:lin ang="5400000" scaled="0"/>
                </a:gradFill>
              </a:defRPr>
            </a:lvl1pPr>
            <a:lvl2pPr marL="0" indent="0">
              <a:buFontTx/>
              <a:buNone/>
              <a:defRPr sz="1800"/>
            </a:lvl2pPr>
            <a:lvl3pPr marL="228557" indent="0">
              <a:buNone/>
              <a:defRPr sz="1399"/>
            </a:lvl3pPr>
            <a:lvl4pPr marL="457112" indent="0">
              <a:buNone/>
              <a:defRPr sz="1199"/>
            </a:lvl4pPr>
            <a:lvl5pPr marL="685669" indent="0">
              <a:buNone/>
              <a:defRPr sz="11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2643098"/>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12843682"/>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Walkin Envision">
    <p:bg>
      <p:bgPr>
        <a:solidFill>
          <a:schemeClr val="accent1"/>
        </a:solidFill>
        <a:effectLst/>
      </p:bgPr>
    </p:bg>
    <p:spTree>
      <p:nvGrpSpPr>
        <p:cNvPr id="1" name=""/>
        <p:cNvGrpSpPr/>
        <p:nvPr/>
      </p:nvGrpSpPr>
      <p:grpSpPr>
        <a:xfrm>
          <a:off x="0" y="0"/>
          <a:ext cx="0" cy="0"/>
          <a:chOff x="0" y="0"/>
          <a:chExt cx="0" cy="0"/>
        </a:xfrm>
      </p:grpSpPr>
      <p:pic>
        <p:nvPicPr>
          <p:cNvPr id="4" name="Picture 3" descr="A person standing in front of a computer&#10;&#10;Description generated with high confidence">
            <a:extLst>
              <a:ext uri="{FF2B5EF4-FFF2-40B4-BE49-F238E27FC236}">
                <a16:creationId xmlns:a16="http://schemas.microsoft.com/office/drawing/2014/main" id="{36D8CC14-719F-416A-A107-246A6EA0C7A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1315" y="0"/>
            <a:ext cx="6995160" cy="6995160"/>
          </a:xfrm>
          <a:prstGeom prst="rect">
            <a:avLst/>
          </a:prstGeom>
        </p:spPr>
      </p:pic>
      <p:pic>
        <p:nvPicPr>
          <p:cNvPr id="6"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
        <p:nvSpPr>
          <p:cNvPr id="13" name="Freeform 5"/>
          <p:cNvSpPr>
            <a:spLocks noEditPoints="1"/>
          </p:cNvSpPr>
          <p:nvPr userDrawn="1"/>
        </p:nvSpPr>
        <p:spPr bwMode="black">
          <a:xfrm>
            <a:off x="457200" y="2090938"/>
            <a:ext cx="3204459" cy="1534190"/>
          </a:xfrm>
          <a:custGeom>
            <a:avLst/>
            <a:gdLst>
              <a:gd name="T0" fmla="*/ 175 w 1072"/>
              <a:gd name="T1" fmla="*/ 44 h 512"/>
              <a:gd name="T2" fmla="*/ 29 w 1072"/>
              <a:gd name="T3" fmla="*/ 44 h 512"/>
              <a:gd name="T4" fmla="*/ 0 w 1072"/>
              <a:gd name="T5" fmla="*/ 14 h 512"/>
              <a:gd name="T6" fmla="*/ 111 w 1072"/>
              <a:gd name="T7" fmla="*/ 141 h 512"/>
              <a:gd name="T8" fmla="*/ 240 w 1072"/>
              <a:gd name="T9" fmla="*/ 35 h 512"/>
              <a:gd name="T10" fmla="*/ 272 w 1072"/>
              <a:gd name="T11" fmla="*/ 23 h 512"/>
              <a:gd name="T12" fmla="*/ 238 w 1072"/>
              <a:gd name="T13" fmla="*/ 69 h 512"/>
              <a:gd name="T14" fmla="*/ 308 w 1072"/>
              <a:gd name="T15" fmla="*/ 190 h 512"/>
              <a:gd name="T16" fmla="*/ 396 w 1072"/>
              <a:gd name="T17" fmla="*/ 101 h 512"/>
              <a:gd name="T18" fmla="*/ 365 w 1072"/>
              <a:gd name="T19" fmla="*/ 184 h 512"/>
              <a:gd name="T20" fmla="*/ 456 w 1072"/>
              <a:gd name="T21" fmla="*/ 106 h 512"/>
              <a:gd name="T22" fmla="*/ 447 w 1072"/>
              <a:gd name="T23" fmla="*/ 69 h 512"/>
              <a:gd name="T24" fmla="*/ 495 w 1072"/>
              <a:gd name="T25" fmla="*/ 69 h 512"/>
              <a:gd name="T26" fmla="*/ 515 w 1072"/>
              <a:gd name="T27" fmla="*/ 85 h 512"/>
              <a:gd name="T28" fmla="*/ 565 w 1072"/>
              <a:gd name="T29" fmla="*/ 209 h 512"/>
              <a:gd name="T30" fmla="*/ 566 w 1072"/>
              <a:gd name="T31" fmla="*/ 184 h 512"/>
              <a:gd name="T32" fmla="*/ 648 w 1072"/>
              <a:gd name="T33" fmla="*/ 201 h 512"/>
              <a:gd name="T34" fmla="*/ 705 w 1072"/>
              <a:gd name="T35" fmla="*/ 155 h 512"/>
              <a:gd name="T36" fmla="*/ 650 w 1072"/>
              <a:gd name="T37" fmla="*/ 120 h 512"/>
              <a:gd name="T38" fmla="*/ 704 w 1072"/>
              <a:gd name="T39" fmla="*/ 66 h 512"/>
              <a:gd name="T40" fmla="*/ 686 w 1072"/>
              <a:gd name="T41" fmla="*/ 93 h 512"/>
              <a:gd name="T42" fmla="*/ 695 w 1072"/>
              <a:gd name="T43" fmla="*/ 122 h 512"/>
              <a:gd name="T44" fmla="*/ 745 w 1072"/>
              <a:gd name="T45" fmla="*/ 168 h 512"/>
              <a:gd name="T46" fmla="*/ 648 w 1072"/>
              <a:gd name="T47" fmla="*/ 201 h 512"/>
              <a:gd name="T48" fmla="*/ 827 w 1072"/>
              <a:gd name="T49" fmla="*/ 66 h 512"/>
              <a:gd name="T50" fmla="*/ 825 w 1072"/>
              <a:gd name="T51" fmla="*/ 90 h 512"/>
              <a:gd name="T52" fmla="*/ 853 w 1072"/>
              <a:gd name="T53" fmla="*/ 172 h 512"/>
              <a:gd name="T54" fmla="*/ 974 w 1072"/>
              <a:gd name="T55" fmla="*/ 25 h 512"/>
              <a:gd name="T56" fmla="*/ 952 w 1072"/>
              <a:gd name="T57" fmla="*/ 93 h 512"/>
              <a:gd name="T58" fmla="*/ 897 w 1072"/>
              <a:gd name="T59" fmla="*/ 69 h 512"/>
              <a:gd name="T60" fmla="*/ 988 w 1072"/>
              <a:gd name="T61" fmla="*/ 3 h 512"/>
              <a:gd name="T62" fmla="*/ 1008 w 1072"/>
              <a:gd name="T63" fmla="*/ 93 h 512"/>
              <a:gd name="T64" fmla="*/ 1039 w 1072"/>
              <a:gd name="T65" fmla="*/ 28 h 512"/>
              <a:gd name="T66" fmla="*/ 1039 w 1072"/>
              <a:gd name="T67" fmla="*/ 161 h 512"/>
              <a:gd name="T68" fmla="*/ 107 w 1072"/>
              <a:gd name="T69" fmla="*/ 509 h 512"/>
              <a:gd name="T70" fmla="*/ 31 w 1072"/>
              <a:gd name="T71" fmla="*/ 345 h 512"/>
              <a:gd name="T72" fmla="*/ 31 w 1072"/>
              <a:gd name="T73" fmla="*/ 482 h 512"/>
              <a:gd name="T74" fmla="*/ 218 w 1072"/>
              <a:gd name="T75" fmla="*/ 432 h 512"/>
              <a:gd name="T76" fmla="*/ 127 w 1072"/>
              <a:gd name="T77" fmla="*/ 509 h 512"/>
              <a:gd name="T78" fmla="*/ 203 w 1072"/>
              <a:gd name="T79" fmla="*/ 369 h 512"/>
              <a:gd name="T80" fmla="*/ 340 w 1072"/>
              <a:gd name="T81" fmla="*/ 509 h 512"/>
              <a:gd name="T82" fmla="*/ 325 w 1072"/>
              <a:gd name="T83" fmla="*/ 486 h 512"/>
              <a:gd name="T84" fmla="*/ 419 w 1072"/>
              <a:gd name="T85" fmla="*/ 344 h 512"/>
              <a:gd name="T86" fmla="*/ 432 w 1072"/>
              <a:gd name="T87" fmla="*/ 314 h 512"/>
              <a:gd name="T88" fmla="*/ 403 w 1072"/>
              <a:gd name="T89" fmla="*/ 509 h 512"/>
              <a:gd name="T90" fmla="*/ 455 w 1072"/>
              <a:gd name="T91" fmla="*/ 476 h 512"/>
              <a:gd name="T92" fmla="*/ 503 w 1072"/>
              <a:gd name="T93" fmla="*/ 454 h 512"/>
              <a:gd name="T94" fmla="*/ 455 w 1072"/>
              <a:gd name="T95" fmla="*/ 410 h 512"/>
              <a:gd name="T96" fmla="*/ 545 w 1072"/>
              <a:gd name="T97" fmla="*/ 375 h 512"/>
              <a:gd name="T98" fmla="*/ 488 w 1072"/>
              <a:gd name="T99" fmla="*/ 402 h 512"/>
              <a:gd name="T100" fmla="*/ 514 w 1072"/>
              <a:gd name="T101" fmla="*/ 430 h 512"/>
              <a:gd name="T102" fmla="*/ 547 w 1072"/>
              <a:gd name="T103" fmla="*/ 489 h 512"/>
              <a:gd name="T104" fmla="*/ 586 w 1072"/>
              <a:gd name="T105" fmla="*/ 344 h 512"/>
              <a:gd name="T106" fmla="*/ 600 w 1072"/>
              <a:gd name="T107" fmla="*/ 314 h 512"/>
              <a:gd name="T108" fmla="*/ 571 w 1072"/>
              <a:gd name="T109" fmla="*/ 509 h 512"/>
              <a:gd name="T110" fmla="*/ 641 w 1072"/>
              <a:gd name="T111" fmla="*/ 493 h 512"/>
              <a:gd name="T112" fmla="*/ 763 w 1072"/>
              <a:gd name="T113" fmla="*/ 440 h 512"/>
              <a:gd name="T114" fmla="*/ 654 w 1072"/>
              <a:gd name="T115" fmla="*/ 442 h 512"/>
              <a:gd name="T116" fmla="*/ 721 w 1072"/>
              <a:gd name="T117" fmla="*/ 406 h 512"/>
              <a:gd name="T118" fmla="*/ 847 w 1072"/>
              <a:gd name="T119" fmla="*/ 394 h 512"/>
              <a:gd name="T120" fmla="*/ 783 w 1072"/>
              <a:gd name="T121" fmla="*/ 372 h 512"/>
              <a:gd name="T122" fmla="*/ 893 w 1072"/>
              <a:gd name="T12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2" h="512">
                <a:moveTo>
                  <a:pt x="205" y="205"/>
                </a:moveTo>
                <a:cubicBezTo>
                  <a:pt x="174" y="205"/>
                  <a:pt x="174" y="205"/>
                  <a:pt x="174" y="205"/>
                </a:cubicBezTo>
                <a:cubicBezTo>
                  <a:pt x="174" y="82"/>
                  <a:pt x="174" y="82"/>
                  <a:pt x="174" y="82"/>
                </a:cubicBezTo>
                <a:cubicBezTo>
                  <a:pt x="174" y="71"/>
                  <a:pt x="174" y="59"/>
                  <a:pt x="176" y="44"/>
                </a:cubicBezTo>
                <a:cubicBezTo>
                  <a:pt x="175" y="44"/>
                  <a:pt x="175" y="44"/>
                  <a:pt x="175" y="44"/>
                </a:cubicBezTo>
                <a:cubicBezTo>
                  <a:pt x="173" y="53"/>
                  <a:pt x="171" y="59"/>
                  <a:pt x="170" y="62"/>
                </a:cubicBezTo>
                <a:cubicBezTo>
                  <a:pt x="113" y="205"/>
                  <a:pt x="113" y="205"/>
                  <a:pt x="113" y="205"/>
                </a:cubicBezTo>
                <a:cubicBezTo>
                  <a:pt x="91" y="205"/>
                  <a:pt x="91" y="205"/>
                  <a:pt x="91" y="205"/>
                </a:cubicBezTo>
                <a:cubicBezTo>
                  <a:pt x="34" y="63"/>
                  <a:pt x="34" y="63"/>
                  <a:pt x="34" y="63"/>
                </a:cubicBezTo>
                <a:cubicBezTo>
                  <a:pt x="32" y="59"/>
                  <a:pt x="30" y="53"/>
                  <a:pt x="29" y="44"/>
                </a:cubicBezTo>
                <a:cubicBezTo>
                  <a:pt x="28" y="44"/>
                  <a:pt x="28" y="44"/>
                  <a:pt x="28" y="44"/>
                </a:cubicBezTo>
                <a:cubicBezTo>
                  <a:pt x="29" y="52"/>
                  <a:pt x="29" y="65"/>
                  <a:pt x="29" y="82"/>
                </a:cubicBezTo>
                <a:cubicBezTo>
                  <a:pt x="29" y="205"/>
                  <a:pt x="29" y="205"/>
                  <a:pt x="29" y="205"/>
                </a:cubicBezTo>
                <a:cubicBezTo>
                  <a:pt x="0" y="205"/>
                  <a:pt x="0" y="205"/>
                  <a:pt x="0" y="205"/>
                </a:cubicBezTo>
                <a:cubicBezTo>
                  <a:pt x="0" y="14"/>
                  <a:pt x="0" y="14"/>
                  <a:pt x="0" y="14"/>
                </a:cubicBezTo>
                <a:cubicBezTo>
                  <a:pt x="44" y="14"/>
                  <a:pt x="44" y="14"/>
                  <a:pt x="44" y="14"/>
                </a:cubicBezTo>
                <a:cubicBezTo>
                  <a:pt x="95" y="142"/>
                  <a:pt x="95" y="142"/>
                  <a:pt x="95" y="142"/>
                </a:cubicBezTo>
                <a:cubicBezTo>
                  <a:pt x="99" y="151"/>
                  <a:pt x="101" y="159"/>
                  <a:pt x="102" y="163"/>
                </a:cubicBezTo>
                <a:cubicBezTo>
                  <a:pt x="103" y="163"/>
                  <a:pt x="103" y="163"/>
                  <a:pt x="103" y="163"/>
                </a:cubicBezTo>
                <a:cubicBezTo>
                  <a:pt x="106" y="153"/>
                  <a:pt x="109" y="146"/>
                  <a:pt x="111" y="141"/>
                </a:cubicBezTo>
                <a:cubicBezTo>
                  <a:pt x="162" y="14"/>
                  <a:pt x="162" y="14"/>
                  <a:pt x="162" y="14"/>
                </a:cubicBezTo>
                <a:cubicBezTo>
                  <a:pt x="205" y="14"/>
                  <a:pt x="205" y="14"/>
                  <a:pt x="205" y="14"/>
                </a:cubicBezTo>
                <a:lnTo>
                  <a:pt x="205" y="205"/>
                </a:lnTo>
                <a:close/>
                <a:moveTo>
                  <a:pt x="254" y="40"/>
                </a:moveTo>
                <a:cubicBezTo>
                  <a:pt x="248" y="40"/>
                  <a:pt x="244" y="38"/>
                  <a:pt x="240" y="35"/>
                </a:cubicBezTo>
                <a:cubicBezTo>
                  <a:pt x="237" y="32"/>
                  <a:pt x="235" y="28"/>
                  <a:pt x="235" y="23"/>
                </a:cubicBezTo>
                <a:cubicBezTo>
                  <a:pt x="235" y="18"/>
                  <a:pt x="237" y="13"/>
                  <a:pt x="240" y="10"/>
                </a:cubicBezTo>
                <a:cubicBezTo>
                  <a:pt x="244" y="7"/>
                  <a:pt x="248" y="5"/>
                  <a:pt x="254" y="5"/>
                </a:cubicBezTo>
                <a:cubicBezTo>
                  <a:pt x="259" y="5"/>
                  <a:pt x="263" y="7"/>
                  <a:pt x="267" y="10"/>
                </a:cubicBezTo>
                <a:cubicBezTo>
                  <a:pt x="271" y="13"/>
                  <a:pt x="272" y="18"/>
                  <a:pt x="272" y="23"/>
                </a:cubicBezTo>
                <a:cubicBezTo>
                  <a:pt x="272" y="27"/>
                  <a:pt x="271" y="32"/>
                  <a:pt x="267" y="35"/>
                </a:cubicBezTo>
                <a:cubicBezTo>
                  <a:pt x="263" y="38"/>
                  <a:pt x="259" y="40"/>
                  <a:pt x="254" y="40"/>
                </a:cubicBezTo>
                <a:close/>
                <a:moveTo>
                  <a:pt x="269" y="205"/>
                </a:moveTo>
                <a:cubicBezTo>
                  <a:pt x="238" y="205"/>
                  <a:pt x="238" y="205"/>
                  <a:pt x="238" y="205"/>
                </a:cubicBezTo>
                <a:cubicBezTo>
                  <a:pt x="238" y="69"/>
                  <a:pt x="238" y="69"/>
                  <a:pt x="238" y="69"/>
                </a:cubicBezTo>
                <a:cubicBezTo>
                  <a:pt x="269" y="69"/>
                  <a:pt x="269" y="69"/>
                  <a:pt x="269" y="69"/>
                </a:cubicBezTo>
                <a:lnTo>
                  <a:pt x="269" y="205"/>
                </a:lnTo>
                <a:close/>
                <a:moveTo>
                  <a:pt x="396" y="199"/>
                </a:moveTo>
                <a:cubicBezTo>
                  <a:pt x="385" y="206"/>
                  <a:pt x="372" y="209"/>
                  <a:pt x="357" y="209"/>
                </a:cubicBezTo>
                <a:cubicBezTo>
                  <a:pt x="337" y="209"/>
                  <a:pt x="321" y="202"/>
                  <a:pt x="308" y="190"/>
                </a:cubicBezTo>
                <a:cubicBezTo>
                  <a:pt x="296" y="177"/>
                  <a:pt x="290" y="161"/>
                  <a:pt x="290" y="140"/>
                </a:cubicBezTo>
                <a:cubicBezTo>
                  <a:pt x="290" y="118"/>
                  <a:pt x="296" y="100"/>
                  <a:pt x="310" y="86"/>
                </a:cubicBezTo>
                <a:cubicBezTo>
                  <a:pt x="323" y="72"/>
                  <a:pt x="341" y="66"/>
                  <a:pt x="363" y="66"/>
                </a:cubicBezTo>
                <a:cubicBezTo>
                  <a:pt x="376" y="66"/>
                  <a:pt x="387" y="68"/>
                  <a:pt x="396" y="72"/>
                </a:cubicBezTo>
                <a:cubicBezTo>
                  <a:pt x="396" y="101"/>
                  <a:pt x="396" y="101"/>
                  <a:pt x="396" y="101"/>
                </a:cubicBezTo>
                <a:cubicBezTo>
                  <a:pt x="387" y="94"/>
                  <a:pt x="377" y="90"/>
                  <a:pt x="366" y="90"/>
                </a:cubicBezTo>
                <a:cubicBezTo>
                  <a:pt x="353" y="90"/>
                  <a:pt x="342" y="95"/>
                  <a:pt x="334" y="104"/>
                </a:cubicBezTo>
                <a:cubicBezTo>
                  <a:pt x="325" y="112"/>
                  <a:pt x="321" y="124"/>
                  <a:pt x="321" y="138"/>
                </a:cubicBezTo>
                <a:cubicBezTo>
                  <a:pt x="321" y="152"/>
                  <a:pt x="325" y="164"/>
                  <a:pt x="333" y="172"/>
                </a:cubicBezTo>
                <a:cubicBezTo>
                  <a:pt x="341" y="180"/>
                  <a:pt x="351" y="184"/>
                  <a:pt x="365" y="184"/>
                </a:cubicBezTo>
                <a:cubicBezTo>
                  <a:pt x="376" y="184"/>
                  <a:pt x="386" y="180"/>
                  <a:pt x="396" y="172"/>
                </a:cubicBezTo>
                <a:lnTo>
                  <a:pt x="396" y="199"/>
                </a:lnTo>
                <a:close/>
                <a:moveTo>
                  <a:pt x="495" y="98"/>
                </a:moveTo>
                <a:cubicBezTo>
                  <a:pt x="491" y="95"/>
                  <a:pt x="486" y="94"/>
                  <a:pt x="479" y="94"/>
                </a:cubicBezTo>
                <a:cubicBezTo>
                  <a:pt x="470" y="94"/>
                  <a:pt x="462" y="98"/>
                  <a:pt x="456" y="106"/>
                </a:cubicBezTo>
                <a:cubicBezTo>
                  <a:pt x="450" y="115"/>
                  <a:pt x="447" y="126"/>
                  <a:pt x="447" y="140"/>
                </a:cubicBezTo>
                <a:cubicBezTo>
                  <a:pt x="447" y="205"/>
                  <a:pt x="447" y="205"/>
                  <a:pt x="447" y="205"/>
                </a:cubicBezTo>
                <a:cubicBezTo>
                  <a:pt x="416" y="205"/>
                  <a:pt x="416" y="205"/>
                  <a:pt x="416" y="205"/>
                </a:cubicBezTo>
                <a:cubicBezTo>
                  <a:pt x="416" y="69"/>
                  <a:pt x="416" y="69"/>
                  <a:pt x="416" y="69"/>
                </a:cubicBezTo>
                <a:cubicBezTo>
                  <a:pt x="447" y="69"/>
                  <a:pt x="447" y="69"/>
                  <a:pt x="447" y="69"/>
                </a:cubicBezTo>
                <a:cubicBezTo>
                  <a:pt x="447" y="97"/>
                  <a:pt x="447" y="97"/>
                  <a:pt x="447" y="97"/>
                </a:cubicBezTo>
                <a:cubicBezTo>
                  <a:pt x="447" y="97"/>
                  <a:pt x="447" y="97"/>
                  <a:pt x="447" y="97"/>
                </a:cubicBezTo>
                <a:cubicBezTo>
                  <a:pt x="450" y="87"/>
                  <a:pt x="455" y="80"/>
                  <a:pt x="461" y="74"/>
                </a:cubicBezTo>
                <a:cubicBezTo>
                  <a:pt x="468" y="69"/>
                  <a:pt x="475" y="66"/>
                  <a:pt x="482" y="66"/>
                </a:cubicBezTo>
                <a:cubicBezTo>
                  <a:pt x="488" y="66"/>
                  <a:pt x="492" y="67"/>
                  <a:pt x="495" y="69"/>
                </a:cubicBezTo>
                <a:lnTo>
                  <a:pt x="495" y="98"/>
                </a:lnTo>
                <a:close/>
                <a:moveTo>
                  <a:pt x="565" y="209"/>
                </a:moveTo>
                <a:cubicBezTo>
                  <a:pt x="543" y="209"/>
                  <a:pt x="527" y="202"/>
                  <a:pt x="514" y="190"/>
                </a:cubicBezTo>
                <a:cubicBezTo>
                  <a:pt x="501" y="177"/>
                  <a:pt x="495" y="160"/>
                  <a:pt x="495" y="139"/>
                </a:cubicBezTo>
                <a:cubicBezTo>
                  <a:pt x="495" y="116"/>
                  <a:pt x="502" y="98"/>
                  <a:pt x="515" y="85"/>
                </a:cubicBezTo>
                <a:cubicBezTo>
                  <a:pt x="528" y="72"/>
                  <a:pt x="546" y="66"/>
                  <a:pt x="568" y="66"/>
                </a:cubicBezTo>
                <a:cubicBezTo>
                  <a:pt x="589" y="66"/>
                  <a:pt x="606" y="72"/>
                  <a:pt x="618" y="84"/>
                </a:cubicBezTo>
                <a:cubicBezTo>
                  <a:pt x="630" y="97"/>
                  <a:pt x="636" y="114"/>
                  <a:pt x="636" y="137"/>
                </a:cubicBezTo>
                <a:cubicBezTo>
                  <a:pt x="636" y="158"/>
                  <a:pt x="629" y="176"/>
                  <a:pt x="616" y="189"/>
                </a:cubicBezTo>
                <a:cubicBezTo>
                  <a:pt x="603" y="202"/>
                  <a:pt x="586" y="209"/>
                  <a:pt x="565" y="209"/>
                </a:cubicBezTo>
                <a:close/>
                <a:moveTo>
                  <a:pt x="566" y="90"/>
                </a:moveTo>
                <a:cubicBezTo>
                  <a:pt x="554" y="90"/>
                  <a:pt x="544" y="95"/>
                  <a:pt x="537" y="103"/>
                </a:cubicBezTo>
                <a:cubicBezTo>
                  <a:pt x="530" y="111"/>
                  <a:pt x="527" y="123"/>
                  <a:pt x="527" y="138"/>
                </a:cubicBezTo>
                <a:cubicBezTo>
                  <a:pt x="527" y="152"/>
                  <a:pt x="530" y="164"/>
                  <a:pt x="537" y="172"/>
                </a:cubicBezTo>
                <a:cubicBezTo>
                  <a:pt x="545" y="180"/>
                  <a:pt x="554" y="184"/>
                  <a:pt x="566" y="184"/>
                </a:cubicBezTo>
                <a:cubicBezTo>
                  <a:pt x="578" y="184"/>
                  <a:pt x="588" y="180"/>
                  <a:pt x="594" y="172"/>
                </a:cubicBezTo>
                <a:cubicBezTo>
                  <a:pt x="601" y="164"/>
                  <a:pt x="604" y="152"/>
                  <a:pt x="604" y="137"/>
                </a:cubicBezTo>
                <a:cubicBezTo>
                  <a:pt x="604" y="122"/>
                  <a:pt x="601" y="111"/>
                  <a:pt x="594" y="103"/>
                </a:cubicBezTo>
                <a:cubicBezTo>
                  <a:pt x="588" y="94"/>
                  <a:pt x="578" y="90"/>
                  <a:pt x="566" y="90"/>
                </a:cubicBezTo>
                <a:close/>
                <a:moveTo>
                  <a:pt x="648" y="201"/>
                </a:moveTo>
                <a:cubicBezTo>
                  <a:pt x="648" y="173"/>
                  <a:pt x="648" y="173"/>
                  <a:pt x="648" y="173"/>
                </a:cubicBezTo>
                <a:cubicBezTo>
                  <a:pt x="659" y="181"/>
                  <a:pt x="672" y="186"/>
                  <a:pt x="686" y="186"/>
                </a:cubicBezTo>
                <a:cubicBezTo>
                  <a:pt x="705" y="186"/>
                  <a:pt x="714" y="180"/>
                  <a:pt x="714" y="169"/>
                </a:cubicBezTo>
                <a:cubicBezTo>
                  <a:pt x="714" y="166"/>
                  <a:pt x="713" y="163"/>
                  <a:pt x="712" y="161"/>
                </a:cubicBezTo>
                <a:cubicBezTo>
                  <a:pt x="710" y="159"/>
                  <a:pt x="708" y="157"/>
                  <a:pt x="705" y="155"/>
                </a:cubicBezTo>
                <a:cubicBezTo>
                  <a:pt x="702" y="154"/>
                  <a:pt x="699" y="152"/>
                  <a:pt x="696" y="151"/>
                </a:cubicBezTo>
                <a:cubicBezTo>
                  <a:pt x="692" y="150"/>
                  <a:pt x="688" y="148"/>
                  <a:pt x="683" y="146"/>
                </a:cubicBezTo>
                <a:cubicBezTo>
                  <a:pt x="678" y="144"/>
                  <a:pt x="672" y="142"/>
                  <a:pt x="668" y="139"/>
                </a:cubicBezTo>
                <a:cubicBezTo>
                  <a:pt x="664" y="137"/>
                  <a:pt x="660" y="134"/>
                  <a:pt x="657" y="131"/>
                </a:cubicBezTo>
                <a:cubicBezTo>
                  <a:pt x="654" y="128"/>
                  <a:pt x="652" y="124"/>
                  <a:pt x="650" y="120"/>
                </a:cubicBezTo>
                <a:cubicBezTo>
                  <a:pt x="649" y="116"/>
                  <a:pt x="648" y="111"/>
                  <a:pt x="648" y="106"/>
                </a:cubicBezTo>
                <a:cubicBezTo>
                  <a:pt x="648" y="99"/>
                  <a:pt x="649" y="94"/>
                  <a:pt x="652" y="89"/>
                </a:cubicBezTo>
                <a:cubicBezTo>
                  <a:pt x="656" y="84"/>
                  <a:pt x="660" y="79"/>
                  <a:pt x="665" y="76"/>
                </a:cubicBezTo>
                <a:cubicBezTo>
                  <a:pt x="670" y="73"/>
                  <a:pt x="676" y="70"/>
                  <a:pt x="683" y="68"/>
                </a:cubicBezTo>
                <a:cubicBezTo>
                  <a:pt x="690" y="66"/>
                  <a:pt x="696" y="66"/>
                  <a:pt x="704" y="66"/>
                </a:cubicBezTo>
                <a:cubicBezTo>
                  <a:pt x="716" y="66"/>
                  <a:pt x="728" y="68"/>
                  <a:pt x="737" y="71"/>
                </a:cubicBezTo>
                <a:cubicBezTo>
                  <a:pt x="737" y="98"/>
                  <a:pt x="737" y="98"/>
                  <a:pt x="737" y="98"/>
                </a:cubicBezTo>
                <a:cubicBezTo>
                  <a:pt x="728" y="92"/>
                  <a:pt x="717" y="89"/>
                  <a:pt x="704" y="89"/>
                </a:cubicBezTo>
                <a:cubicBezTo>
                  <a:pt x="700" y="89"/>
                  <a:pt x="697" y="89"/>
                  <a:pt x="694" y="90"/>
                </a:cubicBezTo>
                <a:cubicBezTo>
                  <a:pt x="691" y="91"/>
                  <a:pt x="688" y="92"/>
                  <a:pt x="686" y="93"/>
                </a:cubicBezTo>
                <a:cubicBezTo>
                  <a:pt x="683" y="95"/>
                  <a:pt x="682" y="96"/>
                  <a:pt x="680" y="98"/>
                </a:cubicBezTo>
                <a:cubicBezTo>
                  <a:pt x="679" y="100"/>
                  <a:pt x="679" y="102"/>
                  <a:pt x="679" y="105"/>
                </a:cubicBezTo>
                <a:cubicBezTo>
                  <a:pt x="679" y="108"/>
                  <a:pt x="679" y="110"/>
                  <a:pt x="680" y="112"/>
                </a:cubicBezTo>
                <a:cubicBezTo>
                  <a:pt x="682" y="114"/>
                  <a:pt x="684" y="116"/>
                  <a:pt x="686" y="118"/>
                </a:cubicBezTo>
                <a:cubicBezTo>
                  <a:pt x="688" y="119"/>
                  <a:pt x="691" y="121"/>
                  <a:pt x="695" y="122"/>
                </a:cubicBezTo>
                <a:cubicBezTo>
                  <a:pt x="698" y="123"/>
                  <a:pt x="702" y="125"/>
                  <a:pt x="707" y="126"/>
                </a:cubicBezTo>
                <a:cubicBezTo>
                  <a:pt x="713" y="129"/>
                  <a:pt x="718" y="131"/>
                  <a:pt x="722" y="134"/>
                </a:cubicBezTo>
                <a:cubicBezTo>
                  <a:pt x="727" y="136"/>
                  <a:pt x="731" y="139"/>
                  <a:pt x="734" y="142"/>
                </a:cubicBezTo>
                <a:cubicBezTo>
                  <a:pt x="738" y="145"/>
                  <a:pt x="740" y="149"/>
                  <a:pt x="742" y="153"/>
                </a:cubicBezTo>
                <a:cubicBezTo>
                  <a:pt x="744" y="157"/>
                  <a:pt x="745" y="162"/>
                  <a:pt x="745" y="168"/>
                </a:cubicBezTo>
                <a:cubicBezTo>
                  <a:pt x="745" y="175"/>
                  <a:pt x="743" y="181"/>
                  <a:pt x="740" y="186"/>
                </a:cubicBezTo>
                <a:cubicBezTo>
                  <a:pt x="737" y="191"/>
                  <a:pt x="732" y="195"/>
                  <a:pt x="727" y="199"/>
                </a:cubicBezTo>
                <a:cubicBezTo>
                  <a:pt x="722" y="202"/>
                  <a:pt x="716" y="205"/>
                  <a:pt x="709" y="206"/>
                </a:cubicBezTo>
                <a:cubicBezTo>
                  <a:pt x="702" y="208"/>
                  <a:pt x="694" y="209"/>
                  <a:pt x="686" y="209"/>
                </a:cubicBezTo>
                <a:cubicBezTo>
                  <a:pt x="672" y="209"/>
                  <a:pt x="659" y="206"/>
                  <a:pt x="648" y="201"/>
                </a:cubicBezTo>
                <a:close/>
                <a:moveTo>
                  <a:pt x="824" y="209"/>
                </a:moveTo>
                <a:cubicBezTo>
                  <a:pt x="803" y="209"/>
                  <a:pt x="786" y="202"/>
                  <a:pt x="773" y="190"/>
                </a:cubicBezTo>
                <a:cubicBezTo>
                  <a:pt x="761" y="177"/>
                  <a:pt x="754" y="160"/>
                  <a:pt x="754" y="139"/>
                </a:cubicBezTo>
                <a:cubicBezTo>
                  <a:pt x="754" y="116"/>
                  <a:pt x="761" y="98"/>
                  <a:pt x="774" y="85"/>
                </a:cubicBezTo>
                <a:cubicBezTo>
                  <a:pt x="787" y="72"/>
                  <a:pt x="805" y="66"/>
                  <a:pt x="827" y="66"/>
                </a:cubicBezTo>
                <a:cubicBezTo>
                  <a:pt x="848" y="66"/>
                  <a:pt x="865" y="72"/>
                  <a:pt x="877" y="84"/>
                </a:cubicBezTo>
                <a:cubicBezTo>
                  <a:pt x="889" y="97"/>
                  <a:pt x="895" y="114"/>
                  <a:pt x="895" y="137"/>
                </a:cubicBezTo>
                <a:cubicBezTo>
                  <a:pt x="895" y="158"/>
                  <a:pt x="888" y="176"/>
                  <a:pt x="876" y="189"/>
                </a:cubicBezTo>
                <a:cubicBezTo>
                  <a:pt x="863" y="202"/>
                  <a:pt x="845" y="209"/>
                  <a:pt x="824" y="209"/>
                </a:cubicBezTo>
                <a:close/>
                <a:moveTo>
                  <a:pt x="825" y="90"/>
                </a:moveTo>
                <a:cubicBezTo>
                  <a:pt x="813" y="90"/>
                  <a:pt x="803" y="95"/>
                  <a:pt x="796" y="103"/>
                </a:cubicBezTo>
                <a:cubicBezTo>
                  <a:pt x="789" y="111"/>
                  <a:pt x="786" y="123"/>
                  <a:pt x="786" y="138"/>
                </a:cubicBezTo>
                <a:cubicBezTo>
                  <a:pt x="786" y="152"/>
                  <a:pt x="789" y="164"/>
                  <a:pt x="797" y="172"/>
                </a:cubicBezTo>
                <a:cubicBezTo>
                  <a:pt x="804" y="180"/>
                  <a:pt x="813" y="184"/>
                  <a:pt x="825" y="184"/>
                </a:cubicBezTo>
                <a:cubicBezTo>
                  <a:pt x="837" y="184"/>
                  <a:pt x="847" y="180"/>
                  <a:pt x="853" y="172"/>
                </a:cubicBezTo>
                <a:cubicBezTo>
                  <a:pt x="860" y="164"/>
                  <a:pt x="863" y="152"/>
                  <a:pt x="863" y="137"/>
                </a:cubicBezTo>
                <a:cubicBezTo>
                  <a:pt x="863" y="122"/>
                  <a:pt x="860" y="111"/>
                  <a:pt x="853" y="103"/>
                </a:cubicBezTo>
                <a:cubicBezTo>
                  <a:pt x="847" y="94"/>
                  <a:pt x="837" y="90"/>
                  <a:pt x="825" y="90"/>
                </a:cubicBezTo>
                <a:close/>
                <a:moveTo>
                  <a:pt x="988" y="28"/>
                </a:moveTo>
                <a:cubicBezTo>
                  <a:pt x="984" y="26"/>
                  <a:pt x="979" y="25"/>
                  <a:pt x="974" y="25"/>
                </a:cubicBezTo>
                <a:cubicBezTo>
                  <a:pt x="959" y="25"/>
                  <a:pt x="951" y="33"/>
                  <a:pt x="951" y="50"/>
                </a:cubicBezTo>
                <a:cubicBezTo>
                  <a:pt x="951" y="69"/>
                  <a:pt x="951" y="69"/>
                  <a:pt x="951" y="69"/>
                </a:cubicBezTo>
                <a:cubicBezTo>
                  <a:pt x="983" y="69"/>
                  <a:pt x="983" y="69"/>
                  <a:pt x="983" y="69"/>
                </a:cubicBezTo>
                <a:cubicBezTo>
                  <a:pt x="983" y="93"/>
                  <a:pt x="983" y="93"/>
                  <a:pt x="983" y="93"/>
                </a:cubicBezTo>
                <a:cubicBezTo>
                  <a:pt x="952" y="93"/>
                  <a:pt x="952" y="93"/>
                  <a:pt x="952" y="93"/>
                </a:cubicBezTo>
                <a:cubicBezTo>
                  <a:pt x="952" y="205"/>
                  <a:pt x="952" y="205"/>
                  <a:pt x="952" y="205"/>
                </a:cubicBezTo>
                <a:cubicBezTo>
                  <a:pt x="921" y="205"/>
                  <a:pt x="921" y="205"/>
                  <a:pt x="921" y="205"/>
                </a:cubicBezTo>
                <a:cubicBezTo>
                  <a:pt x="921" y="93"/>
                  <a:pt x="921" y="93"/>
                  <a:pt x="921" y="93"/>
                </a:cubicBezTo>
                <a:cubicBezTo>
                  <a:pt x="897" y="93"/>
                  <a:pt x="897" y="93"/>
                  <a:pt x="897" y="93"/>
                </a:cubicBezTo>
                <a:cubicBezTo>
                  <a:pt x="897" y="69"/>
                  <a:pt x="897" y="69"/>
                  <a:pt x="897" y="69"/>
                </a:cubicBezTo>
                <a:cubicBezTo>
                  <a:pt x="921" y="69"/>
                  <a:pt x="921" y="69"/>
                  <a:pt x="921" y="69"/>
                </a:cubicBezTo>
                <a:cubicBezTo>
                  <a:pt x="921" y="47"/>
                  <a:pt x="921" y="47"/>
                  <a:pt x="921" y="47"/>
                </a:cubicBezTo>
                <a:cubicBezTo>
                  <a:pt x="921" y="32"/>
                  <a:pt x="925" y="21"/>
                  <a:pt x="935" y="13"/>
                </a:cubicBezTo>
                <a:cubicBezTo>
                  <a:pt x="944" y="4"/>
                  <a:pt x="956" y="0"/>
                  <a:pt x="970" y="0"/>
                </a:cubicBezTo>
                <a:cubicBezTo>
                  <a:pt x="978" y="0"/>
                  <a:pt x="984" y="1"/>
                  <a:pt x="988" y="3"/>
                </a:cubicBezTo>
                <a:lnTo>
                  <a:pt x="988" y="28"/>
                </a:lnTo>
                <a:close/>
                <a:moveTo>
                  <a:pt x="1072" y="204"/>
                </a:moveTo>
                <a:cubicBezTo>
                  <a:pt x="1065" y="207"/>
                  <a:pt x="1057" y="209"/>
                  <a:pt x="1048" y="209"/>
                </a:cubicBezTo>
                <a:cubicBezTo>
                  <a:pt x="1021" y="209"/>
                  <a:pt x="1008" y="196"/>
                  <a:pt x="1008" y="170"/>
                </a:cubicBezTo>
                <a:cubicBezTo>
                  <a:pt x="1008" y="93"/>
                  <a:pt x="1008" y="93"/>
                  <a:pt x="1008" y="93"/>
                </a:cubicBezTo>
                <a:cubicBezTo>
                  <a:pt x="985" y="93"/>
                  <a:pt x="985" y="93"/>
                  <a:pt x="985" y="93"/>
                </a:cubicBezTo>
                <a:cubicBezTo>
                  <a:pt x="985" y="69"/>
                  <a:pt x="985" y="69"/>
                  <a:pt x="985" y="69"/>
                </a:cubicBezTo>
                <a:cubicBezTo>
                  <a:pt x="1008" y="69"/>
                  <a:pt x="1008" y="69"/>
                  <a:pt x="1008" y="69"/>
                </a:cubicBezTo>
                <a:cubicBezTo>
                  <a:pt x="1008" y="37"/>
                  <a:pt x="1008" y="37"/>
                  <a:pt x="1008" y="37"/>
                </a:cubicBezTo>
                <a:cubicBezTo>
                  <a:pt x="1039" y="28"/>
                  <a:pt x="1039" y="28"/>
                  <a:pt x="1039" y="28"/>
                </a:cubicBezTo>
                <a:cubicBezTo>
                  <a:pt x="1039" y="69"/>
                  <a:pt x="1039" y="69"/>
                  <a:pt x="1039" y="69"/>
                </a:cubicBezTo>
                <a:cubicBezTo>
                  <a:pt x="1072" y="69"/>
                  <a:pt x="1072" y="69"/>
                  <a:pt x="1072" y="69"/>
                </a:cubicBezTo>
                <a:cubicBezTo>
                  <a:pt x="1072" y="93"/>
                  <a:pt x="1072" y="93"/>
                  <a:pt x="1072" y="93"/>
                </a:cubicBezTo>
                <a:cubicBezTo>
                  <a:pt x="1039" y="93"/>
                  <a:pt x="1039" y="93"/>
                  <a:pt x="1039" y="93"/>
                </a:cubicBezTo>
                <a:cubicBezTo>
                  <a:pt x="1039" y="161"/>
                  <a:pt x="1039" y="161"/>
                  <a:pt x="1039" y="161"/>
                </a:cubicBezTo>
                <a:cubicBezTo>
                  <a:pt x="1039" y="170"/>
                  <a:pt x="1040" y="175"/>
                  <a:pt x="1043" y="179"/>
                </a:cubicBezTo>
                <a:cubicBezTo>
                  <a:pt x="1046" y="182"/>
                  <a:pt x="1051" y="184"/>
                  <a:pt x="1058" y="184"/>
                </a:cubicBezTo>
                <a:cubicBezTo>
                  <a:pt x="1063" y="184"/>
                  <a:pt x="1068" y="182"/>
                  <a:pt x="1072" y="179"/>
                </a:cubicBezTo>
                <a:lnTo>
                  <a:pt x="1072" y="204"/>
                </a:lnTo>
                <a:close/>
                <a:moveTo>
                  <a:pt x="107" y="509"/>
                </a:moveTo>
                <a:cubicBezTo>
                  <a:pt x="0" y="509"/>
                  <a:pt x="0" y="509"/>
                  <a:pt x="0" y="509"/>
                </a:cubicBezTo>
                <a:cubicBezTo>
                  <a:pt x="0" y="318"/>
                  <a:pt x="0" y="318"/>
                  <a:pt x="0" y="318"/>
                </a:cubicBezTo>
                <a:cubicBezTo>
                  <a:pt x="103" y="318"/>
                  <a:pt x="103" y="318"/>
                  <a:pt x="103" y="318"/>
                </a:cubicBezTo>
                <a:cubicBezTo>
                  <a:pt x="103" y="345"/>
                  <a:pt x="103" y="345"/>
                  <a:pt x="103" y="345"/>
                </a:cubicBezTo>
                <a:cubicBezTo>
                  <a:pt x="31" y="345"/>
                  <a:pt x="31" y="345"/>
                  <a:pt x="31" y="345"/>
                </a:cubicBezTo>
                <a:cubicBezTo>
                  <a:pt x="31" y="399"/>
                  <a:pt x="31" y="399"/>
                  <a:pt x="31" y="399"/>
                </a:cubicBezTo>
                <a:cubicBezTo>
                  <a:pt x="97" y="399"/>
                  <a:pt x="97" y="399"/>
                  <a:pt x="97" y="399"/>
                </a:cubicBezTo>
                <a:cubicBezTo>
                  <a:pt x="97" y="426"/>
                  <a:pt x="97" y="426"/>
                  <a:pt x="97" y="426"/>
                </a:cubicBezTo>
                <a:cubicBezTo>
                  <a:pt x="31" y="426"/>
                  <a:pt x="31" y="426"/>
                  <a:pt x="31" y="426"/>
                </a:cubicBezTo>
                <a:cubicBezTo>
                  <a:pt x="31" y="482"/>
                  <a:pt x="31" y="482"/>
                  <a:pt x="31" y="482"/>
                </a:cubicBezTo>
                <a:cubicBezTo>
                  <a:pt x="107" y="482"/>
                  <a:pt x="107" y="482"/>
                  <a:pt x="107" y="482"/>
                </a:cubicBezTo>
                <a:lnTo>
                  <a:pt x="107" y="509"/>
                </a:lnTo>
                <a:close/>
                <a:moveTo>
                  <a:pt x="249" y="509"/>
                </a:moveTo>
                <a:cubicBezTo>
                  <a:pt x="218" y="509"/>
                  <a:pt x="218" y="509"/>
                  <a:pt x="218" y="509"/>
                </a:cubicBezTo>
                <a:cubicBezTo>
                  <a:pt x="218" y="432"/>
                  <a:pt x="218" y="432"/>
                  <a:pt x="218" y="432"/>
                </a:cubicBezTo>
                <a:cubicBezTo>
                  <a:pt x="218" y="407"/>
                  <a:pt x="209" y="394"/>
                  <a:pt x="191" y="394"/>
                </a:cubicBezTo>
                <a:cubicBezTo>
                  <a:pt x="181" y="394"/>
                  <a:pt x="173" y="397"/>
                  <a:pt x="167" y="404"/>
                </a:cubicBezTo>
                <a:cubicBezTo>
                  <a:pt x="161" y="411"/>
                  <a:pt x="158" y="420"/>
                  <a:pt x="158" y="431"/>
                </a:cubicBezTo>
                <a:cubicBezTo>
                  <a:pt x="158" y="509"/>
                  <a:pt x="158" y="509"/>
                  <a:pt x="158" y="509"/>
                </a:cubicBezTo>
                <a:cubicBezTo>
                  <a:pt x="127" y="509"/>
                  <a:pt x="127" y="509"/>
                  <a:pt x="127" y="509"/>
                </a:cubicBezTo>
                <a:cubicBezTo>
                  <a:pt x="127" y="372"/>
                  <a:pt x="127" y="372"/>
                  <a:pt x="127" y="372"/>
                </a:cubicBezTo>
                <a:cubicBezTo>
                  <a:pt x="158" y="372"/>
                  <a:pt x="158" y="372"/>
                  <a:pt x="158" y="372"/>
                </a:cubicBezTo>
                <a:cubicBezTo>
                  <a:pt x="158" y="395"/>
                  <a:pt x="158" y="395"/>
                  <a:pt x="158" y="395"/>
                </a:cubicBezTo>
                <a:cubicBezTo>
                  <a:pt x="159" y="395"/>
                  <a:pt x="159" y="395"/>
                  <a:pt x="159" y="395"/>
                </a:cubicBezTo>
                <a:cubicBezTo>
                  <a:pt x="169" y="378"/>
                  <a:pt x="184" y="369"/>
                  <a:pt x="203" y="369"/>
                </a:cubicBezTo>
                <a:cubicBezTo>
                  <a:pt x="218" y="369"/>
                  <a:pt x="229" y="374"/>
                  <a:pt x="237" y="384"/>
                </a:cubicBezTo>
                <a:cubicBezTo>
                  <a:pt x="245" y="393"/>
                  <a:pt x="249" y="407"/>
                  <a:pt x="249" y="426"/>
                </a:cubicBezTo>
                <a:lnTo>
                  <a:pt x="249" y="509"/>
                </a:lnTo>
                <a:close/>
                <a:moveTo>
                  <a:pt x="393" y="372"/>
                </a:moveTo>
                <a:cubicBezTo>
                  <a:pt x="340" y="509"/>
                  <a:pt x="340" y="509"/>
                  <a:pt x="340" y="509"/>
                </a:cubicBezTo>
                <a:cubicBezTo>
                  <a:pt x="307" y="509"/>
                  <a:pt x="307" y="509"/>
                  <a:pt x="307" y="509"/>
                </a:cubicBezTo>
                <a:cubicBezTo>
                  <a:pt x="257" y="372"/>
                  <a:pt x="257" y="372"/>
                  <a:pt x="257" y="372"/>
                </a:cubicBezTo>
                <a:cubicBezTo>
                  <a:pt x="290" y="372"/>
                  <a:pt x="290" y="372"/>
                  <a:pt x="290" y="372"/>
                </a:cubicBezTo>
                <a:cubicBezTo>
                  <a:pt x="321" y="468"/>
                  <a:pt x="321" y="468"/>
                  <a:pt x="321" y="468"/>
                </a:cubicBezTo>
                <a:cubicBezTo>
                  <a:pt x="323" y="475"/>
                  <a:pt x="324" y="481"/>
                  <a:pt x="325" y="486"/>
                </a:cubicBezTo>
                <a:cubicBezTo>
                  <a:pt x="325" y="486"/>
                  <a:pt x="325" y="486"/>
                  <a:pt x="325" y="486"/>
                </a:cubicBezTo>
                <a:cubicBezTo>
                  <a:pt x="326" y="480"/>
                  <a:pt x="327" y="474"/>
                  <a:pt x="329" y="469"/>
                </a:cubicBezTo>
                <a:cubicBezTo>
                  <a:pt x="361" y="372"/>
                  <a:pt x="361" y="372"/>
                  <a:pt x="361" y="372"/>
                </a:cubicBezTo>
                <a:lnTo>
                  <a:pt x="393" y="372"/>
                </a:lnTo>
                <a:close/>
                <a:moveTo>
                  <a:pt x="419" y="344"/>
                </a:moveTo>
                <a:cubicBezTo>
                  <a:pt x="414" y="344"/>
                  <a:pt x="409" y="342"/>
                  <a:pt x="406" y="339"/>
                </a:cubicBezTo>
                <a:cubicBezTo>
                  <a:pt x="402" y="336"/>
                  <a:pt x="400" y="331"/>
                  <a:pt x="400" y="326"/>
                </a:cubicBezTo>
                <a:cubicBezTo>
                  <a:pt x="400" y="321"/>
                  <a:pt x="402" y="317"/>
                  <a:pt x="406" y="314"/>
                </a:cubicBezTo>
                <a:cubicBezTo>
                  <a:pt x="409" y="310"/>
                  <a:pt x="414" y="309"/>
                  <a:pt x="419" y="309"/>
                </a:cubicBezTo>
                <a:cubicBezTo>
                  <a:pt x="424" y="309"/>
                  <a:pt x="429" y="310"/>
                  <a:pt x="432" y="314"/>
                </a:cubicBezTo>
                <a:cubicBezTo>
                  <a:pt x="436" y="317"/>
                  <a:pt x="438" y="321"/>
                  <a:pt x="438" y="326"/>
                </a:cubicBezTo>
                <a:cubicBezTo>
                  <a:pt x="438" y="331"/>
                  <a:pt x="436" y="335"/>
                  <a:pt x="432" y="339"/>
                </a:cubicBezTo>
                <a:cubicBezTo>
                  <a:pt x="429" y="342"/>
                  <a:pt x="424" y="344"/>
                  <a:pt x="419" y="344"/>
                </a:cubicBezTo>
                <a:close/>
                <a:moveTo>
                  <a:pt x="434" y="509"/>
                </a:moveTo>
                <a:cubicBezTo>
                  <a:pt x="403" y="509"/>
                  <a:pt x="403" y="509"/>
                  <a:pt x="403" y="509"/>
                </a:cubicBezTo>
                <a:cubicBezTo>
                  <a:pt x="403" y="372"/>
                  <a:pt x="403" y="372"/>
                  <a:pt x="403" y="372"/>
                </a:cubicBezTo>
                <a:cubicBezTo>
                  <a:pt x="434" y="372"/>
                  <a:pt x="434" y="372"/>
                  <a:pt x="434" y="372"/>
                </a:cubicBezTo>
                <a:lnTo>
                  <a:pt x="434" y="509"/>
                </a:lnTo>
                <a:close/>
                <a:moveTo>
                  <a:pt x="455" y="505"/>
                </a:moveTo>
                <a:cubicBezTo>
                  <a:pt x="455" y="476"/>
                  <a:pt x="455" y="476"/>
                  <a:pt x="455" y="476"/>
                </a:cubicBezTo>
                <a:cubicBezTo>
                  <a:pt x="467" y="485"/>
                  <a:pt x="479" y="489"/>
                  <a:pt x="493" y="489"/>
                </a:cubicBezTo>
                <a:cubicBezTo>
                  <a:pt x="512" y="489"/>
                  <a:pt x="521" y="484"/>
                  <a:pt x="521" y="473"/>
                </a:cubicBezTo>
                <a:cubicBezTo>
                  <a:pt x="521" y="470"/>
                  <a:pt x="521" y="467"/>
                  <a:pt x="519" y="465"/>
                </a:cubicBezTo>
                <a:cubicBezTo>
                  <a:pt x="517" y="463"/>
                  <a:pt x="515" y="461"/>
                  <a:pt x="513" y="459"/>
                </a:cubicBezTo>
                <a:cubicBezTo>
                  <a:pt x="510" y="457"/>
                  <a:pt x="507" y="456"/>
                  <a:pt x="503" y="454"/>
                </a:cubicBezTo>
                <a:cubicBezTo>
                  <a:pt x="499" y="453"/>
                  <a:pt x="495" y="452"/>
                  <a:pt x="491" y="450"/>
                </a:cubicBezTo>
                <a:cubicBezTo>
                  <a:pt x="485" y="448"/>
                  <a:pt x="480" y="445"/>
                  <a:pt x="476" y="443"/>
                </a:cubicBezTo>
                <a:cubicBezTo>
                  <a:pt x="471" y="440"/>
                  <a:pt x="467" y="438"/>
                  <a:pt x="464" y="434"/>
                </a:cubicBezTo>
                <a:cubicBezTo>
                  <a:pt x="461" y="431"/>
                  <a:pt x="459" y="428"/>
                  <a:pt x="458" y="424"/>
                </a:cubicBezTo>
                <a:cubicBezTo>
                  <a:pt x="456" y="420"/>
                  <a:pt x="455" y="415"/>
                  <a:pt x="455" y="410"/>
                </a:cubicBezTo>
                <a:cubicBezTo>
                  <a:pt x="455" y="403"/>
                  <a:pt x="457" y="397"/>
                  <a:pt x="460" y="392"/>
                </a:cubicBezTo>
                <a:cubicBezTo>
                  <a:pt x="463" y="387"/>
                  <a:pt x="467" y="383"/>
                  <a:pt x="473" y="380"/>
                </a:cubicBezTo>
                <a:cubicBezTo>
                  <a:pt x="478" y="376"/>
                  <a:pt x="484" y="374"/>
                  <a:pt x="490" y="372"/>
                </a:cubicBezTo>
                <a:cubicBezTo>
                  <a:pt x="497" y="370"/>
                  <a:pt x="504" y="369"/>
                  <a:pt x="511" y="369"/>
                </a:cubicBezTo>
                <a:cubicBezTo>
                  <a:pt x="524" y="369"/>
                  <a:pt x="535" y="371"/>
                  <a:pt x="545" y="375"/>
                </a:cubicBezTo>
                <a:cubicBezTo>
                  <a:pt x="545" y="402"/>
                  <a:pt x="545" y="402"/>
                  <a:pt x="545" y="402"/>
                </a:cubicBezTo>
                <a:cubicBezTo>
                  <a:pt x="535" y="395"/>
                  <a:pt x="524" y="392"/>
                  <a:pt x="512" y="392"/>
                </a:cubicBezTo>
                <a:cubicBezTo>
                  <a:pt x="508" y="392"/>
                  <a:pt x="504" y="393"/>
                  <a:pt x="501" y="393"/>
                </a:cubicBezTo>
                <a:cubicBezTo>
                  <a:pt x="498" y="394"/>
                  <a:pt x="495" y="395"/>
                  <a:pt x="493" y="397"/>
                </a:cubicBezTo>
                <a:cubicBezTo>
                  <a:pt x="491" y="398"/>
                  <a:pt x="489" y="400"/>
                  <a:pt x="488" y="402"/>
                </a:cubicBezTo>
                <a:cubicBezTo>
                  <a:pt x="487" y="404"/>
                  <a:pt x="486" y="406"/>
                  <a:pt x="486" y="408"/>
                </a:cubicBezTo>
                <a:cubicBezTo>
                  <a:pt x="486" y="411"/>
                  <a:pt x="487" y="414"/>
                  <a:pt x="488" y="416"/>
                </a:cubicBezTo>
                <a:cubicBezTo>
                  <a:pt x="489" y="418"/>
                  <a:pt x="491" y="420"/>
                  <a:pt x="494" y="421"/>
                </a:cubicBezTo>
                <a:cubicBezTo>
                  <a:pt x="496" y="423"/>
                  <a:pt x="499" y="424"/>
                  <a:pt x="502" y="426"/>
                </a:cubicBezTo>
                <a:cubicBezTo>
                  <a:pt x="506" y="427"/>
                  <a:pt x="510" y="428"/>
                  <a:pt x="514" y="430"/>
                </a:cubicBezTo>
                <a:cubicBezTo>
                  <a:pt x="520" y="432"/>
                  <a:pt x="525" y="435"/>
                  <a:pt x="530" y="437"/>
                </a:cubicBezTo>
                <a:cubicBezTo>
                  <a:pt x="535" y="440"/>
                  <a:pt x="539" y="442"/>
                  <a:pt x="542" y="446"/>
                </a:cubicBezTo>
                <a:cubicBezTo>
                  <a:pt x="545" y="449"/>
                  <a:pt x="548" y="452"/>
                  <a:pt x="550" y="457"/>
                </a:cubicBezTo>
                <a:cubicBezTo>
                  <a:pt x="551" y="461"/>
                  <a:pt x="552" y="466"/>
                  <a:pt x="552" y="471"/>
                </a:cubicBezTo>
                <a:cubicBezTo>
                  <a:pt x="552" y="478"/>
                  <a:pt x="551" y="484"/>
                  <a:pt x="547" y="489"/>
                </a:cubicBezTo>
                <a:cubicBezTo>
                  <a:pt x="544" y="495"/>
                  <a:pt x="540" y="499"/>
                  <a:pt x="535" y="502"/>
                </a:cubicBezTo>
                <a:cubicBezTo>
                  <a:pt x="529" y="506"/>
                  <a:pt x="523" y="508"/>
                  <a:pt x="516" y="510"/>
                </a:cubicBezTo>
                <a:cubicBezTo>
                  <a:pt x="509" y="511"/>
                  <a:pt x="502" y="512"/>
                  <a:pt x="494" y="512"/>
                </a:cubicBezTo>
                <a:cubicBezTo>
                  <a:pt x="479" y="512"/>
                  <a:pt x="466" y="510"/>
                  <a:pt x="455" y="505"/>
                </a:cubicBezTo>
                <a:close/>
                <a:moveTo>
                  <a:pt x="586" y="344"/>
                </a:moveTo>
                <a:cubicBezTo>
                  <a:pt x="581" y="344"/>
                  <a:pt x="577" y="342"/>
                  <a:pt x="573" y="339"/>
                </a:cubicBezTo>
                <a:cubicBezTo>
                  <a:pt x="570" y="336"/>
                  <a:pt x="568" y="331"/>
                  <a:pt x="568" y="326"/>
                </a:cubicBezTo>
                <a:cubicBezTo>
                  <a:pt x="568" y="321"/>
                  <a:pt x="570" y="317"/>
                  <a:pt x="573" y="314"/>
                </a:cubicBezTo>
                <a:cubicBezTo>
                  <a:pt x="577" y="310"/>
                  <a:pt x="581" y="309"/>
                  <a:pt x="586" y="309"/>
                </a:cubicBezTo>
                <a:cubicBezTo>
                  <a:pt x="591" y="309"/>
                  <a:pt x="596" y="310"/>
                  <a:pt x="600" y="314"/>
                </a:cubicBezTo>
                <a:cubicBezTo>
                  <a:pt x="603" y="317"/>
                  <a:pt x="605" y="321"/>
                  <a:pt x="605" y="326"/>
                </a:cubicBezTo>
                <a:cubicBezTo>
                  <a:pt x="605" y="331"/>
                  <a:pt x="603" y="335"/>
                  <a:pt x="600" y="339"/>
                </a:cubicBezTo>
                <a:cubicBezTo>
                  <a:pt x="596" y="342"/>
                  <a:pt x="591" y="344"/>
                  <a:pt x="586" y="344"/>
                </a:cubicBezTo>
                <a:close/>
                <a:moveTo>
                  <a:pt x="602" y="509"/>
                </a:moveTo>
                <a:cubicBezTo>
                  <a:pt x="571" y="509"/>
                  <a:pt x="571" y="509"/>
                  <a:pt x="571" y="509"/>
                </a:cubicBezTo>
                <a:cubicBezTo>
                  <a:pt x="571" y="372"/>
                  <a:pt x="571" y="372"/>
                  <a:pt x="571" y="372"/>
                </a:cubicBezTo>
                <a:cubicBezTo>
                  <a:pt x="602" y="372"/>
                  <a:pt x="602" y="372"/>
                  <a:pt x="602" y="372"/>
                </a:cubicBezTo>
                <a:lnTo>
                  <a:pt x="602" y="509"/>
                </a:lnTo>
                <a:close/>
                <a:moveTo>
                  <a:pt x="692" y="512"/>
                </a:moveTo>
                <a:cubicBezTo>
                  <a:pt x="671" y="512"/>
                  <a:pt x="654" y="506"/>
                  <a:pt x="641" y="493"/>
                </a:cubicBezTo>
                <a:cubicBezTo>
                  <a:pt x="629" y="480"/>
                  <a:pt x="622" y="463"/>
                  <a:pt x="622" y="442"/>
                </a:cubicBezTo>
                <a:cubicBezTo>
                  <a:pt x="622" y="419"/>
                  <a:pt x="629" y="401"/>
                  <a:pt x="642" y="389"/>
                </a:cubicBezTo>
                <a:cubicBezTo>
                  <a:pt x="655" y="376"/>
                  <a:pt x="673" y="369"/>
                  <a:pt x="695" y="369"/>
                </a:cubicBezTo>
                <a:cubicBezTo>
                  <a:pt x="716" y="369"/>
                  <a:pt x="733" y="376"/>
                  <a:pt x="745" y="388"/>
                </a:cubicBezTo>
                <a:cubicBezTo>
                  <a:pt x="757" y="401"/>
                  <a:pt x="763" y="418"/>
                  <a:pt x="763" y="440"/>
                </a:cubicBezTo>
                <a:cubicBezTo>
                  <a:pt x="763" y="462"/>
                  <a:pt x="756" y="479"/>
                  <a:pt x="743" y="493"/>
                </a:cubicBezTo>
                <a:cubicBezTo>
                  <a:pt x="731" y="506"/>
                  <a:pt x="713" y="512"/>
                  <a:pt x="692" y="512"/>
                </a:cubicBezTo>
                <a:close/>
                <a:moveTo>
                  <a:pt x="693" y="394"/>
                </a:moveTo>
                <a:cubicBezTo>
                  <a:pt x="681" y="394"/>
                  <a:pt x="671" y="398"/>
                  <a:pt x="664" y="407"/>
                </a:cubicBezTo>
                <a:cubicBezTo>
                  <a:pt x="657" y="415"/>
                  <a:pt x="654" y="427"/>
                  <a:pt x="654" y="442"/>
                </a:cubicBezTo>
                <a:cubicBezTo>
                  <a:pt x="654" y="456"/>
                  <a:pt x="657" y="467"/>
                  <a:pt x="665" y="475"/>
                </a:cubicBezTo>
                <a:cubicBezTo>
                  <a:pt x="672" y="484"/>
                  <a:pt x="681" y="488"/>
                  <a:pt x="693" y="488"/>
                </a:cubicBezTo>
                <a:cubicBezTo>
                  <a:pt x="705" y="488"/>
                  <a:pt x="715" y="484"/>
                  <a:pt x="721" y="476"/>
                </a:cubicBezTo>
                <a:cubicBezTo>
                  <a:pt x="728" y="467"/>
                  <a:pt x="731" y="456"/>
                  <a:pt x="731" y="441"/>
                </a:cubicBezTo>
                <a:cubicBezTo>
                  <a:pt x="731" y="426"/>
                  <a:pt x="728" y="414"/>
                  <a:pt x="721" y="406"/>
                </a:cubicBezTo>
                <a:cubicBezTo>
                  <a:pt x="715" y="398"/>
                  <a:pt x="705" y="394"/>
                  <a:pt x="693" y="394"/>
                </a:cubicBezTo>
                <a:close/>
                <a:moveTo>
                  <a:pt x="905" y="509"/>
                </a:moveTo>
                <a:cubicBezTo>
                  <a:pt x="874" y="509"/>
                  <a:pt x="874" y="509"/>
                  <a:pt x="874" y="509"/>
                </a:cubicBezTo>
                <a:cubicBezTo>
                  <a:pt x="874" y="432"/>
                  <a:pt x="874" y="432"/>
                  <a:pt x="874" y="432"/>
                </a:cubicBezTo>
                <a:cubicBezTo>
                  <a:pt x="874" y="407"/>
                  <a:pt x="865" y="394"/>
                  <a:pt x="847" y="394"/>
                </a:cubicBezTo>
                <a:cubicBezTo>
                  <a:pt x="838" y="394"/>
                  <a:pt x="830" y="397"/>
                  <a:pt x="824" y="404"/>
                </a:cubicBezTo>
                <a:cubicBezTo>
                  <a:pt x="817" y="411"/>
                  <a:pt x="814" y="420"/>
                  <a:pt x="814" y="431"/>
                </a:cubicBezTo>
                <a:cubicBezTo>
                  <a:pt x="814" y="509"/>
                  <a:pt x="814" y="509"/>
                  <a:pt x="814" y="509"/>
                </a:cubicBezTo>
                <a:cubicBezTo>
                  <a:pt x="783" y="509"/>
                  <a:pt x="783" y="509"/>
                  <a:pt x="783" y="509"/>
                </a:cubicBezTo>
                <a:cubicBezTo>
                  <a:pt x="783" y="372"/>
                  <a:pt x="783" y="372"/>
                  <a:pt x="783" y="372"/>
                </a:cubicBezTo>
                <a:cubicBezTo>
                  <a:pt x="814" y="372"/>
                  <a:pt x="814" y="372"/>
                  <a:pt x="814" y="372"/>
                </a:cubicBezTo>
                <a:cubicBezTo>
                  <a:pt x="814" y="395"/>
                  <a:pt x="814" y="395"/>
                  <a:pt x="814" y="395"/>
                </a:cubicBezTo>
                <a:cubicBezTo>
                  <a:pt x="815" y="395"/>
                  <a:pt x="815" y="395"/>
                  <a:pt x="815" y="395"/>
                </a:cubicBezTo>
                <a:cubicBezTo>
                  <a:pt x="825" y="378"/>
                  <a:pt x="840" y="369"/>
                  <a:pt x="859" y="369"/>
                </a:cubicBezTo>
                <a:cubicBezTo>
                  <a:pt x="874" y="369"/>
                  <a:pt x="885" y="374"/>
                  <a:pt x="893" y="384"/>
                </a:cubicBezTo>
                <a:cubicBezTo>
                  <a:pt x="901" y="393"/>
                  <a:pt x="905" y="407"/>
                  <a:pt x="905" y="426"/>
                </a:cubicBezTo>
                <a:lnTo>
                  <a:pt x="905" y="5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13"/>
          <p:cNvSpPr txBox="1"/>
          <p:nvPr userDrawn="1"/>
        </p:nvSpPr>
        <p:spPr>
          <a:xfrm>
            <a:off x="274638" y="3954463"/>
            <a:ext cx="4572000" cy="914400"/>
          </a:xfrm>
          <a:prstGeom prst="rect">
            <a:avLst/>
          </a:prstGeom>
        </p:spPr>
        <p:txBody>
          <a:bodyPr vert="horz" wrap="square" lIns="182854" tIns="109712" rIns="146283" bIns="109712" rtlCol="0" anchor="t"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400">
                <a:gradFill>
                  <a:gsLst>
                    <a:gs pos="96653">
                      <a:schemeClr val="tx1"/>
                    </a:gs>
                    <a:gs pos="0">
                      <a:schemeClr val="tx1"/>
                    </a:gs>
                  </a:gsLst>
                  <a:lin ang="5400000" scaled="0"/>
                </a:gradFill>
              </a:rPr>
              <a:t>September 25–27, 2017</a:t>
            </a:r>
          </a:p>
          <a:p>
            <a:pPr lvl="0"/>
            <a:r>
              <a:rPr lang="en-US" sz="2400">
                <a:gradFill>
                  <a:gsLst>
                    <a:gs pos="96653">
                      <a:schemeClr val="tx1"/>
                    </a:gs>
                    <a:gs pos="0">
                      <a:schemeClr val="tx1"/>
                    </a:gs>
                  </a:gsLst>
                  <a:lin ang="5400000" scaled="0"/>
                </a:gradFill>
              </a:rPr>
              <a:t>Orlando, Florida</a:t>
            </a:r>
          </a:p>
        </p:txBody>
      </p:sp>
      <p:sp>
        <p:nvSpPr>
          <p:cNvPr id="15" name="TextBox 2"/>
          <p:cNvSpPr txBox="1"/>
          <p:nvPr userDrawn="1"/>
        </p:nvSpPr>
        <p:spPr>
          <a:xfrm>
            <a:off x="274639" y="6158539"/>
            <a:ext cx="1154202" cy="577937"/>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000">
                <a:gradFill>
                  <a:gsLst>
                    <a:gs pos="2917">
                      <a:schemeClr val="tx1"/>
                    </a:gs>
                    <a:gs pos="30000">
                      <a:schemeClr val="tx1"/>
                    </a:gs>
                  </a:gsLst>
                  <a:lin ang="5400000" scaled="0"/>
                </a:gradFill>
              </a:rPr>
              <a:t>#Env17</a:t>
            </a:r>
          </a:p>
        </p:txBody>
      </p:sp>
    </p:spTree>
    <p:extLst>
      <p:ext uri="{BB962C8B-B14F-4D97-AF65-F5344CB8AC3E}">
        <p14:creationId xmlns:p14="http://schemas.microsoft.com/office/powerpoint/2010/main" val="794361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566864"/>
            <a:ext cx="11887136" cy="2377440"/>
          </a:xfrm>
          <a:noFill/>
        </p:spPr>
        <p:txBody>
          <a:bodyPr lIns="146304" tIns="91440" rIns="146304" bIns="91440" anchor="b"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66836"/>
            <a:ext cx="6402388" cy="1463040"/>
          </a:xfrm>
        </p:spPr>
        <p:txBody>
          <a:bodyPr lIns="164592" tIns="109728" rIns="164592" bIns="109728">
            <a:noAutofit/>
          </a:bodyPr>
          <a:lstStyle>
            <a:lvl1pPr marL="0" indent="0">
              <a:spcBef>
                <a:spcPts val="0"/>
              </a:spcBef>
              <a:buNone/>
              <a:defRPr lang="en-US" sz="3199"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3835904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anel slide x4">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211264"/>
            <a:ext cx="11887136" cy="2011657"/>
          </a:xfrm>
          <a:noFill/>
        </p:spPr>
        <p:txBody>
          <a:bodyPr lIns="146304" tIns="91440" rIns="146304" bIns="91440" anchor="b"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1" y="3410568"/>
            <a:ext cx="5943600" cy="1280162"/>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
        <p:nvSpPr>
          <p:cNvPr id="11" name="TextBox 2"/>
          <p:cNvSpPr txBox="1"/>
          <p:nvPr userDrawn="1"/>
        </p:nvSpPr>
        <p:spPr>
          <a:xfrm>
            <a:off x="274639" y="6158539"/>
            <a:ext cx="1154202" cy="577937"/>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000">
                <a:gradFill>
                  <a:gsLst>
                    <a:gs pos="2917">
                      <a:schemeClr val="tx1"/>
                    </a:gs>
                    <a:gs pos="30000">
                      <a:schemeClr val="tx1"/>
                    </a:gs>
                  </a:gsLst>
                  <a:lin ang="5400000" scaled="0"/>
                </a:gradFill>
              </a:rPr>
              <a:t>#Env17</a:t>
            </a:r>
          </a:p>
        </p:txBody>
      </p:sp>
      <p:sp>
        <p:nvSpPr>
          <p:cNvPr id="7" name="Text Placeholder 2">
            <a:extLst>
              <a:ext uri="{FF2B5EF4-FFF2-40B4-BE49-F238E27FC236}">
                <a16:creationId xmlns:a16="http://schemas.microsoft.com/office/drawing/2014/main" id="{B8B84249-69BE-4B1E-A422-A0C0A15FE6E2}"/>
              </a:ext>
            </a:extLst>
          </p:cNvPr>
          <p:cNvSpPr>
            <a:spLocks noGrp="1"/>
          </p:cNvSpPr>
          <p:nvPr>
            <p:ph type="body" sz="quarter" idx="15" hasCustomPrompt="1"/>
          </p:nvPr>
        </p:nvSpPr>
        <p:spPr bwMode="auto">
          <a:xfrm>
            <a:off x="273051" y="4690729"/>
            <a:ext cx="5943600" cy="1280162"/>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Text Placeholder 2">
            <a:extLst>
              <a:ext uri="{FF2B5EF4-FFF2-40B4-BE49-F238E27FC236}">
                <a16:creationId xmlns:a16="http://schemas.microsoft.com/office/drawing/2014/main" id="{FA471649-FAF9-4184-A4A3-16B0D6B4C7F6}"/>
              </a:ext>
            </a:extLst>
          </p:cNvPr>
          <p:cNvSpPr>
            <a:spLocks noGrp="1"/>
          </p:cNvSpPr>
          <p:nvPr>
            <p:ph type="body" sz="quarter" idx="16" hasCustomPrompt="1"/>
          </p:nvPr>
        </p:nvSpPr>
        <p:spPr bwMode="auto">
          <a:xfrm>
            <a:off x="6218239" y="3410568"/>
            <a:ext cx="5943600" cy="1280162"/>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0" name="Text Placeholder 2">
            <a:extLst>
              <a:ext uri="{FF2B5EF4-FFF2-40B4-BE49-F238E27FC236}">
                <a16:creationId xmlns:a16="http://schemas.microsoft.com/office/drawing/2014/main" id="{DBD80426-1F71-4224-85CC-7100F25D6188}"/>
              </a:ext>
            </a:extLst>
          </p:cNvPr>
          <p:cNvSpPr>
            <a:spLocks noGrp="1"/>
          </p:cNvSpPr>
          <p:nvPr>
            <p:ph type="body" sz="quarter" idx="17" hasCustomPrompt="1"/>
          </p:nvPr>
        </p:nvSpPr>
        <p:spPr bwMode="auto">
          <a:xfrm>
            <a:off x="6218239" y="4690729"/>
            <a:ext cx="5943600" cy="1280162"/>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Tree>
    <p:extLst>
      <p:ext uri="{BB962C8B-B14F-4D97-AF65-F5344CB8AC3E}">
        <p14:creationId xmlns:p14="http://schemas.microsoft.com/office/powerpoint/2010/main" val="26271676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2567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anel slide x6">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211264"/>
            <a:ext cx="11887136" cy="2011657"/>
          </a:xfrm>
          <a:noFill/>
        </p:spPr>
        <p:txBody>
          <a:bodyPr lIns="146304" tIns="91440" rIns="146304" bIns="91440" anchor="b" anchorCtr="0"/>
          <a:lstStyle>
            <a:lvl1pPr>
              <a:defRPr sz="4799"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1" y="3410567"/>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
        <p:nvSpPr>
          <p:cNvPr id="11" name="TextBox 2"/>
          <p:cNvSpPr txBox="1"/>
          <p:nvPr userDrawn="1"/>
        </p:nvSpPr>
        <p:spPr>
          <a:xfrm>
            <a:off x="274639" y="6158539"/>
            <a:ext cx="1154202" cy="577937"/>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000">
                <a:gradFill>
                  <a:gsLst>
                    <a:gs pos="2917">
                      <a:schemeClr val="tx1"/>
                    </a:gs>
                    <a:gs pos="30000">
                      <a:schemeClr val="tx1"/>
                    </a:gs>
                  </a:gsLst>
                  <a:lin ang="5400000" scaled="0"/>
                </a:gradFill>
              </a:rPr>
              <a:t>#Env17</a:t>
            </a:r>
          </a:p>
        </p:txBody>
      </p:sp>
      <p:sp>
        <p:nvSpPr>
          <p:cNvPr id="7" name="Text Placeholder 2">
            <a:extLst>
              <a:ext uri="{FF2B5EF4-FFF2-40B4-BE49-F238E27FC236}">
                <a16:creationId xmlns:a16="http://schemas.microsoft.com/office/drawing/2014/main" id="{B8B84249-69BE-4B1E-A422-A0C0A15FE6E2}"/>
              </a:ext>
            </a:extLst>
          </p:cNvPr>
          <p:cNvSpPr>
            <a:spLocks noGrp="1"/>
          </p:cNvSpPr>
          <p:nvPr>
            <p:ph type="body" sz="quarter" idx="15" hasCustomPrompt="1"/>
          </p:nvPr>
        </p:nvSpPr>
        <p:spPr bwMode="auto">
          <a:xfrm>
            <a:off x="273051" y="4340613"/>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Text Placeholder 2">
            <a:extLst>
              <a:ext uri="{FF2B5EF4-FFF2-40B4-BE49-F238E27FC236}">
                <a16:creationId xmlns:a16="http://schemas.microsoft.com/office/drawing/2014/main" id="{FA471649-FAF9-4184-A4A3-16B0D6B4C7F6}"/>
              </a:ext>
            </a:extLst>
          </p:cNvPr>
          <p:cNvSpPr>
            <a:spLocks noGrp="1"/>
          </p:cNvSpPr>
          <p:nvPr>
            <p:ph type="body" sz="quarter" idx="16" hasCustomPrompt="1"/>
          </p:nvPr>
        </p:nvSpPr>
        <p:spPr bwMode="auto">
          <a:xfrm>
            <a:off x="6218239" y="3410567"/>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0" name="Text Placeholder 2">
            <a:extLst>
              <a:ext uri="{FF2B5EF4-FFF2-40B4-BE49-F238E27FC236}">
                <a16:creationId xmlns:a16="http://schemas.microsoft.com/office/drawing/2014/main" id="{DBD80426-1F71-4224-85CC-7100F25D6188}"/>
              </a:ext>
            </a:extLst>
          </p:cNvPr>
          <p:cNvSpPr>
            <a:spLocks noGrp="1"/>
          </p:cNvSpPr>
          <p:nvPr>
            <p:ph type="body" sz="quarter" idx="17" hasCustomPrompt="1"/>
          </p:nvPr>
        </p:nvSpPr>
        <p:spPr bwMode="auto">
          <a:xfrm>
            <a:off x="6218239" y="4340613"/>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2" name="Text Placeholder 2">
            <a:extLst>
              <a:ext uri="{FF2B5EF4-FFF2-40B4-BE49-F238E27FC236}">
                <a16:creationId xmlns:a16="http://schemas.microsoft.com/office/drawing/2014/main" id="{AB6B048E-7352-4AE3-A18B-1894C9F95A29}"/>
              </a:ext>
            </a:extLst>
          </p:cNvPr>
          <p:cNvSpPr>
            <a:spLocks noGrp="1"/>
          </p:cNvSpPr>
          <p:nvPr>
            <p:ph type="body" sz="quarter" idx="18" hasCustomPrompt="1"/>
          </p:nvPr>
        </p:nvSpPr>
        <p:spPr bwMode="auto">
          <a:xfrm>
            <a:off x="273051" y="5270659"/>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3" name="Text Placeholder 2">
            <a:extLst>
              <a:ext uri="{FF2B5EF4-FFF2-40B4-BE49-F238E27FC236}">
                <a16:creationId xmlns:a16="http://schemas.microsoft.com/office/drawing/2014/main" id="{53FA523D-41EC-4339-8690-C80B40A469E0}"/>
              </a:ext>
            </a:extLst>
          </p:cNvPr>
          <p:cNvSpPr>
            <a:spLocks noGrp="1"/>
          </p:cNvSpPr>
          <p:nvPr>
            <p:ph type="body" sz="quarter" idx="19" hasCustomPrompt="1"/>
          </p:nvPr>
        </p:nvSpPr>
        <p:spPr bwMode="auto">
          <a:xfrm>
            <a:off x="6218239" y="5270659"/>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Tree>
    <p:extLst>
      <p:ext uri="{BB962C8B-B14F-4D97-AF65-F5344CB8AC3E}">
        <p14:creationId xmlns:p14="http://schemas.microsoft.com/office/powerpoint/2010/main" val="2753131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28418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35545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16575632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35064565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Walkin Envision">
    <p:bg>
      <p:bgPr>
        <a:solidFill>
          <a:schemeClr val="accent1"/>
        </a:solidFill>
        <a:effectLst/>
      </p:bgPr>
    </p:bg>
    <p:spTree>
      <p:nvGrpSpPr>
        <p:cNvPr id="1" name=""/>
        <p:cNvGrpSpPr/>
        <p:nvPr/>
      </p:nvGrpSpPr>
      <p:grpSpPr>
        <a:xfrm>
          <a:off x="0" y="0"/>
          <a:ext cx="0" cy="0"/>
          <a:chOff x="0" y="0"/>
          <a:chExt cx="0" cy="0"/>
        </a:xfrm>
      </p:grpSpPr>
      <p:pic>
        <p:nvPicPr>
          <p:cNvPr id="4" name="Picture 3" descr="A person standing in front of a computer&#10;&#10;Description generated with high confidence">
            <a:extLst>
              <a:ext uri="{FF2B5EF4-FFF2-40B4-BE49-F238E27FC236}">
                <a16:creationId xmlns:a16="http://schemas.microsoft.com/office/drawing/2014/main" id="{36D8CC14-719F-416A-A107-246A6EA0C7A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441315" y="-1"/>
            <a:ext cx="6995160" cy="6995160"/>
          </a:xfrm>
          <a:prstGeom prst="rect">
            <a:avLst/>
          </a:prstGeom>
        </p:spPr>
      </p:pic>
      <p:pic>
        <p:nvPicPr>
          <p:cNvPr id="6"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
        <p:nvSpPr>
          <p:cNvPr id="13" name="Freeform 5"/>
          <p:cNvSpPr>
            <a:spLocks noEditPoints="1"/>
          </p:cNvSpPr>
          <p:nvPr userDrawn="1"/>
        </p:nvSpPr>
        <p:spPr bwMode="black">
          <a:xfrm>
            <a:off x="457199" y="2090938"/>
            <a:ext cx="3204459" cy="1534190"/>
          </a:xfrm>
          <a:custGeom>
            <a:avLst/>
            <a:gdLst>
              <a:gd name="T0" fmla="*/ 175 w 1072"/>
              <a:gd name="T1" fmla="*/ 44 h 512"/>
              <a:gd name="T2" fmla="*/ 29 w 1072"/>
              <a:gd name="T3" fmla="*/ 44 h 512"/>
              <a:gd name="T4" fmla="*/ 0 w 1072"/>
              <a:gd name="T5" fmla="*/ 14 h 512"/>
              <a:gd name="T6" fmla="*/ 111 w 1072"/>
              <a:gd name="T7" fmla="*/ 141 h 512"/>
              <a:gd name="T8" fmla="*/ 240 w 1072"/>
              <a:gd name="T9" fmla="*/ 35 h 512"/>
              <a:gd name="T10" fmla="*/ 272 w 1072"/>
              <a:gd name="T11" fmla="*/ 23 h 512"/>
              <a:gd name="T12" fmla="*/ 238 w 1072"/>
              <a:gd name="T13" fmla="*/ 69 h 512"/>
              <a:gd name="T14" fmla="*/ 308 w 1072"/>
              <a:gd name="T15" fmla="*/ 190 h 512"/>
              <a:gd name="T16" fmla="*/ 396 w 1072"/>
              <a:gd name="T17" fmla="*/ 101 h 512"/>
              <a:gd name="T18" fmla="*/ 365 w 1072"/>
              <a:gd name="T19" fmla="*/ 184 h 512"/>
              <a:gd name="T20" fmla="*/ 456 w 1072"/>
              <a:gd name="T21" fmla="*/ 106 h 512"/>
              <a:gd name="T22" fmla="*/ 447 w 1072"/>
              <a:gd name="T23" fmla="*/ 69 h 512"/>
              <a:gd name="T24" fmla="*/ 495 w 1072"/>
              <a:gd name="T25" fmla="*/ 69 h 512"/>
              <a:gd name="T26" fmla="*/ 515 w 1072"/>
              <a:gd name="T27" fmla="*/ 85 h 512"/>
              <a:gd name="T28" fmla="*/ 565 w 1072"/>
              <a:gd name="T29" fmla="*/ 209 h 512"/>
              <a:gd name="T30" fmla="*/ 566 w 1072"/>
              <a:gd name="T31" fmla="*/ 184 h 512"/>
              <a:gd name="T32" fmla="*/ 648 w 1072"/>
              <a:gd name="T33" fmla="*/ 201 h 512"/>
              <a:gd name="T34" fmla="*/ 705 w 1072"/>
              <a:gd name="T35" fmla="*/ 155 h 512"/>
              <a:gd name="T36" fmla="*/ 650 w 1072"/>
              <a:gd name="T37" fmla="*/ 120 h 512"/>
              <a:gd name="T38" fmla="*/ 704 w 1072"/>
              <a:gd name="T39" fmla="*/ 66 h 512"/>
              <a:gd name="T40" fmla="*/ 686 w 1072"/>
              <a:gd name="T41" fmla="*/ 93 h 512"/>
              <a:gd name="T42" fmla="*/ 695 w 1072"/>
              <a:gd name="T43" fmla="*/ 122 h 512"/>
              <a:gd name="T44" fmla="*/ 745 w 1072"/>
              <a:gd name="T45" fmla="*/ 168 h 512"/>
              <a:gd name="T46" fmla="*/ 648 w 1072"/>
              <a:gd name="T47" fmla="*/ 201 h 512"/>
              <a:gd name="T48" fmla="*/ 827 w 1072"/>
              <a:gd name="T49" fmla="*/ 66 h 512"/>
              <a:gd name="T50" fmla="*/ 825 w 1072"/>
              <a:gd name="T51" fmla="*/ 90 h 512"/>
              <a:gd name="T52" fmla="*/ 853 w 1072"/>
              <a:gd name="T53" fmla="*/ 172 h 512"/>
              <a:gd name="T54" fmla="*/ 974 w 1072"/>
              <a:gd name="T55" fmla="*/ 25 h 512"/>
              <a:gd name="T56" fmla="*/ 952 w 1072"/>
              <a:gd name="T57" fmla="*/ 93 h 512"/>
              <a:gd name="T58" fmla="*/ 897 w 1072"/>
              <a:gd name="T59" fmla="*/ 69 h 512"/>
              <a:gd name="T60" fmla="*/ 988 w 1072"/>
              <a:gd name="T61" fmla="*/ 3 h 512"/>
              <a:gd name="T62" fmla="*/ 1008 w 1072"/>
              <a:gd name="T63" fmla="*/ 93 h 512"/>
              <a:gd name="T64" fmla="*/ 1039 w 1072"/>
              <a:gd name="T65" fmla="*/ 28 h 512"/>
              <a:gd name="T66" fmla="*/ 1039 w 1072"/>
              <a:gd name="T67" fmla="*/ 161 h 512"/>
              <a:gd name="T68" fmla="*/ 107 w 1072"/>
              <a:gd name="T69" fmla="*/ 509 h 512"/>
              <a:gd name="T70" fmla="*/ 31 w 1072"/>
              <a:gd name="T71" fmla="*/ 345 h 512"/>
              <a:gd name="T72" fmla="*/ 31 w 1072"/>
              <a:gd name="T73" fmla="*/ 482 h 512"/>
              <a:gd name="T74" fmla="*/ 218 w 1072"/>
              <a:gd name="T75" fmla="*/ 432 h 512"/>
              <a:gd name="T76" fmla="*/ 127 w 1072"/>
              <a:gd name="T77" fmla="*/ 509 h 512"/>
              <a:gd name="T78" fmla="*/ 203 w 1072"/>
              <a:gd name="T79" fmla="*/ 369 h 512"/>
              <a:gd name="T80" fmla="*/ 340 w 1072"/>
              <a:gd name="T81" fmla="*/ 509 h 512"/>
              <a:gd name="T82" fmla="*/ 325 w 1072"/>
              <a:gd name="T83" fmla="*/ 486 h 512"/>
              <a:gd name="T84" fmla="*/ 419 w 1072"/>
              <a:gd name="T85" fmla="*/ 344 h 512"/>
              <a:gd name="T86" fmla="*/ 432 w 1072"/>
              <a:gd name="T87" fmla="*/ 314 h 512"/>
              <a:gd name="T88" fmla="*/ 403 w 1072"/>
              <a:gd name="T89" fmla="*/ 509 h 512"/>
              <a:gd name="T90" fmla="*/ 455 w 1072"/>
              <a:gd name="T91" fmla="*/ 476 h 512"/>
              <a:gd name="T92" fmla="*/ 503 w 1072"/>
              <a:gd name="T93" fmla="*/ 454 h 512"/>
              <a:gd name="T94" fmla="*/ 455 w 1072"/>
              <a:gd name="T95" fmla="*/ 410 h 512"/>
              <a:gd name="T96" fmla="*/ 545 w 1072"/>
              <a:gd name="T97" fmla="*/ 375 h 512"/>
              <a:gd name="T98" fmla="*/ 488 w 1072"/>
              <a:gd name="T99" fmla="*/ 402 h 512"/>
              <a:gd name="T100" fmla="*/ 514 w 1072"/>
              <a:gd name="T101" fmla="*/ 430 h 512"/>
              <a:gd name="T102" fmla="*/ 547 w 1072"/>
              <a:gd name="T103" fmla="*/ 489 h 512"/>
              <a:gd name="T104" fmla="*/ 586 w 1072"/>
              <a:gd name="T105" fmla="*/ 344 h 512"/>
              <a:gd name="T106" fmla="*/ 600 w 1072"/>
              <a:gd name="T107" fmla="*/ 314 h 512"/>
              <a:gd name="T108" fmla="*/ 571 w 1072"/>
              <a:gd name="T109" fmla="*/ 509 h 512"/>
              <a:gd name="T110" fmla="*/ 641 w 1072"/>
              <a:gd name="T111" fmla="*/ 493 h 512"/>
              <a:gd name="T112" fmla="*/ 763 w 1072"/>
              <a:gd name="T113" fmla="*/ 440 h 512"/>
              <a:gd name="T114" fmla="*/ 654 w 1072"/>
              <a:gd name="T115" fmla="*/ 442 h 512"/>
              <a:gd name="T116" fmla="*/ 721 w 1072"/>
              <a:gd name="T117" fmla="*/ 406 h 512"/>
              <a:gd name="T118" fmla="*/ 847 w 1072"/>
              <a:gd name="T119" fmla="*/ 394 h 512"/>
              <a:gd name="T120" fmla="*/ 783 w 1072"/>
              <a:gd name="T121" fmla="*/ 372 h 512"/>
              <a:gd name="T122" fmla="*/ 893 w 1072"/>
              <a:gd name="T123"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2" h="512">
                <a:moveTo>
                  <a:pt x="205" y="205"/>
                </a:moveTo>
                <a:cubicBezTo>
                  <a:pt x="174" y="205"/>
                  <a:pt x="174" y="205"/>
                  <a:pt x="174" y="205"/>
                </a:cubicBezTo>
                <a:cubicBezTo>
                  <a:pt x="174" y="82"/>
                  <a:pt x="174" y="82"/>
                  <a:pt x="174" y="82"/>
                </a:cubicBezTo>
                <a:cubicBezTo>
                  <a:pt x="174" y="71"/>
                  <a:pt x="174" y="59"/>
                  <a:pt x="176" y="44"/>
                </a:cubicBezTo>
                <a:cubicBezTo>
                  <a:pt x="175" y="44"/>
                  <a:pt x="175" y="44"/>
                  <a:pt x="175" y="44"/>
                </a:cubicBezTo>
                <a:cubicBezTo>
                  <a:pt x="173" y="53"/>
                  <a:pt x="171" y="59"/>
                  <a:pt x="170" y="62"/>
                </a:cubicBezTo>
                <a:cubicBezTo>
                  <a:pt x="113" y="205"/>
                  <a:pt x="113" y="205"/>
                  <a:pt x="113" y="205"/>
                </a:cubicBezTo>
                <a:cubicBezTo>
                  <a:pt x="91" y="205"/>
                  <a:pt x="91" y="205"/>
                  <a:pt x="91" y="205"/>
                </a:cubicBezTo>
                <a:cubicBezTo>
                  <a:pt x="34" y="63"/>
                  <a:pt x="34" y="63"/>
                  <a:pt x="34" y="63"/>
                </a:cubicBezTo>
                <a:cubicBezTo>
                  <a:pt x="32" y="59"/>
                  <a:pt x="30" y="53"/>
                  <a:pt x="29" y="44"/>
                </a:cubicBezTo>
                <a:cubicBezTo>
                  <a:pt x="28" y="44"/>
                  <a:pt x="28" y="44"/>
                  <a:pt x="28" y="44"/>
                </a:cubicBezTo>
                <a:cubicBezTo>
                  <a:pt x="29" y="52"/>
                  <a:pt x="29" y="65"/>
                  <a:pt x="29" y="82"/>
                </a:cubicBezTo>
                <a:cubicBezTo>
                  <a:pt x="29" y="205"/>
                  <a:pt x="29" y="205"/>
                  <a:pt x="29" y="205"/>
                </a:cubicBezTo>
                <a:cubicBezTo>
                  <a:pt x="0" y="205"/>
                  <a:pt x="0" y="205"/>
                  <a:pt x="0" y="205"/>
                </a:cubicBezTo>
                <a:cubicBezTo>
                  <a:pt x="0" y="14"/>
                  <a:pt x="0" y="14"/>
                  <a:pt x="0" y="14"/>
                </a:cubicBezTo>
                <a:cubicBezTo>
                  <a:pt x="44" y="14"/>
                  <a:pt x="44" y="14"/>
                  <a:pt x="44" y="14"/>
                </a:cubicBezTo>
                <a:cubicBezTo>
                  <a:pt x="95" y="142"/>
                  <a:pt x="95" y="142"/>
                  <a:pt x="95" y="142"/>
                </a:cubicBezTo>
                <a:cubicBezTo>
                  <a:pt x="99" y="151"/>
                  <a:pt x="101" y="159"/>
                  <a:pt x="102" y="163"/>
                </a:cubicBezTo>
                <a:cubicBezTo>
                  <a:pt x="103" y="163"/>
                  <a:pt x="103" y="163"/>
                  <a:pt x="103" y="163"/>
                </a:cubicBezTo>
                <a:cubicBezTo>
                  <a:pt x="106" y="153"/>
                  <a:pt x="109" y="146"/>
                  <a:pt x="111" y="141"/>
                </a:cubicBezTo>
                <a:cubicBezTo>
                  <a:pt x="162" y="14"/>
                  <a:pt x="162" y="14"/>
                  <a:pt x="162" y="14"/>
                </a:cubicBezTo>
                <a:cubicBezTo>
                  <a:pt x="205" y="14"/>
                  <a:pt x="205" y="14"/>
                  <a:pt x="205" y="14"/>
                </a:cubicBezTo>
                <a:lnTo>
                  <a:pt x="205" y="205"/>
                </a:lnTo>
                <a:close/>
                <a:moveTo>
                  <a:pt x="254" y="40"/>
                </a:moveTo>
                <a:cubicBezTo>
                  <a:pt x="248" y="40"/>
                  <a:pt x="244" y="38"/>
                  <a:pt x="240" y="35"/>
                </a:cubicBezTo>
                <a:cubicBezTo>
                  <a:pt x="237" y="32"/>
                  <a:pt x="235" y="28"/>
                  <a:pt x="235" y="23"/>
                </a:cubicBezTo>
                <a:cubicBezTo>
                  <a:pt x="235" y="18"/>
                  <a:pt x="237" y="13"/>
                  <a:pt x="240" y="10"/>
                </a:cubicBezTo>
                <a:cubicBezTo>
                  <a:pt x="244" y="7"/>
                  <a:pt x="248" y="5"/>
                  <a:pt x="254" y="5"/>
                </a:cubicBezTo>
                <a:cubicBezTo>
                  <a:pt x="259" y="5"/>
                  <a:pt x="263" y="7"/>
                  <a:pt x="267" y="10"/>
                </a:cubicBezTo>
                <a:cubicBezTo>
                  <a:pt x="271" y="13"/>
                  <a:pt x="272" y="18"/>
                  <a:pt x="272" y="23"/>
                </a:cubicBezTo>
                <a:cubicBezTo>
                  <a:pt x="272" y="27"/>
                  <a:pt x="271" y="32"/>
                  <a:pt x="267" y="35"/>
                </a:cubicBezTo>
                <a:cubicBezTo>
                  <a:pt x="263" y="38"/>
                  <a:pt x="259" y="40"/>
                  <a:pt x="254" y="40"/>
                </a:cubicBezTo>
                <a:close/>
                <a:moveTo>
                  <a:pt x="269" y="205"/>
                </a:moveTo>
                <a:cubicBezTo>
                  <a:pt x="238" y="205"/>
                  <a:pt x="238" y="205"/>
                  <a:pt x="238" y="205"/>
                </a:cubicBezTo>
                <a:cubicBezTo>
                  <a:pt x="238" y="69"/>
                  <a:pt x="238" y="69"/>
                  <a:pt x="238" y="69"/>
                </a:cubicBezTo>
                <a:cubicBezTo>
                  <a:pt x="269" y="69"/>
                  <a:pt x="269" y="69"/>
                  <a:pt x="269" y="69"/>
                </a:cubicBezTo>
                <a:lnTo>
                  <a:pt x="269" y="205"/>
                </a:lnTo>
                <a:close/>
                <a:moveTo>
                  <a:pt x="396" y="199"/>
                </a:moveTo>
                <a:cubicBezTo>
                  <a:pt x="385" y="206"/>
                  <a:pt x="372" y="209"/>
                  <a:pt x="357" y="209"/>
                </a:cubicBezTo>
                <a:cubicBezTo>
                  <a:pt x="337" y="209"/>
                  <a:pt x="321" y="202"/>
                  <a:pt x="308" y="190"/>
                </a:cubicBezTo>
                <a:cubicBezTo>
                  <a:pt x="296" y="177"/>
                  <a:pt x="290" y="161"/>
                  <a:pt x="290" y="140"/>
                </a:cubicBezTo>
                <a:cubicBezTo>
                  <a:pt x="290" y="118"/>
                  <a:pt x="296" y="100"/>
                  <a:pt x="310" y="86"/>
                </a:cubicBezTo>
                <a:cubicBezTo>
                  <a:pt x="323" y="72"/>
                  <a:pt x="341" y="66"/>
                  <a:pt x="363" y="66"/>
                </a:cubicBezTo>
                <a:cubicBezTo>
                  <a:pt x="376" y="66"/>
                  <a:pt x="387" y="68"/>
                  <a:pt x="396" y="72"/>
                </a:cubicBezTo>
                <a:cubicBezTo>
                  <a:pt x="396" y="101"/>
                  <a:pt x="396" y="101"/>
                  <a:pt x="396" y="101"/>
                </a:cubicBezTo>
                <a:cubicBezTo>
                  <a:pt x="387" y="94"/>
                  <a:pt x="377" y="90"/>
                  <a:pt x="366" y="90"/>
                </a:cubicBezTo>
                <a:cubicBezTo>
                  <a:pt x="353" y="90"/>
                  <a:pt x="342" y="95"/>
                  <a:pt x="334" y="104"/>
                </a:cubicBezTo>
                <a:cubicBezTo>
                  <a:pt x="325" y="112"/>
                  <a:pt x="321" y="124"/>
                  <a:pt x="321" y="138"/>
                </a:cubicBezTo>
                <a:cubicBezTo>
                  <a:pt x="321" y="152"/>
                  <a:pt x="325" y="164"/>
                  <a:pt x="333" y="172"/>
                </a:cubicBezTo>
                <a:cubicBezTo>
                  <a:pt x="341" y="180"/>
                  <a:pt x="351" y="184"/>
                  <a:pt x="365" y="184"/>
                </a:cubicBezTo>
                <a:cubicBezTo>
                  <a:pt x="376" y="184"/>
                  <a:pt x="386" y="180"/>
                  <a:pt x="396" y="172"/>
                </a:cubicBezTo>
                <a:lnTo>
                  <a:pt x="396" y="199"/>
                </a:lnTo>
                <a:close/>
                <a:moveTo>
                  <a:pt x="495" y="98"/>
                </a:moveTo>
                <a:cubicBezTo>
                  <a:pt x="491" y="95"/>
                  <a:pt x="486" y="94"/>
                  <a:pt x="479" y="94"/>
                </a:cubicBezTo>
                <a:cubicBezTo>
                  <a:pt x="470" y="94"/>
                  <a:pt x="462" y="98"/>
                  <a:pt x="456" y="106"/>
                </a:cubicBezTo>
                <a:cubicBezTo>
                  <a:pt x="450" y="115"/>
                  <a:pt x="447" y="126"/>
                  <a:pt x="447" y="140"/>
                </a:cubicBezTo>
                <a:cubicBezTo>
                  <a:pt x="447" y="205"/>
                  <a:pt x="447" y="205"/>
                  <a:pt x="447" y="205"/>
                </a:cubicBezTo>
                <a:cubicBezTo>
                  <a:pt x="416" y="205"/>
                  <a:pt x="416" y="205"/>
                  <a:pt x="416" y="205"/>
                </a:cubicBezTo>
                <a:cubicBezTo>
                  <a:pt x="416" y="69"/>
                  <a:pt x="416" y="69"/>
                  <a:pt x="416" y="69"/>
                </a:cubicBezTo>
                <a:cubicBezTo>
                  <a:pt x="447" y="69"/>
                  <a:pt x="447" y="69"/>
                  <a:pt x="447" y="69"/>
                </a:cubicBezTo>
                <a:cubicBezTo>
                  <a:pt x="447" y="97"/>
                  <a:pt x="447" y="97"/>
                  <a:pt x="447" y="97"/>
                </a:cubicBezTo>
                <a:cubicBezTo>
                  <a:pt x="447" y="97"/>
                  <a:pt x="447" y="97"/>
                  <a:pt x="447" y="97"/>
                </a:cubicBezTo>
                <a:cubicBezTo>
                  <a:pt x="450" y="87"/>
                  <a:pt x="455" y="80"/>
                  <a:pt x="461" y="74"/>
                </a:cubicBezTo>
                <a:cubicBezTo>
                  <a:pt x="468" y="69"/>
                  <a:pt x="475" y="66"/>
                  <a:pt x="482" y="66"/>
                </a:cubicBezTo>
                <a:cubicBezTo>
                  <a:pt x="488" y="66"/>
                  <a:pt x="492" y="67"/>
                  <a:pt x="495" y="69"/>
                </a:cubicBezTo>
                <a:lnTo>
                  <a:pt x="495" y="98"/>
                </a:lnTo>
                <a:close/>
                <a:moveTo>
                  <a:pt x="565" y="209"/>
                </a:moveTo>
                <a:cubicBezTo>
                  <a:pt x="543" y="209"/>
                  <a:pt x="527" y="202"/>
                  <a:pt x="514" y="190"/>
                </a:cubicBezTo>
                <a:cubicBezTo>
                  <a:pt x="501" y="177"/>
                  <a:pt x="495" y="160"/>
                  <a:pt x="495" y="139"/>
                </a:cubicBezTo>
                <a:cubicBezTo>
                  <a:pt x="495" y="116"/>
                  <a:pt x="502" y="98"/>
                  <a:pt x="515" y="85"/>
                </a:cubicBezTo>
                <a:cubicBezTo>
                  <a:pt x="528" y="72"/>
                  <a:pt x="546" y="66"/>
                  <a:pt x="568" y="66"/>
                </a:cubicBezTo>
                <a:cubicBezTo>
                  <a:pt x="589" y="66"/>
                  <a:pt x="606" y="72"/>
                  <a:pt x="618" y="84"/>
                </a:cubicBezTo>
                <a:cubicBezTo>
                  <a:pt x="630" y="97"/>
                  <a:pt x="636" y="114"/>
                  <a:pt x="636" y="137"/>
                </a:cubicBezTo>
                <a:cubicBezTo>
                  <a:pt x="636" y="158"/>
                  <a:pt x="629" y="176"/>
                  <a:pt x="616" y="189"/>
                </a:cubicBezTo>
                <a:cubicBezTo>
                  <a:pt x="603" y="202"/>
                  <a:pt x="586" y="209"/>
                  <a:pt x="565" y="209"/>
                </a:cubicBezTo>
                <a:close/>
                <a:moveTo>
                  <a:pt x="566" y="90"/>
                </a:moveTo>
                <a:cubicBezTo>
                  <a:pt x="554" y="90"/>
                  <a:pt x="544" y="95"/>
                  <a:pt x="537" y="103"/>
                </a:cubicBezTo>
                <a:cubicBezTo>
                  <a:pt x="530" y="111"/>
                  <a:pt x="527" y="123"/>
                  <a:pt x="527" y="138"/>
                </a:cubicBezTo>
                <a:cubicBezTo>
                  <a:pt x="527" y="152"/>
                  <a:pt x="530" y="164"/>
                  <a:pt x="537" y="172"/>
                </a:cubicBezTo>
                <a:cubicBezTo>
                  <a:pt x="545" y="180"/>
                  <a:pt x="554" y="184"/>
                  <a:pt x="566" y="184"/>
                </a:cubicBezTo>
                <a:cubicBezTo>
                  <a:pt x="578" y="184"/>
                  <a:pt x="588" y="180"/>
                  <a:pt x="594" y="172"/>
                </a:cubicBezTo>
                <a:cubicBezTo>
                  <a:pt x="601" y="164"/>
                  <a:pt x="604" y="152"/>
                  <a:pt x="604" y="137"/>
                </a:cubicBezTo>
                <a:cubicBezTo>
                  <a:pt x="604" y="122"/>
                  <a:pt x="601" y="111"/>
                  <a:pt x="594" y="103"/>
                </a:cubicBezTo>
                <a:cubicBezTo>
                  <a:pt x="588" y="94"/>
                  <a:pt x="578" y="90"/>
                  <a:pt x="566" y="90"/>
                </a:cubicBezTo>
                <a:close/>
                <a:moveTo>
                  <a:pt x="648" y="201"/>
                </a:moveTo>
                <a:cubicBezTo>
                  <a:pt x="648" y="173"/>
                  <a:pt x="648" y="173"/>
                  <a:pt x="648" y="173"/>
                </a:cubicBezTo>
                <a:cubicBezTo>
                  <a:pt x="659" y="181"/>
                  <a:pt x="672" y="186"/>
                  <a:pt x="686" y="186"/>
                </a:cubicBezTo>
                <a:cubicBezTo>
                  <a:pt x="705" y="186"/>
                  <a:pt x="714" y="180"/>
                  <a:pt x="714" y="169"/>
                </a:cubicBezTo>
                <a:cubicBezTo>
                  <a:pt x="714" y="166"/>
                  <a:pt x="713" y="163"/>
                  <a:pt x="712" y="161"/>
                </a:cubicBezTo>
                <a:cubicBezTo>
                  <a:pt x="710" y="159"/>
                  <a:pt x="708" y="157"/>
                  <a:pt x="705" y="155"/>
                </a:cubicBezTo>
                <a:cubicBezTo>
                  <a:pt x="702" y="154"/>
                  <a:pt x="699" y="152"/>
                  <a:pt x="696" y="151"/>
                </a:cubicBezTo>
                <a:cubicBezTo>
                  <a:pt x="692" y="150"/>
                  <a:pt x="688" y="148"/>
                  <a:pt x="683" y="146"/>
                </a:cubicBezTo>
                <a:cubicBezTo>
                  <a:pt x="678" y="144"/>
                  <a:pt x="672" y="142"/>
                  <a:pt x="668" y="139"/>
                </a:cubicBezTo>
                <a:cubicBezTo>
                  <a:pt x="664" y="137"/>
                  <a:pt x="660" y="134"/>
                  <a:pt x="657" y="131"/>
                </a:cubicBezTo>
                <a:cubicBezTo>
                  <a:pt x="654" y="128"/>
                  <a:pt x="652" y="124"/>
                  <a:pt x="650" y="120"/>
                </a:cubicBezTo>
                <a:cubicBezTo>
                  <a:pt x="649" y="116"/>
                  <a:pt x="648" y="111"/>
                  <a:pt x="648" y="106"/>
                </a:cubicBezTo>
                <a:cubicBezTo>
                  <a:pt x="648" y="99"/>
                  <a:pt x="649" y="94"/>
                  <a:pt x="652" y="89"/>
                </a:cubicBezTo>
                <a:cubicBezTo>
                  <a:pt x="656" y="84"/>
                  <a:pt x="660" y="79"/>
                  <a:pt x="665" y="76"/>
                </a:cubicBezTo>
                <a:cubicBezTo>
                  <a:pt x="670" y="73"/>
                  <a:pt x="676" y="70"/>
                  <a:pt x="683" y="68"/>
                </a:cubicBezTo>
                <a:cubicBezTo>
                  <a:pt x="690" y="66"/>
                  <a:pt x="696" y="66"/>
                  <a:pt x="704" y="66"/>
                </a:cubicBezTo>
                <a:cubicBezTo>
                  <a:pt x="716" y="66"/>
                  <a:pt x="728" y="68"/>
                  <a:pt x="737" y="71"/>
                </a:cubicBezTo>
                <a:cubicBezTo>
                  <a:pt x="737" y="98"/>
                  <a:pt x="737" y="98"/>
                  <a:pt x="737" y="98"/>
                </a:cubicBezTo>
                <a:cubicBezTo>
                  <a:pt x="728" y="92"/>
                  <a:pt x="717" y="89"/>
                  <a:pt x="704" y="89"/>
                </a:cubicBezTo>
                <a:cubicBezTo>
                  <a:pt x="700" y="89"/>
                  <a:pt x="697" y="89"/>
                  <a:pt x="694" y="90"/>
                </a:cubicBezTo>
                <a:cubicBezTo>
                  <a:pt x="691" y="91"/>
                  <a:pt x="688" y="92"/>
                  <a:pt x="686" y="93"/>
                </a:cubicBezTo>
                <a:cubicBezTo>
                  <a:pt x="683" y="95"/>
                  <a:pt x="682" y="96"/>
                  <a:pt x="680" y="98"/>
                </a:cubicBezTo>
                <a:cubicBezTo>
                  <a:pt x="679" y="100"/>
                  <a:pt x="679" y="102"/>
                  <a:pt x="679" y="105"/>
                </a:cubicBezTo>
                <a:cubicBezTo>
                  <a:pt x="679" y="108"/>
                  <a:pt x="679" y="110"/>
                  <a:pt x="680" y="112"/>
                </a:cubicBezTo>
                <a:cubicBezTo>
                  <a:pt x="682" y="114"/>
                  <a:pt x="684" y="116"/>
                  <a:pt x="686" y="118"/>
                </a:cubicBezTo>
                <a:cubicBezTo>
                  <a:pt x="688" y="119"/>
                  <a:pt x="691" y="121"/>
                  <a:pt x="695" y="122"/>
                </a:cubicBezTo>
                <a:cubicBezTo>
                  <a:pt x="698" y="123"/>
                  <a:pt x="702" y="125"/>
                  <a:pt x="707" y="126"/>
                </a:cubicBezTo>
                <a:cubicBezTo>
                  <a:pt x="713" y="129"/>
                  <a:pt x="718" y="131"/>
                  <a:pt x="722" y="134"/>
                </a:cubicBezTo>
                <a:cubicBezTo>
                  <a:pt x="727" y="136"/>
                  <a:pt x="731" y="139"/>
                  <a:pt x="734" y="142"/>
                </a:cubicBezTo>
                <a:cubicBezTo>
                  <a:pt x="738" y="145"/>
                  <a:pt x="740" y="149"/>
                  <a:pt x="742" y="153"/>
                </a:cubicBezTo>
                <a:cubicBezTo>
                  <a:pt x="744" y="157"/>
                  <a:pt x="745" y="162"/>
                  <a:pt x="745" y="168"/>
                </a:cubicBezTo>
                <a:cubicBezTo>
                  <a:pt x="745" y="175"/>
                  <a:pt x="743" y="181"/>
                  <a:pt x="740" y="186"/>
                </a:cubicBezTo>
                <a:cubicBezTo>
                  <a:pt x="737" y="191"/>
                  <a:pt x="732" y="195"/>
                  <a:pt x="727" y="199"/>
                </a:cubicBezTo>
                <a:cubicBezTo>
                  <a:pt x="722" y="202"/>
                  <a:pt x="716" y="205"/>
                  <a:pt x="709" y="206"/>
                </a:cubicBezTo>
                <a:cubicBezTo>
                  <a:pt x="702" y="208"/>
                  <a:pt x="694" y="209"/>
                  <a:pt x="686" y="209"/>
                </a:cubicBezTo>
                <a:cubicBezTo>
                  <a:pt x="672" y="209"/>
                  <a:pt x="659" y="206"/>
                  <a:pt x="648" y="201"/>
                </a:cubicBezTo>
                <a:close/>
                <a:moveTo>
                  <a:pt x="824" y="209"/>
                </a:moveTo>
                <a:cubicBezTo>
                  <a:pt x="803" y="209"/>
                  <a:pt x="786" y="202"/>
                  <a:pt x="773" y="190"/>
                </a:cubicBezTo>
                <a:cubicBezTo>
                  <a:pt x="761" y="177"/>
                  <a:pt x="754" y="160"/>
                  <a:pt x="754" y="139"/>
                </a:cubicBezTo>
                <a:cubicBezTo>
                  <a:pt x="754" y="116"/>
                  <a:pt x="761" y="98"/>
                  <a:pt x="774" y="85"/>
                </a:cubicBezTo>
                <a:cubicBezTo>
                  <a:pt x="787" y="72"/>
                  <a:pt x="805" y="66"/>
                  <a:pt x="827" y="66"/>
                </a:cubicBezTo>
                <a:cubicBezTo>
                  <a:pt x="848" y="66"/>
                  <a:pt x="865" y="72"/>
                  <a:pt x="877" y="84"/>
                </a:cubicBezTo>
                <a:cubicBezTo>
                  <a:pt x="889" y="97"/>
                  <a:pt x="895" y="114"/>
                  <a:pt x="895" y="137"/>
                </a:cubicBezTo>
                <a:cubicBezTo>
                  <a:pt x="895" y="158"/>
                  <a:pt x="888" y="176"/>
                  <a:pt x="876" y="189"/>
                </a:cubicBezTo>
                <a:cubicBezTo>
                  <a:pt x="863" y="202"/>
                  <a:pt x="845" y="209"/>
                  <a:pt x="824" y="209"/>
                </a:cubicBezTo>
                <a:close/>
                <a:moveTo>
                  <a:pt x="825" y="90"/>
                </a:moveTo>
                <a:cubicBezTo>
                  <a:pt x="813" y="90"/>
                  <a:pt x="803" y="95"/>
                  <a:pt x="796" y="103"/>
                </a:cubicBezTo>
                <a:cubicBezTo>
                  <a:pt x="789" y="111"/>
                  <a:pt x="786" y="123"/>
                  <a:pt x="786" y="138"/>
                </a:cubicBezTo>
                <a:cubicBezTo>
                  <a:pt x="786" y="152"/>
                  <a:pt x="789" y="164"/>
                  <a:pt x="797" y="172"/>
                </a:cubicBezTo>
                <a:cubicBezTo>
                  <a:pt x="804" y="180"/>
                  <a:pt x="813" y="184"/>
                  <a:pt x="825" y="184"/>
                </a:cubicBezTo>
                <a:cubicBezTo>
                  <a:pt x="837" y="184"/>
                  <a:pt x="847" y="180"/>
                  <a:pt x="853" y="172"/>
                </a:cubicBezTo>
                <a:cubicBezTo>
                  <a:pt x="860" y="164"/>
                  <a:pt x="863" y="152"/>
                  <a:pt x="863" y="137"/>
                </a:cubicBezTo>
                <a:cubicBezTo>
                  <a:pt x="863" y="122"/>
                  <a:pt x="860" y="111"/>
                  <a:pt x="853" y="103"/>
                </a:cubicBezTo>
                <a:cubicBezTo>
                  <a:pt x="847" y="94"/>
                  <a:pt x="837" y="90"/>
                  <a:pt x="825" y="90"/>
                </a:cubicBezTo>
                <a:close/>
                <a:moveTo>
                  <a:pt x="988" y="28"/>
                </a:moveTo>
                <a:cubicBezTo>
                  <a:pt x="984" y="26"/>
                  <a:pt x="979" y="25"/>
                  <a:pt x="974" y="25"/>
                </a:cubicBezTo>
                <a:cubicBezTo>
                  <a:pt x="959" y="25"/>
                  <a:pt x="951" y="33"/>
                  <a:pt x="951" y="50"/>
                </a:cubicBezTo>
                <a:cubicBezTo>
                  <a:pt x="951" y="69"/>
                  <a:pt x="951" y="69"/>
                  <a:pt x="951" y="69"/>
                </a:cubicBezTo>
                <a:cubicBezTo>
                  <a:pt x="983" y="69"/>
                  <a:pt x="983" y="69"/>
                  <a:pt x="983" y="69"/>
                </a:cubicBezTo>
                <a:cubicBezTo>
                  <a:pt x="983" y="93"/>
                  <a:pt x="983" y="93"/>
                  <a:pt x="983" y="93"/>
                </a:cubicBezTo>
                <a:cubicBezTo>
                  <a:pt x="952" y="93"/>
                  <a:pt x="952" y="93"/>
                  <a:pt x="952" y="93"/>
                </a:cubicBezTo>
                <a:cubicBezTo>
                  <a:pt x="952" y="205"/>
                  <a:pt x="952" y="205"/>
                  <a:pt x="952" y="205"/>
                </a:cubicBezTo>
                <a:cubicBezTo>
                  <a:pt x="921" y="205"/>
                  <a:pt x="921" y="205"/>
                  <a:pt x="921" y="205"/>
                </a:cubicBezTo>
                <a:cubicBezTo>
                  <a:pt x="921" y="93"/>
                  <a:pt x="921" y="93"/>
                  <a:pt x="921" y="93"/>
                </a:cubicBezTo>
                <a:cubicBezTo>
                  <a:pt x="897" y="93"/>
                  <a:pt x="897" y="93"/>
                  <a:pt x="897" y="93"/>
                </a:cubicBezTo>
                <a:cubicBezTo>
                  <a:pt x="897" y="69"/>
                  <a:pt x="897" y="69"/>
                  <a:pt x="897" y="69"/>
                </a:cubicBezTo>
                <a:cubicBezTo>
                  <a:pt x="921" y="69"/>
                  <a:pt x="921" y="69"/>
                  <a:pt x="921" y="69"/>
                </a:cubicBezTo>
                <a:cubicBezTo>
                  <a:pt x="921" y="47"/>
                  <a:pt x="921" y="47"/>
                  <a:pt x="921" y="47"/>
                </a:cubicBezTo>
                <a:cubicBezTo>
                  <a:pt x="921" y="32"/>
                  <a:pt x="925" y="21"/>
                  <a:pt x="935" y="13"/>
                </a:cubicBezTo>
                <a:cubicBezTo>
                  <a:pt x="944" y="4"/>
                  <a:pt x="956" y="0"/>
                  <a:pt x="970" y="0"/>
                </a:cubicBezTo>
                <a:cubicBezTo>
                  <a:pt x="978" y="0"/>
                  <a:pt x="984" y="1"/>
                  <a:pt x="988" y="3"/>
                </a:cubicBezTo>
                <a:lnTo>
                  <a:pt x="988" y="28"/>
                </a:lnTo>
                <a:close/>
                <a:moveTo>
                  <a:pt x="1072" y="204"/>
                </a:moveTo>
                <a:cubicBezTo>
                  <a:pt x="1065" y="207"/>
                  <a:pt x="1057" y="209"/>
                  <a:pt x="1048" y="209"/>
                </a:cubicBezTo>
                <a:cubicBezTo>
                  <a:pt x="1021" y="209"/>
                  <a:pt x="1008" y="196"/>
                  <a:pt x="1008" y="170"/>
                </a:cubicBezTo>
                <a:cubicBezTo>
                  <a:pt x="1008" y="93"/>
                  <a:pt x="1008" y="93"/>
                  <a:pt x="1008" y="93"/>
                </a:cubicBezTo>
                <a:cubicBezTo>
                  <a:pt x="985" y="93"/>
                  <a:pt x="985" y="93"/>
                  <a:pt x="985" y="93"/>
                </a:cubicBezTo>
                <a:cubicBezTo>
                  <a:pt x="985" y="69"/>
                  <a:pt x="985" y="69"/>
                  <a:pt x="985" y="69"/>
                </a:cubicBezTo>
                <a:cubicBezTo>
                  <a:pt x="1008" y="69"/>
                  <a:pt x="1008" y="69"/>
                  <a:pt x="1008" y="69"/>
                </a:cubicBezTo>
                <a:cubicBezTo>
                  <a:pt x="1008" y="37"/>
                  <a:pt x="1008" y="37"/>
                  <a:pt x="1008" y="37"/>
                </a:cubicBezTo>
                <a:cubicBezTo>
                  <a:pt x="1039" y="28"/>
                  <a:pt x="1039" y="28"/>
                  <a:pt x="1039" y="28"/>
                </a:cubicBezTo>
                <a:cubicBezTo>
                  <a:pt x="1039" y="69"/>
                  <a:pt x="1039" y="69"/>
                  <a:pt x="1039" y="69"/>
                </a:cubicBezTo>
                <a:cubicBezTo>
                  <a:pt x="1072" y="69"/>
                  <a:pt x="1072" y="69"/>
                  <a:pt x="1072" y="69"/>
                </a:cubicBezTo>
                <a:cubicBezTo>
                  <a:pt x="1072" y="93"/>
                  <a:pt x="1072" y="93"/>
                  <a:pt x="1072" y="93"/>
                </a:cubicBezTo>
                <a:cubicBezTo>
                  <a:pt x="1039" y="93"/>
                  <a:pt x="1039" y="93"/>
                  <a:pt x="1039" y="93"/>
                </a:cubicBezTo>
                <a:cubicBezTo>
                  <a:pt x="1039" y="161"/>
                  <a:pt x="1039" y="161"/>
                  <a:pt x="1039" y="161"/>
                </a:cubicBezTo>
                <a:cubicBezTo>
                  <a:pt x="1039" y="170"/>
                  <a:pt x="1040" y="175"/>
                  <a:pt x="1043" y="179"/>
                </a:cubicBezTo>
                <a:cubicBezTo>
                  <a:pt x="1046" y="182"/>
                  <a:pt x="1051" y="184"/>
                  <a:pt x="1058" y="184"/>
                </a:cubicBezTo>
                <a:cubicBezTo>
                  <a:pt x="1063" y="184"/>
                  <a:pt x="1068" y="182"/>
                  <a:pt x="1072" y="179"/>
                </a:cubicBezTo>
                <a:lnTo>
                  <a:pt x="1072" y="204"/>
                </a:lnTo>
                <a:close/>
                <a:moveTo>
                  <a:pt x="107" y="509"/>
                </a:moveTo>
                <a:cubicBezTo>
                  <a:pt x="0" y="509"/>
                  <a:pt x="0" y="509"/>
                  <a:pt x="0" y="509"/>
                </a:cubicBezTo>
                <a:cubicBezTo>
                  <a:pt x="0" y="318"/>
                  <a:pt x="0" y="318"/>
                  <a:pt x="0" y="318"/>
                </a:cubicBezTo>
                <a:cubicBezTo>
                  <a:pt x="103" y="318"/>
                  <a:pt x="103" y="318"/>
                  <a:pt x="103" y="318"/>
                </a:cubicBezTo>
                <a:cubicBezTo>
                  <a:pt x="103" y="345"/>
                  <a:pt x="103" y="345"/>
                  <a:pt x="103" y="345"/>
                </a:cubicBezTo>
                <a:cubicBezTo>
                  <a:pt x="31" y="345"/>
                  <a:pt x="31" y="345"/>
                  <a:pt x="31" y="345"/>
                </a:cubicBezTo>
                <a:cubicBezTo>
                  <a:pt x="31" y="399"/>
                  <a:pt x="31" y="399"/>
                  <a:pt x="31" y="399"/>
                </a:cubicBezTo>
                <a:cubicBezTo>
                  <a:pt x="97" y="399"/>
                  <a:pt x="97" y="399"/>
                  <a:pt x="97" y="399"/>
                </a:cubicBezTo>
                <a:cubicBezTo>
                  <a:pt x="97" y="426"/>
                  <a:pt x="97" y="426"/>
                  <a:pt x="97" y="426"/>
                </a:cubicBezTo>
                <a:cubicBezTo>
                  <a:pt x="31" y="426"/>
                  <a:pt x="31" y="426"/>
                  <a:pt x="31" y="426"/>
                </a:cubicBezTo>
                <a:cubicBezTo>
                  <a:pt x="31" y="482"/>
                  <a:pt x="31" y="482"/>
                  <a:pt x="31" y="482"/>
                </a:cubicBezTo>
                <a:cubicBezTo>
                  <a:pt x="107" y="482"/>
                  <a:pt x="107" y="482"/>
                  <a:pt x="107" y="482"/>
                </a:cubicBezTo>
                <a:lnTo>
                  <a:pt x="107" y="509"/>
                </a:lnTo>
                <a:close/>
                <a:moveTo>
                  <a:pt x="249" y="509"/>
                </a:moveTo>
                <a:cubicBezTo>
                  <a:pt x="218" y="509"/>
                  <a:pt x="218" y="509"/>
                  <a:pt x="218" y="509"/>
                </a:cubicBezTo>
                <a:cubicBezTo>
                  <a:pt x="218" y="432"/>
                  <a:pt x="218" y="432"/>
                  <a:pt x="218" y="432"/>
                </a:cubicBezTo>
                <a:cubicBezTo>
                  <a:pt x="218" y="407"/>
                  <a:pt x="209" y="394"/>
                  <a:pt x="191" y="394"/>
                </a:cubicBezTo>
                <a:cubicBezTo>
                  <a:pt x="181" y="394"/>
                  <a:pt x="173" y="397"/>
                  <a:pt x="167" y="404"/>
                </a:cubicBezTo>
                <a:cubicBezTo>
                  <a:pt x="161" y="411"/>
                  <a:pt x="158" y="420"/>
                  <a:pt x="158" y="431"/>
                </a:cubicBezTo>
                <a:cubicBezTo>
                  <a:pt x="158" y="509"/>
                  <a:pt x="158" y="509"/>
                  <a:pt x="158" y="509"/>
                </a:cubicBezTo>
                <a:cubicBezTo>
                  <a:pt x="127" y="509"/>
                  <a:pt x="127" y="509"/>
                  <a:pt x="127" y="509"/>
                </a:cubicBezTo>
                <a:cubicBezTo>
                  <a:pt x="127" y="372"/>
                  <a:pt x="127" y="372"/>
                  <a:pt x="127" y="372"/>
                </a:cubicBezTo>
                <a:cubicBezTo>
                  <a:pt x="158" y="372"/>
                  <a:pt x="158" y="372"/>
                  <a:pt x="158" y="372"/>
                </a:cubicBezTo>
                <a:cubicBezTo>
                  <a:pt x="158" y="395"/>
                  <a:pt x="158" y="395"/>
                  <a:pt x="158" y="395"/>
                </a:cubicBezTo>
                <a:cubicBezTo>
                  <a:pt x="159" y="395"/>
                  <a:pt x="159" y="395"/>
                  <a:pt x="159" y="395"/>
                </a:cubicBezTo>
                <a:cubicBezTo>
                  <a:pt x="169" y="378"/>
                  <a:pt x="184" y="369"/>
                  <a:pt x="203" y="369"/>
                </a:cubicBezTo>
                <a:cubicBezTo>
                  <a:pt x="218" y="369"/>
                  <a:pt x="229" y="374"/>
                  <a:pt x="237" y="384"/>
                </a:cubicBezTo>
                <a:cubicBezTo>
                  <a:pt x="245" y="393"/>
                  <a:pt x="249" y="407"/>
                  <a:pt x="249" y="426"/>
                </a:cubicBezTo>
                <a:lnTo>
                  <a:pt x="249" y="509"/>
                </a:lnTo>
                <a:close/>
                <a:moveTo>
                  <a:pt x="393" y="372"/>
                </a:moveTo>
                <a:cubicBezTo>
                  <a:pt x="340" y="509"/>
                  <a:pt x="340" y="509"/>
                  <a:pt x="340" y="509"/>
                </a:cubicBezTo>
                <a:cubicBezTo>
                  <a:pt x="307" y="509"/>
                  <a:pt x="307" y="509"/>
                  <a:pt x="307" y="509"/>
                </a:cubicBezTo>
                <a:cubicBezTo>
                  <a:pt x="257" y="372"/>
                  <a:pt x="257" y="372"/>
                  <a:pt x="257" y="372"/>
                </a:cubicBezTo>
                <a:cubicBezTo>
                  <a:pt x="290" y="372"/>
                  <a:pt x="290" y="372"/>
                  <a:pt x="290" y="372"/>
                </a:cubicBezTo>
                <a:cubicBezTo>
                  <a:pt x="321" y="468"/>
                  <a:pt x="321" y="468"/>
                  <a:pt x="321" y="468"/>
                </a:cubicBezTo>
                <a:cubicBezTo>
                  <a:pt x="323" y="475"/>
                  <a:pt x="324" y="481"/>
                  <a:pt x="325" y="486"/>
                </a:cubicBezTo>
                <a:cubicBezTo>
                  <a:pt x="325" y="486"/>
                  <a:pt x="325" y="486"/>
                  <a:pt x="325" y="486"/>
                </a:cubicBezTo>
                <a:cubicBezTo>
                  <a:pt x="326" y="480"/>
                  <a:pt x="327" y="474"/>
                  <a:pt x="329" y="469"/>
                </a:cubicBezTo>
                <a:cubicBezTo>
                  <a:pt x="361" y="372"/>
                  <a:pt x="361" y="372"/>
                  <a:pt x="361" y="372"/>
                </a:cubicBezTo>
                <a:lnTo>
                  <a:pt x="393" y="372"/>
                </a:lnTo>
                <a:close/>
                <a:moveTo>
                  <a:pt x="419" y="344"/>
                </a:moveTo>
                <a:cubicBezTo>
                  <a:pt x="414" y="344"/>
                  <a:pt x="409" y="342"/>
                  <a:pt x="406" y="339"/>
                </a:cubicBezTo>
                <a:cubicBezTo>
                  <a:pt x="402" y="336"/>
                  <a:pt x="400" y="331"/>
                  <a:pt x="400" y="326"/>
                </a:cubicBezTo>
                <a:cubicBezTo>
                  <a:pt x="400" y="321"/>
                  <a:pt x="402" y="317"/>
                  <a:pt x="406" y="314"/>
                </a:cubicBezTo>
                <a:cubicBezTo>
                  <a:pt x="409" y="310"/>
                  <a:pt x="414" y="309"/>
                  <a:pt x="419" y="309"/>
                </a:cubicBezTo>
                <a:cubicBezTo>
                  <a:pt x="424" y="309"/>
                  <a:pt x="429" y="310"/>
                  <a:pt x="432" y="314"/>
                </a:cubicBezTo>
                <a:cubicBezTo>
                  <a:pt x="436" y="317"/>
                  <a:pt x="438" y="321"/>
                  <a:pt x="438" y="326"/>
                </a:cubicBezTo>
                <a:cubicBezTo>
                  <a:pt x="438" y="331"/>
                  <a:pt x="436" y="335"/>
                  <a:pt x="432" y="339"/>
                </a:cubicBezTo>
                <a:cubicBezTo>
                  <a:pt x="429" y="342"/>
                  <a:pt x="424" y="344"/>
                  <a:pt x="419" y="344"/>
                </a:cubicBezTo>
                <a:close/>
                <a:moveTo>
                  <a:pt x="434" y="509"/>
                </a:moveTo>
                <a:cubicBezTo>
                  <a:pt x="403" y="509"/>
                  <a:pt x="403" y="509"/>
                  <a:pt x="403" y="509"/>
                </a:cubicBezTo>
                <a:cubicBezTo>
                  <a:pt x="403" y="372"/>
                  <a:pt x="403" y="372"/>
                  <a:pt x="403" y="372"/>
                </a:cubicBezTo>
                <a:cubicBezTo>
                  <a:pt x="434" y="372"/>
                  <a:pt x="434" y="372"/>
                  <a:pt x="434" y="372"/>
                </a:cubicBezTo>
                <a:lnTo>
                  <a:pt x="434" y="509"/>
                </a:lnTo>
                <a:close/>
                <a:moveTo>
                  <a:pt x="455" y="505"/>
                </a:moveTo>
                <a:cubicBezTo>
                  <a:pt x="455" y="476"/>
                  <a:pt x="455" y="476"/>
                  <a:pt x="455" y="476"/>
                </a:cubicBezTo>
                <a:cubicBezTo>
                  <a:pt x="467" y="485"/>
                  <a:pt x="479" y="489"/>
                  <a:pt x="493" y="489"/>
                </a:cubicBezTo>
                <a:cubicBezTo>
                  <a:pt x="512" y="489"/>
                  <a:pt x="521" y="484"/>
                  <a:pt x="521" y="473"/>
                </a:cubicBezTo>
                <a:cubicBezTo>
                  <a:pt x="521" y="470"/>
                  <a:pt x="521" y="467"/>
                  <a:pt x="519" y="465"/>
                </a:cubicBezTo>
                <a:cubicBezTo>
                  <a:pt x="517" y="463"/>
                  <a:pt x="515" y="461"/>
                  <a:pt x="513" y="459"/>
                </a:cubicBezTo>
                <a:cubicBezTo>
                  <a:pt x="510" y="457"/>
                  <a:pt x="507" y="456"/>
                  <a:pt x="503" y="454"/>
                </a:cubicBezTo>
                <a:cubicBezTo>
                  <a:pt x="499" y="453"/>
                  <a:pt x="495" y="452"/>
                  <a:pt x="491" y="450"/>
                </a:cubicBezTo>
                <a:cubicBezTo>
                  <a:pt x="485" y="448"/>
                  <a:pt x="480" y="445"/>
                  <a:pt x="476" y="443"/>
                </a:cubicBezTo>
                <a:cubicBezTo>
                  <a:pt x="471" y="440"/>
                  <a:pt x="467" y="438"/>
                  <a:pt x="464" y="434"/>
                </a:cubicBezTo>
                <a:cubicBezTo>
                  <a:pt x="461" y="431"/>
                  <a:pt x="459" y="428"/>
                  <a:pt x="458" y="424"/>
                </a:cubicBezTo>
                <a:cubicBezTo>
                  <a:pt x="456" y="420"/>
                  <a:pt x="455" y="415"/>
                  <a:pt x="455" y="410"/>
                </a:cubicBezTo>
                <a:cubicBezTo>
                  <a:pt x="455" y="403"/>
                  <a:pt x="457" y="397"/>
                  <a:pt x="460" y="392"/>
                </a:cubicBezTo>
                <a:cubicBezTo>
                  <a:pt x="463" y="387"/>
                  <a:pt x="467" y="383"/>
                  <a:pt x="473" y="380"/>
                </a:cubicBezTo>
                <a:cubicBezTo>
                  <a:pt x="478" y="376"/>
                  <a:pt x="484" y="374"/>
                  <a:pt x="490" y="372"/>
                </a:cubicBezTo>
                <a:cubicBezTo>
                  <a:pt x="497" y="370"/>
                  <a:pt x="504" y="369"/>
                  <a:pt x="511" y="369"/>
                </a:cubicBezTo>
                <a:cubicBezTo>
                  <a:pt x="524" y="369"/>
                  <a:pt x="535" y="371"/>
                  <a:pt x="545" y="375"/>
                </a:cubicBezTo>
                <a:cubicBezTo>
                  <a:pt x="545" y="402"/>
                  <a:pt x="545" y="402"/>
                  <a:pt x="545" y="402"/>
                </a:cubicBezTo>
                <a:cubicBezTo>
                  <a:pt x="535" y="395"/>
                  <a:pt x="524" y="392"/>
                  <a:pt x="512" y="392"/>
                </a:cubicBezTo>
                <a:cubicBezTo>
                  <a:pt x="508" y="392"/>
                  <a:pt x="504" y="393"/>
                  <a:pt x="501" y="393"/>
                </a:cubicBezTo>
                <a:cubicBezTo>
                  <a:pt x="498" y="394"/>
                  <a:pt x="495" y="395"/>
                  <a:pt x="493" y="397"/>
                </a:cubicBezTo>
                <a:cubicBezTo>
                  <a:pt x="491" y="398"/>
                  <a:pt x="489" y="400"/>
                  <a:pt x="488" y="402"/>
                </a:cubicBezTo>
                <a:cubicBezTo>
                  <a:pt x="487" y="404"/>
                  <a:pt x="486" y="406"/>
                  <a:pt x="486" y="408"/>
                </a:cubicBezTo>
                <a:cubicBezTo>
                  <a:pt x="486" y="411"/>
                  <a:pt x="487" y="414"/>
                  <a:pt x="488" y="416"/>
                </a:cubicBezTo>
                <a:cubicBezTo>
                  <a:pt x="489" y="418"/>
                  <a:pt x="491" y="420"/>
                  <a:pt x="494" y="421"/>
                </a:cubicBezTo>
                <a:cubicBezTo>
                  <a:pt x="496" y="423"/>
                  <a:pt x="499" y="424"/>
                  <a:pt x="502" y="426"/>
                </a:cubicBezTo>
                <a:cubicBezTo>
                  <a:pt x="506" y="427"/>
                  <a:pt x="510" y="428"/>
                  <a:pt x="514" y="430"/>
                </a:cubicBezTo>
                <a:cubicBezTo>
                  <a:pt x="520" y="432"/>
                  <a:pt x="525" y="435"/>
                  <a:pt x="530" y="437"/>
                </a:cubicBezTo>
                <a:cubicBezTo>
                  <a:pt x="535" y="440"/>
                  <a:pt x="539" y="442"/>
                  <a:pt x="542" y="446"/>
                </a:cubicBezTo>
                <a:cubicBezTo>
                  <a:pt x="545" y="449"/>
                  <a:pt x="548" y="452"/>
                  <a:pt x="550" y="457"/>
                </a:cubicBezTo>
                <a:cubicBezTo>
                  <a:pt x="551" y="461"/>
                  <a:pt x="552" y="466"/>
                  <a:pt x="552" y="471"/>
                </a:cubicBezTo>
                <a:cubicBezTo>
                  <a:pt x="552" y="478"/>
                  <a:pt x="551" y="484"/>
                  <a:pt x="547" y="489"/>
                </a:cubicBezTo>
                <a:cubicBezTo>
                  <a:pt x="544" y="495"/>
                  <a:pt x="540" y="499"/>
                  <a:pt x="535" y="502"/>
                </a:cubicBezTo>
                <a:cubicBezTo>
                  <a:pt x="529" y="506"/>
                  <a:pt x="523" y="508"/>
                  <a:pt x="516" y="510"/>
                </a:cubicBezTo>
                <a:cubicBezTo>
                  <a:pt x="509" y="511"/>
                  <a:pt x="502" y="512"/>
                  <a:pt x="494" y="512"/>
                </a:cubicBezTo>
                <a:cubicBezTo>
                  <a:pt x="479" y="512"/>
                  <a:pt x="466" y="510"/>
                  <a:pt x="455" y="505"/>
                </a:cubicBezTo>
                <a:close/>
                <a:moveTo>
                  <a:pt x="586" y="344"/>
                </a:moveTo>
                <a:cubicBezTo>
                  <a:pt x="581" y="344"/>
                  <a:pt x="577" y="342"/>
                  <a:pt x="573" y="339"/>
                </a:cubicBezTo>
                <a:cubicBezTo>
                  <a:pt x="570" y="336"/>
                  <a:pt x="568" y="331"/>
                  <a:pt x="568" y="326"/>
                </a:cubicBezTo>
                <a:cubicBezTo>
                  <a:pt x="568" y="321"/>
                  <a:pt x="570" y="317"/>
                  <a:pt x="573" y="314"/>
                </a:cubicBezTo>
                <a:cubicBezTo>
                  <a:pt x="577" y="310"/>
                  <a:pt x="581" y="309"/>
                  <a:pt x="586" y="309"/>
                </a:cubicBezTo>
                <a:cubicBezTo>
                  <a:pt x="591" y="309"/>
                  <a:pt x="596" y="310"/>
                  <a:pt x="600" y="314"/>
                </a:cubicBezTo>
                <a:cubicBezTo>
                  <a:pt x="603" y="317"/>
                  <a:pt x="605" y="321"/>
                  <a:pt x="605" y="326"/>
                </a:cubicBezTo>
                <a:cubicBezTo>
                  <a:pt x="605" y="331"/>
                  <a:pt x="603" y="335"/>
                  <a:pt x="600" y="339"/>
                </a:cubicBezTo>
                <a:cubicBezTo>
                  <a:pt x="596" y="342"/>
                  <a:pt x="591" y="344"/>
                  <a:pt x="586" y="344"/>
                </a:cubicBezTo>
                <a:close/>
                <a:moveTo>
                  <a:pt x="602" y="509"/>
                </a:moveTo>
                <a:cubicBezTo>
                  <a:pt x="571" y="509"/>
                  <a:pt x="571" y="509"/>
                  <a:pt x="571" y="509"/>
                </a:cubicBezTo>
                <a:cubicBezTo>
                  <a:pt x="571" y="372"/>
                  <a:pt x="571" y="372"/>
                  <a:pt x="571" y="372"/>
                </a:cubicBezTo>
                <a:cubicBezTo>
                  <a:pt x="602" y="372"/>
                  <a:pt x="602" y="372"/>
                  <a:pt x="602" y="372"/>
                </a:cubicBezTo>
                <a:lnTo>
                  <a:pt x="602" y="509"/>
                </a:lnTo>
                <a:close/>
                <a:moveTo>
                  <a:pt x="692" y="512"/>
                </a:moveTo>
                <a:cubicBezTo>
                  <a:pt x="671" y="512"/>
                  <a:pt x="654" y="506"/>
                  <a:pt x="641" y="493"/>
                </a:cubicBezTo>
                <a:cubicBezTo>
                  <a:pt x="629" y="480"/>
                  <a:pt x="622" y="463"/>
                  <a:pt x="622" y="442"/>
                </a:cubicBezTo>
                <a:cubicBezTo>
                  <a:pt x="622" y="419"/>
                  <a:pt x="629" y="401"/>
                  <a:pt x="642" y="389"/>
                </a:cubicBezTo>
                <a:cubicBezTo>
                  <a:pt x="655" y="376"/>
                  <a:pt x="673" y="369"/>
                  <a:pt x="695" y="369"/>
                </a:cubicBezTo>
                <a:cubicBezTo>
                  <a:pt x="716" y="369"/>
                  <a:pt x="733" y="376"/>
                  <a:pt x="745" y="388"/>
                </a:cubicBezTo>
                <a:cubicBezTo>
                  <a:pt x="757" y="401"/>
                  <a:pt x="763" y="418"/>
                  <a:pt x="763" y="440"/>
                </a:cubicBezTo>
                <a:cubicBezTo>
                  <a:pt x="763" y="462"/>
                  <a:pt x="756" y="479"/>
                  <a:pt x="743" y="493"/>
                </a:cubicBezTo>
                <a:cubicBezTo>
                  <a:pt x="731" y="506"/>
                  <a:pt x="713" y="512"/>
                  <a:pt x="692" y="512"/>
                </a:cubicBezTo>
                <a:close/>
                <a:moveTo>
                  <a:pt x="693" y="394"/>
                </a:moveTo>
                <a:cubicBezTo>
                  <a:pt x="681" y="394"/>
                  <a:pt x="671" y="398"/>
                  <a:pt x="664" y="407"/>
                </a:cubicBezTo>
                <a:cubicBezTo>
                  <a:pt x="657" y="415"/>
                  <a:pt x="654" y="427"/>
                  <a:pt x="654" y="442"/>
                </a:cubicBezTo>
                <a:cubicBezTo>
                  <a:pt x="654" y="456"/>
                  <a:pt x="657" y="467"/>
                  <a:pt x="665" y="475"/>
                </a:cubicBezTo>
                <a:cubicBezTo>
                  <a:pt x="672" y="484"/>
                  <a:pt x="681" y="488"/>
                  <a:pt x="693" y="488"/>
                </a:cubicBezTo>
                <a:cubicBezTo>
                  <a:pt x="705" y="488"/>
                  <a:pt x="715" y="484"/>
                  <a:pt x="721" y="476"/>
                </a:cubicBezTo>
                <a:cubicBezTo>
                  <a:pt x="728" y="467"/>
                  <a:pt x="731" y="456"/>
                  <a:pt x="731" y="441"/>
                </a:cubicBezTo>
                <a:cubicBezTo>
                  <a:pt x="731" y="426"/>
                  <a:pt x="728" y="414"/>
                  <a:pt x="721" y="406"/>
                </a:cubicBezTo>
                <a:cubicBezTo>
                  <a:pt x="715" y="398"/>
                  <a:pt x="705" y="394"/>
                  <a:pt x="693" y="394"/>
                </a:cubicBezTo>
                <a:close/>
                <a:moveTo>
                  <a:pt x="905" y="509"/>
                </a:moveTo>
                <a:cubicBezTo>
                  <a:pt x="874" y="509"/>
                  <a:pt x="874" y="509"/>
                  <a:pt x="874" y="509"/>
                </a:cubicBezTo>
                <a:cubicBezTo>
                  <a:pt x="874" y="432"/>
                  <a:pt x="874" y="432"/>
                  <a:pt x="874" y="432"/>
                </a:cubicBezTo>
                <a:cubicBezTo>
                  <a:pt x="874" y="407"/>
                  <a:pt x="865" y="394"/>
                  <a:pt x="847" y="394"/>
                </a:cubicBezTo>
                <a:cubicBezTo>
                  <a:pt x="838" y="394"/>
                  <a:pt x="830" y="397"/>
                  <a:pt x="824" y="404"/>
                </a:cubicBezTo>
                <a:cubicBezTo>
                  <a:pt x="817" y="411"/>
                  <a:pt x="814" y="420"/>
                  <a:pt x="814" y="431"/>
                </a:cubicBezTo>
                <a:cubicBezTo>
                  <a:pt x="814" y="509"/>
                  <a:pt x="814" y="509"/>
                  <a:pt x="814" y="509"/>
                </a:cubicBezTo>
                <a:cubicBezTo>
                  <a:pt x="783" y="509"/>
                  <a:pt x="783" y="509"/>
                  <a:pt x="783" y="509"/>
                </a:cubicBezTo>
                <a:cubicBezTo>
                  <a:pt x="783" y="372"/>
                  <a:pt x="783" y="372"/>
                  <a:pt x="783" y="372"/>
                </a:cubicBezTo>
                <a:cubicBezTo>
                  <a:pt x="814" y="372"/>
                  <a:pt x="814" y="372"/>
                  <a:pt x="814" y="372"/>
                </a:cubicBezTo>
                <a:cubicBezTo>
                  <a:pt x="814" y="395"/>
                  <a:pt x="814" y="395"/>
                  <a:pt x="814" y="395"/>
                </a:cubicBezTo>
                <a:cubicBezTo>
                  <a:pt x="815" y="395"/>
                  <a:pt x="815" y="395"/>
                  <a:pt x="815" y="395"/>
                </a:cubicBezTo>
                <a:cubicBezTo>
                  <a:pt x="825" y="378"/>
                  <a:pt x="840" y="369"/>
                  <a:pt x="859" y="369"/>
                </a:cubicBezTo>
                <a:cubicBezTo>
                  <a:pt x="874" y="369"/>
                  <a:pt x="885" y="374"/>
                  <a:pt x="893" y="384"/>
                </a:cubicBezTo>
                <a:cubicBezTo>
                  <a:pt x="901" y="393"/>
                  <a:pt x="905" y="407"/>
                  <a:pt x="905" y="426"/>
                </a:cubicBezTo>
                <a:lnTo>
                  <a:pt x="905" y="50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TextBox 13"/>
          <p:cNvSpPr txBox="1"/>
          <p:nvPr userDrawn="1"/>
        </p:nvSpPr>
        <p:spPr>
          <a:xfrm>
            <a:off x="274638" y="3954463"/>
            <a:ext cx="4572000" cy="914400"/>
          </a:xfrm>
          <a:prstGeom prst="rect">
            <a:avLst/>
          </a:prstGeom>
        </p:spPr>
        <p:txBody>
          <a:bodyPr vert="horz" wrap="square" lIns="182880" tIns="109728" rIns="146304" bIns="109728" rtlCol="0" anchor="t"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a:gradFill>
                  <a:gsLst>
                    <a:gs pos="96653">
                      <a:schemeClr val="tx1"/>
                    </a:gs>
                    <a:gs pos="0">
                      <a:schemeClr val="tx1"/>
                    </a:gs>
                  </a:gsLst>
                  <a:lin ang="5400000" scaled="0"/>
                </a:gradFill>
              </a:rPr>
              <a:t>September 25–27, 2017</a:t>
            </a:r>
          </a:p>
          <a:p>
            <a:pPr lvl="0"/>
            <a:r>
              <a:rPr lang="en-US">
                <a:gradFill>
                  <a:gsLst>
                    <a:gs pos="96653">
                      <a:schemeClr val="tx1"/>
                    </a:gs>
                    <a:gs pos="0">
                      <a:schemeClr val="tx1"/>
                    </a:gs>
                  </a:gsLst>
                  <a:lin ang="5400000" scaled="0"/>
                </a:gradFill>
              </a:rPr>
              <a:t>Orlando, Florida</a:t>
            </a:r>
          </a:p>
        </p:txBody>
      </p:sp>
      <p:sp>
        <p:nvSpPr>
          <p:cNvPr id="15" name="TextBox 2"/>
          <p:cNvSpPr txBox="1"/>
          <p:nvPr userDrawn="1"/>
        </p:nvSpPr>
        <p:spPr>
          <a:xfrm>
            <a:off x="274638" y="6158539"/>
            <a:ext cx="1138773" cy="572464"/>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000">
                <a:gradFill>
                  <a:gsLst>
                    <a:gs pos="2917">
                      <a:schemeClr val="tx1"/>
                    </a:gs>
                    <a:gs pos="30000">
                      <a:schemeClr val="tx1"/>
                    </a:gs>
                  </a:gsLst>
                  <a:lin ang="5400000" scaled="0"/>
                </a:gradFill>
              </a:rPr>
              <a:t>#Env17</a:t>
            </a:r>
          </a:p>
        </p:txBody>
      </p:sp>
    </p:spTree>
    <p:extLst>
      <p:ext uri="{BB962C8B-B14F-4D97-AF65-F5344CB8AC3E}">
        <p14:creationId xmlns:p14="http://schemas.microsoft.com/office/powerpoint/2010/main" val="1317561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566863"/>
            <a:ext cx="11887136" cy="2377440"/>
          </a:xfrm>
          <a:noFill/>
        </p:spPr>
        <p:txBody>
          <a:bodyPr lIns="146304" tIns="91440" rIns="146304" bIns="91440" anchor="b"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66836"/>
            <a:ext cx="6402388" cy="1463040"/>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
        <p:nvSpPr>
          <p:cNvPr id="11" name="TextBox 2"/>
          <p:cNvSpPr txBox="1"/>
          <p:nvPr userDrawn="1"/>
        </p:nvSpPr>
        <p:spPr>
          <a:xfrm>
            <a:off x="274638" y="6158539"/>
            <a:ext cx="1138773" cy="572464"/>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000">
                <a:gradFill>
                  <a:gsLst>
                    <a:gs pos="2917">
                      <a:schemeClr val="tx1"/>
                    </a:gs>
                    <a:gs pos="30000">
                      <a:schemeClr val="tx1"/>
                    </a:gs>
                  </a:gsLst>
                  <a:lin ang="5400000" scaled="0"/>
                </a:gradFill>
              </a:rPr>
              <a:t>#Env17</a:t>
            </a:r>
          </a:p>
        </p:txBody>
      </p:sp>
    </p:spTree>
    <p:extLst>
      <p:ext uri="{BB962C8B-B14F-4D97-AF65-F5344CB8AC3E}">
        <p14:creationId xmlns:p14="http://schemas.microsoft.com/office/powerpoint/2010/main" val="20705580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Panel slide x4">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211263"/>
            <a:ext cx="11887136" cy="2011657"/>
          </a:xfrm>
          <a:noFill/>
        </p:spPr>
        <p:txBody>
          <a:bodyPr lIns="146304" tIns="91440" rIns="146304" bIns="91440" anchor="b"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10567"/>
            <a:ext cx="5943600" cy="1280162"/>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
        <p:nvSpPr>
          <p:cNvPr id="11" name="TextBox 2"/>
          <p:cNvSpPr txBox="1"/>
          <p:nvPr userDrawn="1"/>
        </p:nvSpPr>
        <p:spPr>
          <a:xfrm>
            <a:off x="274638" y="6158539"/>
            <a:ext cx="1138773" cy="572464"/>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000">
                <a:gradFill>
                  <a:gsLst>
                    <a:gs pos="2917">
                      <a:schemeClr val="tx1"/>
                    </a:gs>
                    <a:gs pos="30000">
                      <a:schemeClr val="tx1"/>
                    </a:gs>
                  </a:gsLst>
                  <a:lin ang="5400000" scaled="0"/>
                </a:gradFill>
              </a:rPr>
              <a:t>#Env17</a:t>
            </a:r>
          </a:p>
        </p:txBody>
      </p:sp>
      <p:sp>
        <p:nvSpPr>
          <p:cNvPr id="7" name="Text Placeholder 2">
            <a:extLst>
              <a:ext uri="{FF2B5EF4-FFF2-40B4-BE49-F238E27FC236}">
                <a16:creationId xmlns:a16="http://schemas.microsoft.com/office/drawing/2014/main" id="{B8B84249-69BE-4B1E-A422-A0C0A15FE6E2}"/>
              </a:ext>
            </a:extLst>
          </p:cNvPr>
          <p:cNvSpPr>
            <a:spLocks noGrp="1"/>
          </p:cNvSpPr>
          <p:nvPr>
            <p:ph type="body" sz="quarter" idx="15" hasCustomPrompt="1"/>
          </p:nvPr>
        </p:nvSpPr>
        <p:spPr bwMode="auto">
          <a:xfrm>
            <a:off x="273050" y="4690729"/>
            <a:ext cx="5943600" cy="1280162"/>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Text Placeholder 2">
            <a:extLst>
              <a:ext uri="{FF2B5EF4-FFF2-40B4-BE49-F238E27FC236}">
                <a16:creationId xmlns:a16="http://schemas.microsoft.com/office/drawing/2014/main" id="{FA471649-FAF9-4184-A4A3-16B0D6B4C7F6}"/>
              </a:ext>
            </a:extLst>
          </p:cNvPr>
          <p:cNvSpPr>
            <a:spLocks noGrp="1"/>
          </p:cNvSpPr>
          <p:nvPr>
            <p:ph type="body" sz="quarter" idx="16" hasCustomPrompt="1"/>
          </p:nvPr>
        </p:nvSpPr>
        <p:spPr bwMode="auto">
          <a:xfrm>
            <a:off x="6218238" y="3410567"/>
            <a:ext cx="5943600" cy="1280162"/>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0" name="Text Placeholder 2">
            <a:extLst>
              <a:ext uri="{FF2B5EF4-FFF2-40B4-BE49-F238E27FC236}">
                <a16:creationId xmlns:a16="http://schemas.microsoft.com/office/drawing/2014/main" id="{DBD80426-1F71-4224-85CC-7100F25D6188}"/>
              </a:ext>
            </a:extLst>
          </p:cNvPr>
          <p:cNvSpPr>
            <a:spLocks noGrp="1"/>
          </p:cNvSpPr>
          <p:nvPr>
            <p:ph type="body" sz="quarter" idx="17" hasCustomPrompt="1"/>
          </p:nvPr>
        </p:nvSpPr>
        <p:spPr bwMode="auto">
          <a:xfrm>
            <a:off x="6218238" y="4690729"/>
            <a:ext cx="5943600" cy="1280162"/>
          </a:xfrm>
        </p:spPr>
        <p:txBody>
          <a:bodyPr lIns="164592" tIns="109728" rIns="164592" bIns="109728">
            <a:noAutofit/>
          </a:bodyPr>
          <a:lstStyle>
            <a:lvl1pPr marL="0" indent="0">
              <a:spcBef>
                <a:spcPts val="0"/>
              </a:spcBef>
              <a:buNone/>
              <a:defRPr lang="en-US" sz="28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Tree>
    <p:extLst>
      <p:ext uri="{BB962C8B-B14F-4D97-AF65-F5344CB8AC3E}">
        <p14:creationId xmlns:p14="http://schemas.microsoft.com/office/powerpoint/2010/main" val="35588179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Panel slide x6">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1211263"/>
            <a:ext cx="11887136" cy="2011657"/>
          </a:xfrm>
          <a:noFill/>
        </p:spPr>
        <p:txBody>
          <a:bodyPr lIns="146304" tIns="91440" rIns="146304" bIns="91440" anchor="b"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410567"/>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
        <p:nvSpPr>
          <p:cNvPr id="11" name="TextBox 2"/>
          <p:cNvSpPr txBox="1"/>
          <p:nvPr userDrawn="1"/>
        </p:nvSpPr>
        <p:spPr>
          <a:xfrm>
            <a:off x="274638" y="6158539"/>
            <a:ext cx="1138773" cy="572464"/>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000">
                <a:gradFill>
                  <a:gsLst>
                    <a:gs pos="2917">
                      <a:schemeClr val="tx1"/>
                    </a:gs>
                    <a:gs pos="30000">
                      <a:schemeClr val="tx1"/>
                    </a:gs>
                  </a:gsLst>
                  <a:lin ang="5400000" scaled="0"/>
                </a:gradFill>
              </a:rPr>
              <a:t>#Env17</a:t>
            </a:r>
          </a:p>
        </p:txBody>
      </p:sp>
      <p:sp>
        <p:nvSpPr>
          <p:cNvPr id="7" name="Text Placeholder 2">
            <a:extLst>
              <a:ext uri="{FF2B5EF4-FFF2-40B4-BE49-F238E27FC236}">
                <a16:creationId xmlns:a16="http://schemas.microsoft.com/office/drawing/2014/main" id="{B8B84249-69BE-4B1E-A422-A0C0A15FE6E2}"/>
              </a:ext>
            </a:extLst>
          </p:cNvPr>
          <p:cNvSpPr>
            <a:spLocks noGrp="1"/>
          </p:cNvSpPr>
          <p:nvPr>
            <p:ph type="body" sz="quarter" idx="15" hasCustomPrompt="1"/>
          </p:nvPr>
        </p:nvSpPr>
        <p:spPr bwMode="auto">
          <a:xfrm>
            <a:off x="273050" y="4340613"/>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8" name="Text Placeholder 2">
            <a:extLst>
              <a:ext uri="{FF2B5EF4-FFF2-40B4-BE49-F238E27FC236}">
                <a16:creationId xmlns:a16="http://schemas.microsoft.com/office/drawing/2014/main" id="{FA471649-FAF9-4184-A4A3-16B0D6B4C7F6}"/>
              </a:ext>
            </a:extLst>
          </p:cNvPr>
          <p:cNvSpPr>
            <a:spLocks noGrp="1"/>
          </p:cNvSpPr>
          <p:nvPr>
            <p:ph type="body" sz="quarter" idx="16" hasCustomPrompt="1"/>
          </p:nvPr>
        </p:nvSpPr>
        <p:spPr bwMode="auto">
          <a:xfrm>
            <a:off x="6218238" y="3410567"/>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0" name="Text Placeholder 2">
            <a:extLst>
              <a:ext uri="{FF2B5EF4-FFF2-40B4-BE49-F238E27FC236}">
                <a16:creationId xmlns:a16="http://schemas.microsoft.com/office/drawing/2014/main" id="{DBD80426-1F71-4224-85CC-7100F25D6188}"/>
              </a:ext>
            </a:extLst>
          </p:cNvPr>
          <p:cNvSpPr>
            <a:spLocks noGrp="1"/>
          </p:cNvSpPr>
          <p:nvPr>
            <p:ph type="body" sz="quarter" idx="17" hasCustomPrompt="1"/>
          </p:nvPr>
        </p:nvSpPr>
        <p:spPr bwMode="auto">
          <a:xfrm>
            <a:off x="6218238" y="4340613"/>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2" name="Text Placeholder 2">
            <a:extLst>
              <a:ext uri="{FF2B5EF4-FFF2-40B4-BE49-F238E27FC236}">
                <a16:creationId xmlns:a16="http://schemas.microsoft.com/office/drawing/2014/main" id="{AB6B048E-7352-4AE3-A18B-1894C9F95A29}"/>
              </a:ext>
            </a:extLst>
          </p:cNvPr>
          <p:cNvSpPr>
            <a:spLocks noGrp="1"/>
          </p:cNvSpPr>
          <p:nvPr>
            <p:ph type="body" sz="quarter" idx="18" hasCustomPrompt="1"/>
          </p:nvPr>
        </p:nvSpPr>
        <p:spPr bwMode="auto">
          <a:xfrm>
            <a:off x="273050" y="5270659"/>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
        <p:nvSpPr>
          <p:cNvPr id="13" name="Text Placeholder 2">
            <a:extLst>
              <a:ext uri="{FF2B5EF4-FFF2-40B4-BE49-F238E27FC236}">
                <a16:creationId xmlns:a16="http://schemas.microsoft.com/office/drawing/2014/main" id="{53FA523D-41EC-4339-8690-C80B40A469E0}"/>
              </a:ext>
            </a:extLst>
          </p:cNvPr>
          <p:cNvSpPr>
            <a:spLocks noGrp="1"/>
          </p:cNvSpPr>
          <p:nvPr>
            <p:ph type="body" sz="quarter" idx="19" hasCustomPrompt="1"/>
          </p:nvPr>
        </p:nvSpPr>
        <p:spPr bwMode="auto">
          <a:xfrm>
            <a:off x="6218238" y="5270659"/>
            <a:ext cx="5943600" cy="914400"/>
          </a:xfrm>
        </p:spPr>
        <p:txBody>
          <a:bodyPr lIns="164592" tIns="109728" rIns="164592" bIns="109728">
            <a:noAutofit/>
          </a:bodyPr>
          <a:lstStyle>
            <a:lvl1pPr marL="0" indent="0">
              <a:spcBef>
                <a:spcPts val="0"/>
              </a:spcBef>
              <a:buNone/>
              <a:defRPr lang="en-US" sz="24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Tree>
    <p:extLst>
      <p:ext uri="{BB962C8B-B14F-4D97-AF65-F5344CB8AC3E}">
        <p14:creationId xmlns:p14="http://schemas.microsoft.com/office/powerpoint/2010/main" val="1692168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32775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758943"/>
          </a:xfrm>
        </p:spPr>
        <p:txBody>
          <a:bodyPr/>
          <a:lstStyle>
            <a:lvl1pPr marL="0" indent="0">
              <a:buNone/>
              <a:defRPr sz="3300">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1pPr>
            <a:lvl2pPr marL="346553"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2pPr>
            <a:lvl3pPr marL="584607"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3pPr>
            <a:lvl4pPr marL="814563"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4pPr>
            <a:lvl5pPr marL="1050997" indent="0">
              <a:buNone/>
              <a:defRPr>
                <a:gradFill>
                  <a:gsLst>
                    <a:gs pos="8718">
                      <a:srgbClr val="353535"/>
                    </a:gs>
                    <a:gs pos="34000">
                      <a:srgbClr val="353535"/>
                    </a:gs>
                  </a:gsLst>
                  <a:lin ang="5400000" scaled="0"/>
                </a:gradFill>
                <a:latin typeface="Segoe UI" panose="020B0502040204020203" pitchFamily="34" charset="0"/>
                <a:cs typeface="Segoe UI" panose="020B0502040204020203"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615037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35005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8971334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75" marR="0" lvl="1"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75" marR="0" lvl="2"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75" marR="0" lvl="3"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75" marR="0" lvl="4"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258197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31082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93542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527792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532087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401830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610279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74875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41323557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289981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92600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53385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1187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32157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9" y="479425"/>
            <a:ext cx="1451843" cy="310896"/>
          </a:xfrm>
          <a:prstGeom prst="rect">
            <a:avLst/>
          </a:prstGeom>
        </p:spPr>
      </p:pic>
    </p:spTree>
    <p:extLst>
      <p:ext uri="{BB962C8B-B14F-4D97-AF65-F5344CB8AC3E}">
        <p14:creationId xmlns:p14="http://schemas.microsoft.com/office/powerpoint/2010/main" val="26988492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999621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Title Slide">
    <p:bg>
      <p:bgPr>
        <a:solidFill>
          <a:srgbClr val="003878"/>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30552"/>
            <a:ext cx="9143936" cy="1600200"/>
          </a:xfrm>
          <a:noFill/>
        </p:spPr>
        <p:txBody>
          <a:bodyPr lIns="146304" tIns="91440" rIns="146304" bIns="91440" anchor="b" anchorCtr="0"/>
          <a:lstStyle>
            <a:lvl1pPr>
              <a:defRPr sz="47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0" y="3955786"/>
            <a:ext cx="9144000" cy="1828007"/>
          </a:xfrm>
          <a:noFill/>
        </p:spPr>
        <p:txBody>
          <a:bodyPr lIns="182880" tIns="146304" rIns="182880" bIns="146304">
            <a:noAutofit/>
          </a:bodyPr>
          <a:lstStyle>
            <a:lvl1pPr marL="0" indent="0">
              <a:spcBef>
                <a:spcPts val="0"/>
              </a:spcBef>
              <a:spcAft>
                <a:spcPts val="0"/>
              </a:spcAft>
              <a:buFont typeface="Arial" panose="020B0604020202020204" pitchFamily="34" charset="0"/>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0689" y="479425"/>
            <a:ext cx="1451843" cy="310896"/>
          </a:xfrm>
          <a:prstGeom prst="rect">
            <a:avLst/>
          </a:prstGeom>
        </p:spPr>
      </p:pic>
      <p:sp>
        <p:nvSpPr>
          <p:cNvPr id="7" name="TextBox 2">
            <a:extLst>
              <a:ext uri="{FF2B5EF4-FFF2-40B4-BE49-F238E27FC236}">
                <a16:creationId xmlns:a16="http://schemas.microsoft.com/office/drawing/2014/main" id="{8E487E61-EA07-4AF6-B4FA-64765B907B46}"/>
              </a:ext>
            </a:extLst>
          </p:cNvPr>
          <p:cNvSpPr txBox="1"/>
          <p:nvPr userDrawn="1"/>
        </p:nvSpPr>
        <p:spPr>
          <a:xfrm>
            <a:off x="274638" y="6158539"/>
            <a:ext cx="1801720" cy="577937"/>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000">
                <a:gradFill>
                  <a:gsLst>
                    <a:gs pos="2917">
                      <a:schemeClr val="tx1"/>
                    </a:gs>
                    <a:gs pos="30000">
                      <a:schemeClr val="tx1"/>
                    </a:gs>
                  </a:gsLst>
                  <a:lin ang="5400000" scaled="0"/>
                </a:gradFill>
              </a:rPr>
              <a:t>#MSEnvision</a:t>
            </a:r>
          </a:p>
        </p:txBody>
      </p:sp>
    </p:spTree>
    <p:extLst>
      <p:ext uri="{BB962C8B-B14F-4D97-AF65-F5344CB8AC3E}">
        <p14:creationId xmlns:p14="http://schemas.microsoft.com/office/powerpoint/2010/main" val="24723810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76397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60688" y="479425"/>
            <a:ext cx="1451843" cy="310896"/>
          </a:xfrm>
          <a:prstGeom prst="rect">
            <a:avLst/>
          </a:prstGeom>
        </p:spPr>
      </p:pic>
    </p:spTree>
    <p:extLst>
      <p:ext uri="{BB962C8B-B14F-4D97-AF65-F5344CB8AC3E}">
        <p14:creationId xmlns:p14="http://schemas.microsoft.com/office/powerpoint/2010/main" val="15421914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7"/>
            <a:ext cx="6400736" cy="1828800"/>
          </a:xfrm>
          <a:noFill/>
        </p:spPr>
        <p:txBody>
          <a:bodyPr lIns="146304" tIns="91440" rIns="146304" bIns="91440" anchor="t" anchorCtr="0"/>
          <a:lstStyle>
            <a:lvl1pPr>
              <a:defRPr sz="4800" spc="-100" baseline="0">
                <a:solidFill>
                  <a:schemeClr val="tx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2"/>
            <a:ext cx="6402388" cy="664797"/>
          </a:xfrm>
        </p:spPr>
        <p:txBody>
          <a:bodyPr wrap="square" lIns="164592" tIns="109728" rIns="164592" bIns="109728">
            <a:spAutoFit/>
          </a:bodyPr>
          <a:lstStyle>
            <a:lvl1pPr marL="0" indent="0">
              <a:spcBef>
                <a:spcPts val="0"/>
              </a:spcBef>
              <a:buNone/>
              <a:defRPr sz="3200">
                <a:solidFill>
                  <a:schemeClr val="tx1"/>
                </a:solidFill>
                <a:latin typeface="+mn-lt"/>
              </a:defRPr>
            </a:lvl1pPr>
          </a:lstStyle>
          <a:p>
            <a:pPr lvl="0"/>
            <a:r>
              <a:rPr lang="en-US"/>
              <a:t>Speaker name</a:t>
            </a:r>
          </a:p>
        </p:txBody>
      </p:sp>
      <p:pic>
        <p:nvPicPr>
          <p:cNvPr id="17" name="MS logo gray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88" y="6233445"/>
            <a:ext cx="1451843" cy="310896"/>
          </a:xfrm>
          <a:prstGeom prst="rect">
            <a:avLst/>
          </a:prstGeom>
        </p:spPr>
      </p:pic>
    </p:spTree>
    <p:extLst>
      <p:ext uri="{BB962C8B-B14F-4D97-AF65-F5344CB8AC3E}">
        <p14:creationId xmlns:p14="http://schemas.microsoft.com/office/powerpoint/2010/main" val="4197486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88" y="3368481"/>
            <a:ext cx="1451843" cy="310896"/>
          </a:xfrm>
          <a:prstGeom prst="rect">
            <a:avLst/>
          </a:prstGeom>
        </p:spPr>
      </p:pic>
    </p:spTree>
    <p:extLst>
      <p:ext uri="{BB962C8B-B14F-4D97-AF65-F5344CB8AC3E}">
        <p14:creationId xmlns:p14="http://schemas.microsoft.com/office/powerpoint/2010/main" val="20205912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5025026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03878"/>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30552"/>
            <a:ext cx="9143936" cy="1600200"/>
          </a:xfrm>
          <a:noFill/>
        </p:spPr>
        <p:txBody>
          <a:bodyPr lIns="146304" tIns="91440" rIns="146304" bIns="91440" anchor="b" anchorCtr="0"/>
          <a:lstStyle>
            <a:lvl1pPr>
              <a:defRPr sz="48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0" y="3955786"/>
            <a:ext cx="9144000" cy="1828007"/>
          </a:xfrm>
          <a:noFill/>
        </p:spPr>
        <p:txBody>
          <a:bodyPr lIns="182880" tIns="146304" rIns="182880" bIns="146304">
            <a:noAutofit/>
          </a:bodyPr>
          <a:lstStyle>
            <a:lvl1pPr marL="0" indent="0">
              <a:spcBef>
                <a:spcPts val="0"/>
              </a:spcBef>
              <a:spcAft>
                <a:spcPts val="0"/>
              </a:spcAft>
              <a:buFont typeface="Arial" panose="020B0604020202020204" pitchFamily="34" charset="0"/>
              <a:buNone/>
              <a:defRPr sz="28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0688" y="479425"/>
            <a:ext cx="1451843" cy="310896"/>
          </a:xfrm>
          <a:prstGeom prst="rect">
            <a:avLst/>
          </a:prstGeom>
        </p:spPr>
      </p:pic>
      <p:sp>
        <p:nvSpPr>
          <p:cNvPr id="7" name="TextBox 2">
            <a:extLst>
              <a:ext uri="{FF2B5EF4-FFF2-40B4-BE49-F238E27FC236}">
                <a16:creationId xmlns:a16="http://schemas.microsoft.com/office/drawing/2014/main" id="{8E487E61-EA07-4AF6-B4FA-64765B907B46}"/>
              </a:ext>
            </a:extLst>
          </p:cNvPr>
          <p:cNvSpPr txBox="1"/>
          <p:nvPr userDrawn="1"/>
        </p:nvSpPr>
        <p:spPr>
          <a:xfrm>
            <a:off x="274638" y="6158539"/>
            <a:ext cx="1773562" cy="572464"/>
          </a:xfrm>
          <a:prstGeom prst="rect">
            <a:avLst/>
          </a:prstGeom>
          <a:noFill/>
        </p:spPr>
        <p:txBody>
          <a:bodyPr wrap="none" lIns="182880" tIns="146304" rIns="182880" bIns="146304"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000">
                <a:gradFill>
                  <a:gsLst>
                    <a:gs pos="2917">
                      <a:schemeClr val="tx1"/>
                    </a:gs>
                    <a:gs pos="30000">
                      <a:schemeClr val="tx1"/>
                    </a:gs>
                  </a:gsLst>
                  <a:lin ang="5400000" scaled="0"/>
                </a:gradFill>
              </a:rPr>
              <a:t>#MSEnvision</a:t>
            </a:r>
          </a:p>
        </p:txBody>
      </p:sp>
    </p:spTree>
    <p:extLst>
      <p:ext uri="{BB962C8B-B14F-4D97-AF65-F5344CB8AC3E}">
        <p14:creationId xmlns:p14="http://schemas.microsoft.com/office/powerpoint/2010/main" val="31399606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88" y="3368481"/>
            <a:ext cx="1451843" cy="310896"/>
          </a:xfrm>
          <a:prstGeom prst="rect">
            <a:avLst/>
          </a:prstGeom>
        </p:spPr>
      </p:pic>
    </p:spTree>
    <p:extLst>
      <p:ext uri="{BB962C8B-B14F-4D97-AF65-F5344CB8AC3E}">
        <p14:creationId xmlns:p14="http://schemas.microsoft.com/office/powerpoint/2010/main" val="6772864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2_Title with photo and tile">
    <p:spTree>
      <p:nvGrpSpPr>
        <p:cNvPr id="1" name=""/>
        <p:cNvGrpSpPr/>
        <p:nvPr/>
      </p:nvGrpSpPr>
      <p:grpSpPr>
        <a:xfrm>
          <a:off x="0" y="0"/>
          <a:ext cx="0" cy="0"/>
          <a:chOff x="0" y="0"/>
          <a:chExt cx="0" cy="0"/>
        </a:xfrm>
      </p:grpSpPr>
      <p:pic>
        <p:nvPicPr>
          <p:cNvPr id="5" name="Picture 4" descr="A picture containing indoor, person, floor, building&#10;&#10;Description generated with very high confidence">
            <a:extLst>
              <a:ext uri="{FF2B5EF4-FFF2-40B4-BE49-F238E27FC236}">
                <a16:creationId xmlns:a16="http://schemas.microsoft.com/office/drawing/2014/main" id="{56AEA8EA-FFF8-4D86-BD1F-20DCCEB0E64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10" name="Rectangle 9"/>
          <p:cNvSpPr/>
          <p:nvPr userDrawn="1"/>
        </p:nvSpPr>
        <p:spPr bwMode="auto">
          <a:xfrm>
            <a:off x="1" y="0"/>
            <a:ext cx="12436474" cy="6994525"/>
          </a:xfrm>
          <a:prstGeom prst="rect">
            <a:avLst/>
          </a:prstGeom>
          <a:gradFill flip="none" rotWithShape="1">
            <a:gsLst>
              <a:gs pos="22000">
                <a:srgbClr val="000000">
                  <a:alpha val="41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701179"/>
            <a:ext cx="6400736" cy="1828800"/>
          </a:xfrm>
          <a:noFill/>
        </p:spPr>
        <p:txBody>
          <a:bodyPr lIns="146304" tIns="91440" rIns="146304" bIns="91440" anchor="t" anchorCtr="0"/>
          <a:lstStyle>
            <a:lvl1pPr>
              <a:defRPr sz="4800"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868863"/>
            <a:ext cx="6402388"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60688" y="6233445"/>
            <a:ext cx="1451843" cy="310896"/>
          </a:xfrm>
          <a:prstGeom prst="rect">
            <a:avLst/>
          </a:prstGeom>
        </p:spPr>
      </p:pic>
    </p:spTree>
    <p:extLst>
      <p:ext uri="{BB962C8B-B14F-4D97-AF65-F5344CB8AC3E}">
        <p14:creationId xmlns:p14="http://schemas.microsoft.com/office/powerpoint/2010/main" val="2269387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Blank Blue">
    <p:bg bwMode="ltGray">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735749"/>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Only white">
    <p:bg bwMode="gray">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21201"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672">
                <a:solidFill>
                  <a:schemeClr val="tx2"/>
                </a:solidFill>
              </a:defRPr>
            </a:lvl1pPr>
          </a:lstStyle>
          <a:p>
            <a:r>
              <a:rPr lang="en-US"/>
              <a:t>Click to edit Master title style</a:t>
            </a:r>
          </a:p>
        </p:txBody>
      </p:sp>
    </p:spTree>
    <p:extLst>
      <p:ext uri="{BB962C8B-B14F-4D97-AF65-F5344CB8AC3E}">
        <p14:creationId xmlns:p14="http://schemas.microsoft.com/office/powerpoint/2010/main" val="4273409528"/>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Title Only with footer">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spTree>
    <p:extLst>
      <p:ext uri="{BB962C8B-B14F-4D97-AF65-F5344CB8AC3E}">
        <p14:creationId xmlns:p14="http://schemas.microsoft.com/office/powerpoint/2010/main" val="2332032951"/>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Opening Slide Photo 1">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a:xfrm>
            <a:off x="-1" y="0"/>
            <a:ext cx="8256794" cy="6994525"/>
          </a:xfrm>
          <a:prstGeom prst="rect">
            <a:avLst/>
          </a:prstGeom>
          <a:gradFill flip="none" rotWithShape="1">
            <a:gsLst>
              <a:gs pos="0">
                <a:srgbClr val="000000">
                  <a:alpha val="88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992434"/>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p:cNvPicPr>
            <a:picLocks noChangeAspect="1"/>
          </p:cNvPicPr>
          <p:nvPr userDrawn="1"/>
        </p:nvPicPr>
        <p:blipFill>
          <a:blip r:embed="rId3"/>
          <a:stretch>
            <a:fillRect/>
          </a:stretch>
        </p:blipFill>
        <p:spPr>
          <a:xfrm>
            <a:off x="-1" y="-464669"/>
            <a:ext cx="12436476" cy="8281518"/>
          </a:xfrm>
          <a:prstGeom prst="rect">
            <a:avLst/>
          </a:prstGeom>
        </p:spPr>
      </p:pic>
      <p:sp>
        <p:nvSpPr>
          <p:cNvPr id="25" name="Rectangle 24"/>
          <p:cNvSpPr/>
          <p:nvPr userDrawn="1"/>
        </p:nvSpPr>
        <p:spPr>
          <a:xfrm>
            <a:off x="0" y="-468299"/>
            <a:ext cx="11784213" cy="8288779"/>
          </a:xfrm>
          <a:prstGeom prst="rect">
            <a:avLst/>
          </a:prstGeom>
          <a:gradFill flip="none" rotWithShape="1">
            <a:gsLst>
              <a:gs pos="0">
                <a:srgbClr val="000000">
                  <a:alpha val="67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4622" y="6118890"/>
            <a:ext cx="2139074" cy="705036"/>
          </a:xfrm>
          <a:prstGeom prst="rect">
            <a:avLst/>
          </a:prstGeom>
        </p:spPr>
      </p:pic>
      <p:sp>
        <p:nvSpPr>
          <p:cNvPr id="26" name="Text Placeholder 2"/>
          <p:cNvSpPr>
            <a:spLocks noGrp="1"/>
          </p:cNvSpPr>
          <p:nvPr>
            <p:ph type="body" sz="quarter" idx="11"/>
          </p:nvPr>
        </p:nvSpPr>
        <p:spPr>
          <a:xfrm>
            <a:off x="474877" y="2199679"/>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94885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Picture 2"/>
          <p:cNvPicPr>
            <a:picLocks noChangeAspect="1" noChangeArrowheads="1"/>
          </p:cNvPicPr>
          <p:nvPr userDrawn="1"/>
        </p:nvPicPr>
        <p:blipFill>
          <a:blip r:embed="rId2"/>
          <a:stretch>
            <a:fillRect/>
          </a:stretch>
        </p:blipFill>
        <p:spPr bwMode="auto">
          <a:xfrm>
            <a:off x="0" y="3110"/>
            <a:ext cx="12436475" cy="698830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userDrawn="1"/>
        </p:nvSpPr>
        <p:spPr>
          <a:xfrm>
            <a:off x="1" y="0"/>
            <a:ext cx="10095489" cy="6994525"/>
          </a:xfrm>
          <a:prstGeom prst="rect">
            <a:avLst/>
          </a:prstGeom>
          <a:gradFill flip="none" rotWithShape="1">
            <a:gsLst>
              <a:gs pos="0">
                <a:srgbClr val="000000">
                  <a:alpha val="82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grpSp>
        <p:nvGrpSpPr>
          <p:cNvPr id="5" name="Group 4"/>
          <p:cNvGrpSpPr/>
          <p:nvPr userDrawn="1"/>
        </p:nvGrpSpPr>
        <p:grpSpPr>
          <a:xfrm>
            <a:off x="489601" y="581283"/>
            <a:ext cx="2062218" cy="439224"/>
            <a:chOff x="416178" y="1279456"/>
            <a:chExt cx="2021678" cy="430650"/>
          </a:xfrm>
        </p:grpSpPr>
        <p:sp>
          <p:nvSpPr>
            <p:cNvPr id="6"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7"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8"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9"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0"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1"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18" name="Pictur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19" name="Text Placeholder 2"/>
          <p:cNvSpPr>
            <a:spLocks noGrp="1"/>
          </p:cNvSpPr>
          <p:nvPr>
            <p:ph type="body" sz="quarter" idx="10"/>
          </p:nvPr>
        </p:nvSpPr>
        <p:spPr>
          <a:xfrm>
            <a:off x="267602" y="1992434"/>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136110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Opening Slide Photo 5">
    <p:bg>
      <p:bgPr>
        <a:solidFill>
          <a:schemeClr val="accent1"/>
        </a:solidFill>
        <a:effectLst/>
      </p:bgPr>
    </p:bg>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a:stretch>
            <a:fillRect/>
          </a:stretch>
        </p:blipFill>
        <p:spPr>
          <a:xfrm>
            <a:off x="2" y="-1"/>
            <a:ext cx="12436474" cy="6994526"/>
          </a:xfrm>
          <a:prstGeom prst="rect">
            <a:avLst/>
          </a:prstGeom>
        </p:spPr>
      </p:pic>
      <p:sp>
        <p:nvSpPr>
          <p:cNvPr id="2" name="Rectangle 1"/>
          <p:cNvSpPr/>
          <p:nvPr userDrawn="1"/>
        </p:nvSpPr>
        <p:spPr>
          <a:xfrm>
            <a:off x="1" y="0"/>
            <a:ext cx="7739875" cy="6994525"/>
          </a:xfrm>
          <a:prstGeom prst="rect">
            <a:avLst/>
          </a:prstGeom>
          <a:gradFill flip="none" rotWithShape="1">
            <a:gsLst>
              <a:gs pos="0">
                <a:srgbClr val="000000">
                  <a:alpha val="67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992434"/>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86163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1960537"/>
          </a:xfrm>
          <a:prstGeom prst="rect">
            <a:avLst/>
          </a:prstGeom>
        </p:spPr>
        <p:txBody>
          <a:bodyPr/>
          <a:lstStyle>
            <a:lvl1pPr marL="0" indent="0">
              <a:buClr>
                <a:schemeClr val="tx1"/>
              </a:buClr>
              <a:buSzPct val="90000"/>
              <a:buFont typeface="Arial" pitchFamily="34" charset="0"/>
              <a:buNone/>
              <a:defRPr sz="2800" b="0" i="0">
                <a:gradFill>
                  <a:gsLst>
                    <a:gs pos="1250">
                      <a:schemeClr val="tx1"/>
                    </a:gs>
                    <a:gs pos="100000">
                      <a:schemeClr val="tx1"/>
                    </a:gs>
                  </a:gsLst>
                  <a:lin ang="5400000" scaled="0"/>
                </a:gradFill>
                <a:latin typeface="+mn-lt"/>
                <a:ea typeface="Segoe UI" pitchFamily="34" charset="0"/>
                <a:cs typeface="Segoe UI" pitchFamily="34" charset="0"/>
              </a:defRPr>
            </a:lvl1pPr>
            <a:lvl2pPr marL="290512" indent="0">
              <a:buClr>
                <a:schemeClr val="tx1"/>
              </a:buClr>
              <a:buSzPct val="90000"/>
              <a:buFont typeface="Arial" pitchFamily="34" charset="0"/>
              <a:buNone/>
              <a:defRPr sz="2400" b="0" i="0">
                <a:gradFill>
                  <a:gsLst>
                    <a:gs pos="1250">
                      <a:schemeClr val="tx1"/>
                    </a:gs>
                    <a:gs pos="100000">
                      <a:schemeClr val="tx1"/>
                    </a:gs>
                  </a:gsLst>
                  <a:lin ang="5400000" scaled="0"/>
                </a:gradFill>
                <a:latin typeface="+mn-lt"/>
                <a:ea typeface="Segoe UI" pitchFamily="34" charset="0"/>
                <a:cs typeface="Segoe UI" pitchFamily="34" charset="0"/>
              </a:defRPr>
            </a:lvl2pPr>
            <a:lvl3pPr marL="571500" indent="0">
              <a:buClr>
                <a:schemeClr val="tx1"/>
              </a:buClr>
              <a:buSzPct val="90000"/>
              <a:buFont typeface="Arial" pitchFamily="34" charset="0"/>
              <a:buNone/>
              <a:defRPr sz="2000" b="0" i="0">
                <a:gradFill>
                  <a:gsLst>
                    <a:gs pos="1250">
                      <a:schemeClr val="tx1"/>
                    </a:gs>
                    <a:gs pos="100000">
                      <a:schemeClr val="tx1"/>
                    </a:gs>
                  </a:gsLst>
                  <a:lin ang="5400000" scaled="0"/>
                </a:gradFill>
                <a:latin typeface="+mn-lt"/>
                <a:ea typeface="Segoe UI" pitchFamily="34" charset="0"/>
                <a:cs typeface="Segoe UI" pitchFamily="34" charset="0"/>
              </a:defRPr>
            </a:lvl3pPr>
            <a:lvl4pPr marL="862013" indent="0">
              <a:buClr>
                <a:schemeClr val="tx1"/>
              </a:buClr>
              <a:buSzPct val="90000"/>
              <a:buFont typeface="Arial" pitchFamily="34" charset="0"/>
              <a:buNone/>
              <a:defRPr sz="1800" b="0" i="0">
                <a:gradFill>
                  <a:gsLst>
                    <a:gs pos="1250">
                      <a:schemeClr val="tx1"/>
                    </a:gs>
                    <a:gs pos="100000">
                      <a:schemeClr val="tx1"/>
                    </a:gs>
                  </a:gsLst>
                  <a:lin ang="5400000" scaled="0"/>
                </a:gradFill>
                <a:latin typeface="+mn-lt"/>
                <a:ea typeface="Segoe UI" pitchFamily="34" charset="0"/>
                <a:cs typeface="Segoe UI" pitchFamily="34" charset="0"/>
              </a:defRPr>
            </a:lvl4pPr>
            <a:lvl5pPr marL="1090613" indent="0">
              <a:buClr>
                <a:schemeClr val="tx1"/>
              </a:buClr>
              <a:buSzPct val="90000"/>
              <a:buFont typeface="Arial" pitchFamily="34" charset="0"/>
              <a:buNone/>
              <a:defRPr sz="1600"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64329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Opening Slide Photo 6">
    <p:bg>
      <p:bgPr>
        <a:solidFill>
          <a:schemeClr val="accent1"/>
        </a:solidFill>
        <a:effectLst/>
      </p:bgPr>
    </p:bg>
    <p:spTree>
      <p:nvGrpSpPr>
        <p:cNvPr id="1" name=""/>
        <p:cNvGrpSpPr/>
        <p:nvPr/>
      </p:nvGrpSpPr>
      <p:grpSpPr>
        <a:xfrm>
          <a:off x="0" y="0"/>
          <a:ext cx="0" cy="0"/>
          <a:chOff x="0" y="0"/>
          <a:chExt cx="0" cy="0"/>
        </a:xfrm>
      </p:grpSpPr>
      <p:pic>
        <p:nvPicPr>
          <p:cNvPr id="25" name="Picture 24"/>
          <p:cNvPicPr>
            <a:picLocks noChangeAspect="1"/>
          </p:cNvPicPr>
          <p:nvPr userDrawn="1"/>
        </p:nvPicPr>
        <p:blipFill>
          <a:blip r:embed="rId2"/>
          <a:stretch>
            <a:fillRect/>
          </a:stretch>
        </p:blipFill>
        <p:spPr>
          <a:xfrm>
            <a:off x="1" y="0"/>
            <a:ext cx="12436475" cy="6994525"/>
          </a:xfrm>
          <a:prstGeom prst="rect">
            <a:avLst/>
          </a:prstGeom>
        </p:spPr>
      </p:pic>
      <p:sp>
        <p:nvSpPr>
          <p:cNvPr id="2" name="Rectangle 1"/>
          <p:cNvSpPr/>
          <p:nvPr userDrawn="1"/>
        </p:nvSpPr>
        <p:spPr>
          <a:xfrm>
            <a:off x="1" y="0"/>
            <a:ext cx="7739875" cy="6994525"/>
          </a:xfrm>
          <a:prstGeom prst="rect">
            <a:avLst/>
          </a:prstGeom>
          <a:gradFill flip="none" rotWithShape="1">
            <a:gsLst>
              <a:gs pos="0">
                <a:srgbClr val="000000">
                  <a:alpha val="67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992434"/>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70810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Opening Slide Photo 6">
    <p:bg>
      <p:bgPr>
        <a:solidFill>
          <a:schemeClr val="accent1"/>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userDrawn="1"/>
        </p:nvPicPr>
        <p:blipFill>
          <a:blip r:embed="rId2"/>
          <a:stretch>
            <a:fill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1" y="0"/>
            <a:ext cx="7739875" cy="6994525"/>
          </a:xfrm>
          <a:prstGeom prst="rect">
            <a:avLst/>
          </a:prstGeom>
          <a:gradFill flip="none" rotWithShape="1">
            <a:gsLst>
              <a:gs pos="0">
                <a:srgbClr val="000000">
                  <a:alpha val="67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992434"/>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5724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3_Opening Slide Photo 6">
    <p:bg>
      <p:bgPr>
        <a:solidFill>
          <a:schemeClr val="accent1"/>
        </a:solidFill>
        <a:effectLst/>
      </p:bgPr>
    </p:bg>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a:stretch>
            <a:fillRect/>
          </a:stretch>
        </p:blipFill>
        <p:spPr bwMode="auto">
          <a:xfrm>
            <a:off x="-1" y="3107"/>
            <a:ext cx="12436476" cy="6988308"/>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userDrawn="1"/>
        </p:nvSpPr>
        <p:spPr>
          <a:xfrm>
            <a:off x="1" y="0"/>
            <a:ext cx="7739875" cy="6994525"/>
          </a:xfrm>
          <a:prstGeom prst="rect">
            <a:avLst/>
          </a:prstGeom>
          <a:gradFill flip="none" rotWithShape="1">
            <a:gsLst>
              <a:gs pos="0">
                <a:srgbClr val="000000">
                  <a:alpha val="67000"/>
                </a:srgbClr>
              </a:gs>
              <a:gs pos="100000">
                <a:srgbClr val="000000">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992434"/>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28612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_Opening Slide Photo 6">
    <p:bg>
      <p:bgPr>
        <a:solidFill>
          <a:schemeClr val="accent1"/>
        </a:solidFill>
        <a:effectLst/>
      </p:bgPr>
    </p:bg>
    <p:spTree>
      <p:nvGrpSpPr>
        <p:cNvPr id="1" name=""/>
        <p:cNvGrpSpPr/>
        <p:nvPr/>
      </p:nvGrpSpPr>
      <p:grpSpPr>
        <a:xfrm>
          <a:off x="0" y="0"/>
          <a:ext cx="0" cy="0"/>
          <a:chOff x="0" y="0"/>
          <a:chExt cx="0" cy="0"/>
        </a:xfrm>
      </p:grpSpPr>
      <p:pic>
        <p:nvPicPr>
          <p:cNvPr id="6148" name="Picture 4"/>
          <p:cNvPicPr>
            <a:picLocks noChangeAspect="1" noChangeArrowheads="1"/>
          </p:cNvPicPr>
          <p:nvPr userDrawn="1"/>
        </p:nvPicPr>
        <p:blipFill>
          <a:blip r:embed="rId2"/>
          <a:stretch>
            <a:fillRect/>
          </a:stretch>
        </p:blipFill>
        <p:spPr bwMode="auto">
          <a:xfrm>
            <a:off x="1431296" y="0"/>
            <a:ext cx="11005179" cy="6994525"/>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1" y="0"/>
            <a:ext cx="6691082" cy="6994525"/>
          </a:xfrm>
          <a:prstGeom prst="rect">
            <a:avLst/>
          </a:prstGeom>
          <a:gradFill flip="none" rotWithShape="1">
            <a:gsLst>
              <a:gs pos="39000">
                <a:schemeClr val="bg1"/>
              </a:gs>
              <a:gs pos="100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pic>
        <p:nvPicPr>
          <p:cNvPr id="34" name="Picture 3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7350" y="5911645"/>
            <a:ext cx="2139070" cy="705036"/>
          </a:xfrm>
          <a:prstGeom prst="rect">
            <a:avLst/>
          </a:prstGeom>
        </p:spPr>
      </p:pic>
      <p:sp>
        <p:nvSpPr>
          <p:cNvPr id="35" name="Text Placeholder 2"/>
          <p:cNvSpPr>
            <a:spLocks noGrp="1"/>
          </p:cNvSpPr>
          <p:nvPr>
            <p:ph type="body" sz="quarter" idx="10"/>
          </p:nvPr>
        </p:nvSpPr>
        <p:spPr>
          <a:xfrm>
            <a:off x="267602" y="1992434"/>
            <a:ext cx="6688924" cy="3963564"/>
          </a:xfrm>
        </p:spPr>
        <p:txBody>
          <a:bodyPr/>
          <a:lstStyle>
            <a:lvl1pPr>
              <a:defRPr sz="5440">
                <a:solidFill>
                  <a:schemeClr val="tx2"/>
                </a:solidFill>
              </a:defRPr>
            </a:lvl1pPr>
            <a:lvl2pPr>
              <a:defRPr sz="3808">
                <a:solidFill>
                  <a:schemeClr val="tx2"/>
                </a:solidFill>
                <a:latin typeface="+mj-lt"/>
              </a:defRPr>
            </a:lvl2pPr>
            <a:lvl3pPr marL="4858" indent="0">
              <a:buNone/>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4" name="Picture 23"/>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01274" y="315802"/>
            <a:ext cx="2596933" cy="955130"/>
          </a:xfrm>
          <a:prstGeom prst="rect">
            <a:avLst/>
          </a:prstGeom>
        </p:spPr>
      </p:pic>
    </p:spTree>
    <p:extLst>
      <p:ext uri="{BB962C8B-B14F-4D97-AF65-F5344CB8AC3E}">
        <p14:creationId xmlns:p14="http://schemas.microsoft.com/office/powerpoint/2010/main" val="34418084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Opening Slide 1">
    <p:bg>
      <p:bgPr>
        <a:gradFill>
          <a:gsLst>
            <a:gs pos="4000">
              <a:srgbClr val="0094DA"/>
            </a:gs>
            <a:gs pos="100000">
              <a:schemeClr val="accent1"/>
            </a:gs>
          </a:gsLst>
          <a:path path="circle">
            <a:fillToRect l="50000" t="50000" r="50000" b="50000"/>
          </a:path>
        </a:gradFill>
        <a:effectLst/>
      </p:bgPr>
    </p:bg>
    <p:spTree>
      <p:nvGrpSpPr>
        <p:cNvPr id="1" name=""/>
        <p:cNvGrpSpPr/>
        <p:nvPr/>
      </p:nvGrpSpPr>
      <p:grpSpPr>
        <a:xfrm>
          <a:off x="0" y="0"/>
          <a:ext cx="0" cy="0"/>
          <a:chOff x="0" y="0"/>
          <a:chExt cx="0" cy="0"/>
        </a:xfrm>
      </p:grpSpPr>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3" name="Text Placeholder 2"/>
          <p:cNvSpPr>
            <a:spLocks noGrp="1"/>
          </p:cNvSpPr>
          <p:nvPr>
            <p:ph type="body" sz="quarter" idx="10"/>
          </p:nvPr>
        </p:nvSpPr>
        <p:spPr>
          <a:xfrm>
            <a:off x="267602" y="1992434"/>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664123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Opening Slide 2">
    <p:bg>
      <p:bgPr>
        <a:solidFill>
          <a:schemeClr val="bg2"/>
        </a:solidFill>
        <a:effectLst/>
      </p:bgPr>
    </p:bg>
    <p:spTree>
      <p:nvGrpSpPr>
        <p:cNvPr id="1" name=""/>
        <p:cNvGrpSpPr/>
        <p:nvPr/>
      </p:nvGrpSpPr>
      <p:grpSpPr>
        <a:xfrm>
          <a:off x="0" y="0"/>
          <a:ext cx="0" cy="0"/>
          <a:chOff x="0" y="0"/>
          <a:chExt cx="0" cy="0"/>
        </a:xfrm>
      </p:grpSpPr>
      <p:sp>
        <p:nvSpPr>
          <p:cNvPr id="26" name="Rectangle 25"/>
          <p:cNvSpPr/>
          <p:nvPr userDrawn="1"/>
        </p:nvSpPr>
        <p:spPr>
          <a:xfrm>
            <a:off x="0" y="0"/>
            <a:ext cx="12436475" cy="6994525"/>
          </a:xfrm>
          <a:prstGeom prst="rect">
            <a:avLst/>
          </a:prstGeom>
          <a:gradFill flip="none" rotWithShape="1">
            <a:gsLst>
              <a:gs pos="100000">
                <a:schemeClr val="tx1">
                  <a:lumMod val="20000"/>
                  <a:lumOff val="80000"/>
                </a:schemeClr>
              </a:gs>
              <a:gs pos="35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1274" y="315802"/>
            <a:ext cx="2596933" cy="955130"/>
          </a:xfrm>
          <a:prstGeom prst="rect">
            <a:avLst/>
          </a:prstGeom>
        </p:spPr>
      </p:pic>
      <p:sp>
        <p:nvSpPr>
          <p:cNvPr id="14" name="Text Placeholder 2"/>
          <p:cNvSpPr>
            <a:spLocks noGrp="1"/>
          </p:cNvSpPr>
          <p:nvPr>
            <p:ph type="body" sz="quarter" idx="10"/>
          </p:nvPr>
        </p:nvSpPr>
        <p:spPr>
          <a:xfrm>
            <a:off x="267602" y="1992434"/>
            <a:ext cx="6688924" cy="3963564"/>
          </a:xfrm>
        </p:spPr>
        <p:txBody>
          <a:bodyPr/>
          <a:lstStyle>
            <a:lvl1pPr>
              <a:defRPr sz="5440">
                <a:solidFill>
                  <a:schemeClr val="tx1"/>
                </a:solidFill>
              </a:defRPr>
            </a:lvl1pPr>
            <a:lvl2pPr>
              <a:defRPr sz="3808">
                <a:solidFill>
                  <a:schemeClr val="accent2"/>
                </a:solidFill>
                <a:latin typeface="+mj-lt"/>
              </a:defRPr>
            </a:lvl2pPr>
            <a:lvl3pPr marL="4858" indent="0">
              <a:buNone/>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7348" y="5911645"/>
            <a:ext cx="2139074" cy="705038"/>
          </a:xfrm>
          <a:prstGeom prst="rect">
            <a:avLst/>
          </a:prstGeom>
        </p:spPr>
      </p:pic>
    </p:spTree>
    <p:extLst>
      <p:ext uri="{BB962C8B-B14F-4D97-AF65-F5344CB8AC3E}">
        <p14:creationId xmlns:p14="http://schemas.microsoft.com/office/powerpoint/2010/main" val="39978896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Opening Slide 3">
    <p:bg>
      <p:bgPr>
        <a:solidFill>
          <a:schemeClr val="accent1"/>
        </a:solidFill>
        <a:effectLst/>
      </p:bgPr>
    </p:bg>
    <p:spTree>
      <p:nvGrpSpPr>
        <p:cNvPr id="1" name=""/>
        <p:cNvGrpSpPr/>
        <p:nvPr/>
      </p:nvGrpSpPr>
      <p:grpSpPr>
        <a:xfrm>
          <a:off x="0" y="0"/>
          <a:ext cx="0" cy="0"/>
          <a:chOff x="0" y="0"/>
          <a:chExt cx="0" cy="0"/>
        </a:xfrm>
      </p:grpSpPr>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992434"/>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8837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Opening Slide 4">
    <p:bg>
      <p:bgPr>
        <a:solidFill>
          <a:schemeClr val="accent2"/>
        </a:solidFill>
        <a:effectLst/>
      </p:bgPr>
    </p:bg>
    <p:spTree>
      <p:nvGrpSpPr>
        <p:cNvPr id="1" name=""/>
        <p:cNvGrpSpPr/>
        <p:nvPr/>
      </p:nvGrpSpPr>
      <p:grpSpPr>
        <a:xfrm>
          <a:off x="0" y="0"/>
          <a:ext cx="0" cy="0"/>
          <a:chOff x="0" y="0"/>
          <a:chExt cx="0" cy="0"/>
        </a:xfrm>
      </p:grpSpPr>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4" name="Text Placeholder 2"/>
          <p:cNvSpPr>
            <a:spLocks noGrp="1"/>
          </p:cNvSpPr>
          <p:nvPr>
            <p:ph type="body" sz="quarter" idx="10"/>
          </p:nvPr>
        </p:nvSpPr>
        <p:spPr>
          <a:xfrm>
            <a:off x="267602" y="1992434"/>
            <a:ext cx="6688924" cy="3963564"/>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42058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Title Slide products 1">
    <p:bg>
      <p:bgPr>
        <a:solidFill>
          <a:schemeClr val="tx2"/>
        </a:solidFill>
        <a:effectLst/>
      </p:bgPr>
    </p:bg>
    <p:spTree>
      <p:nvGrpSpPr>
        <p:cNvPr id="1" name=""/>
        <p:cNvGrpSpPr/>
        <p:nvPr/>
      </p:nvGrpSpPr>
      <p:grpSpPr>
        <a:xfrm>
          <a:off x="0" y="0"/>
          <a:ext cx="0" cy="0"/>
          <a:chOff x="0" y="0"/>
          <a:chExt cx="0" cy="0"/>
        </a:xfrm>
      </p:grpSpPr>
      <p:sp>
        <p:nvSpPr>
          <p:cNvPr id="2" name="Rectangle 1"/>
          <p:cNvSpPr/>
          <p:nvPr userDrawn="1"/>
        </p:nvSpPr>
        <p:spPr>
          <a:xfrm>
            <a:off x="0" y="5514524"/>
            <a:ext cx="12436475" cy="1483987"/>
          </a:xfrm>
          <a:prstGeom prst="rect">
            <a:avLst/>
          </a:prstGeom>
          <a:solidFill>
            <a:srgbClr val="FFFFFF">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3" y="1792511"/>
            <a:ext cx="6815781" cy="3805948"/>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4" name="Picture 2" descr="C:\working\gac as of 04.20.13\Prime8\MSC\MSC branding\new product imagery\Surfacehub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6031419" y="5928122"/>
            <a:ext cx="1315670" cy="72855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 descr="C:\working\gac as of 04.20.13\Prime8\MSC\MSC branding\new product imagery\hololens2_edited.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4672159" y="6030771"/>
            <a:ext cx="1087815" cy="54058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userDrawn="1"/>
        </p:nvPicPr>
        <p:blipFill rotWithShape="1">
          <a:blip r:embed="rId5">
            <a:extLst>
              <a:ext uri="{BEBA8EAE-BF5A-486C-A8C5-ECC9F3942E4B}">
                <a14:imgProps xmlns:a14="http://schemas.microsoft.com/office/drawing/2010/main">
                  <a14:imgLayer r:embed="rId6">
                    <a14:imgEffect>
                      <a14:backgroundRemoval t="2283" b="95662" l="9769" r="92674">
                        <a14:foregroundMark x1="37918" y1="81279" x2="37918" y2="81279"/>
                        <a14:foregroundMark x1="84704" y1="75342" x2="84704" y2="75342"/>
                        <a14:foregroundMark x1="84704" y1="78995" x2="84704" y2="78995"/>
                      </a14:backgroundRemoval>
                    </a14:imgEffect>
                  </a14:imgLayer>
                </a14:imgProps>
              </a:ext>
            </a:extLst>
          </a:blip>
          <a:srcRect r="16262"/>
          <a:stretch/>
        </p:blipFill>
        <p:spPr>
          <a:xfrm>
            <a:off x="10558315" y="5793455"/>
            <a:ext cx="1350699" cy="907968"/>
          </a:xfrm>
          <a:prstGeom prst="rect">
            <a:avLst/>
          </a:prstGeom>
        </p:spPr>
      </p:pic>
      <p:pic>
        <p:nvPicPr>
          <p:cNvPr id="32" name="Picture 3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507864" y="5795771"/>
            <a:ext cx="1638444" cy="921493"/>
          </a:xfrm>
          <a:prstGeom prst="rect">
            <a:avLst/>
          </a:prstGeom>
        </p:spPr>
      </p:pic>
      <p:pic>
        <p:nvPicPr>
          <p:cNvPr id="33" name="Picture 32"/>
          <p:cNvPicPr/>
          <p:nvPr userDrawn="1"/>
        </p:nvPicPr>
        <p:blipFill rotWithShape="1">
          <a:blip r:embed="rId8" cstate="screen">
            <a:extLst>
              <a:ext uri="{28A0092B-C50C-407E-A947-70E740481C1C}">
                <a14:useLocalDpi xmlns:a14="http://schemas.microsoft.com/office/drawing/2010/main"/>
              </a:ext>
            </a:extLst>
          </a:blip>
          <a:srcRect/>
          <a:stretch/>
        </p:blipFill>
        <p:spPr>
          <a:xfrm>
            <a:off x="2641829" y="6032540"/>
            <a:ext cx="1759322" cy="554403"/>
          </a:xfrm>
          <a:prstGeom prst="rect">
            <a:avLst/>
          </a:prstGeom>
          <a:noFill/>
          <a:effectLst>
            <a:reflection blurRad="76200" stA="50000" endA="300" endPos="55500" dir="5400000" sy="-100000" algn="bl" rotWithShape="0"/>
          </a:effectLst>
        </p:spPr>
      </p:pic>
      <p:pic>
        <p:nvPicPr>
          <p:cNvPr id="36" name="Picture 35"/>
          <p:cNvPicPr>
            <a:picLocks noChangeAspect="1"/>
          </p:cNvPicPr>
          <p:nvPr userDrawn="1"/>
        </p:nvPicPr>
        <p:blipFill>
          <a:blip r:embed="rId9">
            <a:extLst>
              <a:ext uri="{BEBA8EAE-BF5A-486C-A8C5-ECC9F3942E4B}">
                <a14:imgProps xmlns:a14="http://schemas.microsoft.com/office/drawing/2010/main">
                  <a14:imgLayer r:embed="rId10">
                    <a14:imgEffect>
                      <a14:backgroundRemoval t="10000" b="90000" l="10000" r="90000">
                        <a14:foregroundMark x1="10026" y1="19635" x2="10026" y2="19635"/>
                      </a14:backgroundRemoval>
                    </a14:imgEffect>
                  </a14:imgLayer>
                </a14:imgProps>
              </a:ext>
            </a:extLst>
          </a:blip>
          <a:stretch>
            <a:fillRect/>
          </a:stretch>
        </p:blipFill>
        <p:spPr>
          <a:xfrm>
            <a:off x="8977357" y="5795993"/>
            <a:ext cx="1846475" cy="1039385"/>
          </a:xfrm>
          <a:prstGeom prst="rect">
            <a:avLst/>
          </a:prstGeom>
        </p:spPr>
      </p:pic>
    </p:spTree>
    <p:extLst>
      <p:ext uri="{BB962C8B-B14F-4D97-AF65-F5344CB8AC3E}">
        <p14:creationId xmlns:p14="http://schemas.microsoft.com/office/powerpoint/2010/main" val="27195179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Title Slide products 3">
    <p:bg>
      <p:bgPr>
        <a:solidFill>
          <a:schemeClr val="tx2"/>
        </a:solidFill>
        <a:effectLst/>
      </p:bgPr>
    </p:bg>
    <p:spTree>
      <p:nvGrpSpPr>
        <p:cNvPr id="1" name=""/>
        <p:cNvGrpSpPr/>
        <p:nvPr/>
      </p:nvGrpSpPr>
      <p:grpSpPr>
        <a:xfrm>
          <a:off x="0" y="0"/>
          <a:ext cx="0" cy="0"/>
          <a:chOff x="0" y="0"/>
          <a:chExt cx="0" cy="0"/>
        </a:xfrm>
      </p:grpSpPr>
      <p:sp>
        <p:nvSpPr>
          <p:cNvPr id="42" name="Rectangle 41"/>
          <p:cNvSpPr/>
          <p:nvPr userDrawn="1"/>
        </p:nvSpPr>
        <p:spPr>
          <a:xfrm rot="5400000">
            <a:off x="7985635" y="2575466"/>
            <a:ext cx="6980203" cy="1857920"/>
          </a:xfrm>
          <a:prstGeom prst="rect">
            <a:avLst/>
          </a:prstGeom>
          <a:solidFill>
            <a:srgbClr val="FFFFFF">
              <a:alpha val="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pic>
        <p:nvPicPr>
          <p:cNvPr id="24" name="Picture 2" descr="C:\working\gac as of 04.20.13\Prime8\MSC\MSC branding\new product imagery\Surfacehub1.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636097" y="4471900"/>
            <a:ext cx="1701639" cy="94229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792511"/>
            <a:ext cx="7348775" cy="3805948"/>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6" name="Picture 25"/>
          <p:cNvPicPr>
            <a:picLocks noChangeAspect="1"/>
          </p:cNvPicPr>
          <p:nvPr userDrawn="1"/>
        </p:nvPicPr>
        <p:blipFill rotWithShape="1">
          <a:blip r:embed="rId4">
            <a:extLst>
              <a:ext uri="{BEBA8EAE-BF5A-486C-A8C5-ECC9F3942E4B}">
                <a14:imgProps xmlns:a14="http://schemas.microsoft.com/office/drawing/2010/main">
                  <a14:imgLayer r:embed="rId5">
                    <a14:imgEffect>
                      <a14:backgroundRemoval t="2283" b="95662" l="9769" r="92674">
                        <a14:foregroundMark x1="37918" y1="81279" x2="37918" y2="81279"/>
                        <a14:foregroundMark x1="84704" y1="75342" x2="84704" y2="75342"/>
                        <a14:foregroundMark x1="84704" y1="78995" x2="84704" y2="78995"/>
                      </a14:backgroundRemoval>
                    </a14:imgEffect>
                  </a14:imgLayer>
                </a14:imgProps>
              </a:ext>
            </a:extLst>
          </a:blip>
          <a:srcRect r="16036"/>
          <a:stretch/>
        </p:blipFill>
        <p:spPr>
          <a:xfrm>
            <a:off x="10407101" y="5768800"/>
            <a:ext cx="1897002" cy="1271774"/>
          </a:xfrm>
          <a:prstGeom prst="rect">
            <a:avLst/>
          </a:prstGeom>
        </p:spPr>
      </p:pic>
      <p:pic>
        <p:nvPicPr>
          <p:cNvPr id="27" name="Picture 2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632110" y="220844"/>
            <a:ext cx="1705626" cy="959279"/>
          </a:xfrm>
          <a:prstGeom prst="rect">
            <a:avLst/>
          </a:prstGeom>
        </p:spPr>
      </p:pic>
      <p:pic>
        <p:nvPicPr>
          <p:cNvPr id="28" name="Picture 3" descr="C:\working\gac as of 04.20.13\Prime8\MSC\MSC branding\new product imagery\hololens2_edited.png"/>
          <p:cNvPicPr>
            <a:picLocks noChangeAspect="1" noChangeArrowheads="1"/>
          </p:cNvPicPr>
          <p:nvPr userDrawn="1"/>
        </p:nvPicPr>
        <p:blipFill>
          <a:blip r:embed="rId7" cstate="screen">
            <a:extLst>
              <a:ext uri="{28A0092B-C50C-407E-A947-70E740481C1C}">
                <a14:useLocalDpi xmlns:a14="http://schemas.microsoft.com/office/drawing/2010/main"/>
              </a:ext>
            </a:extLst>
          </a:blip>
          <a:srcRect/>
          <a:stretch>
            <a:fillRect/>
          </a:stretch>
        </p:blipFill>
        <p:spPr bwMode="auto">
          <a:xfrm>
            <a:off x="10998713" y="3399291"/>
            <a:ext cx="1192044" cy="592385"/>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193400" y="1342182"/>
            <a:ext cx="2324402" cy="1549381"/>
          </a:xfrm>
          <a:prstGeom prst="rect">
            <a:avLst/>
          </a:prstGeom>
        </p:spPr>
      </p:pic>
    </p:spTree>
    <p:extLst>
      <p:ext uri="{BB962C8B-B14F-4D97-AF65-F5344CB8AC3E}">
        <p14:creationId xmlns:p14="http://schemas.microsoft.com/office/powerpoint/2010/main" val="41141772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3" y="1623"/>
          <a:ext cx="1619" cy="1619"/>
        </p:xfrm>
        <a:graphic>
          <a:graphicData uri="http://schemas.openxmlformats.org/presentationml/2006/ole">
            <mc:AlternateContent xmlns:mc="http://schemas.openxmlformats.org/markup-compatibility/2006">
              <mc:Choice xmlns:v="urn:schemas-microsoft-com:vml" Requires="v">
                <p:oleObj spid="_x0000_s24593" name="think-cell Slide" r:id="rId4" imgW="425" imgH="426" progId="TCLayout.ActiveDocument.1">
                  <p:embed/>
                </p:oleObj>
              </mc:Choice>
              <mc:Fallback>
                <p:oleObj name="think-cell Slide" r:id="rId4" imgW="425" imgH="426" progId="TCLayout.ActiveDocument.1">
                  <p:embed/>
                  <p:pic>
                    <p:nvPicPr>
                      <p:cNvPr id="3" name="Object 2" hidden="1"/>
                      <p:cNvPicPr/>
                      <p:nvPr/>
                    </p:nvPicPr>
                    <p:blipFill>
                      <a:blip r:embed="rId5"/>
                      <a:stretch>
                        <a:fillRect/>
                      </a:stretch>
                    </p:blipFill>
                    <p:spPr>
                      <a:xfrm>
                        <a:off x="1623" y="1623"/>
                        <a:ext cx="1619" cy="1619"/>
                      </a:xfrm>
                      <a:prstGeom prst="rect">
                        <a:avLst/>
                      </a:prstGeom>
                    </p:spPr>
                  </p:pic>
                </p:oleObj>
              </mc:Fallback>
            </mc:AlternateContent>
          </a:graphicData>
        </a:graphic>
      </p:graphicFrame>
      <p:sp>
        <p:nvSpPr>
          <p:cNvPr id="2" name="Title 1"/>
          <p:cNvSpPr>
            <a:spLocks noGrp="1"/>
          </p:cNvSpPr>
          <p:nvPr>
            <p:ph type="title"/>
          </p:nvPr>
        </p:nvSpPr>
        <p:spPr>
          <a:xfrm>
            <a:off x="342003" y="611373"/>
            <a:ext cx="11783560" cy="828981"/>
          </a:xfrm>
          <a:prstGeom prst="rect">
            <a:avLst/>
          </a:prstGeom>
        </p:spPr>
        <p:txBody>
          <a:bodyPr lIns="90980" tIns="45491" rIns="90980" bIns="45491"/>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06835378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Slide products 5">
    <p:bg>
      <p:bgPr>
        <a:solidFill>
          <a:schemeClr val="tx2"/>
        </a:solidFill>
        <a:effectLst/>
      </p:bgPr>
    </p:bg>
    <p:spTree>
      <p:nvGrpSpPr>
        <p:cNvPr id="1" name=""/>
        <p:cNvGrpSpPr/>
        <p:nvPr/>
      </p:nvGrpSpPr>
      <p:grpSpPr>
        <a:xfrm>
          <a:off x="0" y="0"/>
          <a:ext cx="0" cy="0"/>
          <a:chOff x="0" y="0"/>
          <a:chExt cx="0" cy="0"/>
        </a:xfrm>
      </p:grpSpPr>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792511"/>
            <a:ext cx="7348775" cy="3805948"/>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9" name="Group 8"/>
          <p:cNvGrpSpPr/>
          <p:nvPr userDrawn="1"/>
        </p:nvGrpSpPr>
        <p:grpSpPr>
          <a:xfrm>
            <a:off x="6299742" y="5837482"/>
            <a:ext cx="5564360" cy="855947"/>
            <a:chOff x="3868737" y="4171950"/>
            <a:chExt cx="4918453" cy="756696"/>
          </a:xfrm>
        </p:grpSpPr>
        <p:grpSp>
          <p:nvGrpSpPr>
            <p:cNvPr id="8" name="Group 7"/>
            <p:cNvGrpSpPr/>
            <p:nvPr userDrawn="1"/>
          </p:nvGrpSpPr>
          <p:grpSpPr>
            <a:xfrm>
              <a:off x="3953850" y="4171950"/>
              <a:ext cx="4833340" cy="756696"/>
              <a:chOff x="3953850" y="4171950"/>
              <a:chExt cx="4833340" cy="756696"/>
            </a:xfrm>
          </p:grpSpPr>
          <p:sp>
            <p:nvSpPr>
              <p:cNvPr id="3" name="Oval 2"/>
              <p:cNvSpPr/>
              <p:nvPr userDrawn="1"/>
            </p:nvSpPr>
            <p:spPr>
              <a:xfrm>
                <a:off x="3953850" y="4212106"/>
                <a:ext cx="716540" cy="716540"/>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sp>
            <p:nvSpPr>
              <p:cNvPr id="30" name="Oval 29"/>
              <p:cNvSpPr/>
              <p:nvPr userDrawn="1"/>
            </p:nvSpPr>
            <p:spPr>
              <a:xfrm>
                <a:off x="4972142" y="4182297"/>
                <a:ext cx="716540" cy="716540"/>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sp>
            <p:nvSpPr>
              <p:cNvPr id="33" name="Oval 32"/>
              <p:cNvSpPr/>
              <p:nvPr userDrawn="1"/>
            </p:nvSpPr>
            <p:spPr>
              <a:xfrm>
                <a:off x="6001926" y="4171950"/>
                <a:ext cx="716540" cy="716540"/>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sp>
            <p:nvSpPr>
              <p:cNvPr id="38" name="Oval 37"/>
              <p:cNvSpPr/>
              <p:nvPr userDrawn="1"/>
            </p:nvSpPr>
            <p:spPr>
              <a:xfrm>
                <a:off x="7036288" y="4171950"/>
                <a:ext cx="716540" cy="716540"/>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sp>
            <p:nvSpPr>
              <p:cNvPr id="39" name="Oval 38"/>
              <p:cNvSpPr/>
              <p:nvPr userDrawn="1"/>
            </p:nvSpPr>
            <p:spPr>
              <a:xfrm>
                <a:off x="8070650" y="4171950"/>
                <a:ext cx="716540" cy="716540"/>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cxnSp>
            <p:nvCxnSpPr>
              <p:cNvPr id="7" name="Straight Connector 6"/>
              <p:cNvCxnSpPr/>
              <p:nvPr userDrawn="1"/>
            </p:nvCxnSpPr>
            <p:spPr>
              <a:xfrm>
                <a:off x="4670390" y="4570376"/>
                <a:ext cx="3017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a:xfrm>
                <a:off x="5688682" y="4542568"/>
                <a:ext cx="3017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a:xfrm>
                <a:off x="6729453" y="4542568"/>
                <a:ext cx="3017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a:xfrm>
                <a:off x="7756498" y="4542568"/>
                <a:ext cx="3017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4" name="Picture 2" descr="C:\working\gac as of 04.20.13\Prime8\MSC\MSC branding\new product imagery\Surfacehub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844021" y="4255371"/>
              <a:ext cx="1030370" cy="57065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1" name="Picture 3" descr="C:\working\gac as of 04.20.13\Prime8\MSC\MSC branding\new product imagery\hololens2_edited.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3868737" y="4339071"/>
              <a:ext cx="922235" cy="45837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pic>
        <p:nvPicPr>
          <p:cNvPr id="46" name="Picture 45"/>
          <p:cNvPicPr>
            <a:picLocks noChangeAspect="1"/>
          </p:cNvPicPr>
          <p:nvPr userDrawn="1"/>
        </p:nvPicPr>
        <p:blipFill rotWithShape="1">
          <a:blip r:embed="rId5">
            <a:extLst>
              <a:ext uri="{BEBA8EAE-BF5A-486C-A8C5-ECC9F3942E4B}">
                <a14:imgProps xmlns:a14="http://schemas.microsoft.com/office/drawing/2010/main">
                  <a14:imgLayer r:embed="rId6">
                    <a14:imgEffect>
                      <a14:backgroundRemoval t="2283" b="95662" l="9769" r="92674">
                        <a14:foregroundMark x1="37918" y1="81279" x2="37918" y2="81279"/>
                        <a14:foregroundMark x1="84704" y1="75342" x2="84704" y2="75342"/>
                        <a14:foregroundMark x1="84704" y1="78995" x2="84704" y2="78995"/>
                      </a14:backgroundRemoval>
                    </a14:imgEffect>
                  </a14:imgLayer>
                </a14:imgProps>
              </a:ext>
            </a:extLst>
          </a:blip>
          <a:srcRect r="17530"/>
          <a:stretch/>
        </p:blipFill>
        <p:spPr>
          <a:xfrm>
            <a:off x="10886638" y="5877841"/>
            <a:ext cx="977466" cy="667170"/>
          </a:xfrm>
          <a:prstGeom prst="rect">
            <a:avLst/>
          </a:prstGeom>
        </p:spPr>
      </p:pic>
      <p:pic>
        <p:nvPicPr>
          <p:cNvPr id="36" name="Picture 3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29558" y="5702317"/>
            <a:ext cx="1527542" cy="1018216"/>
          </a:xfrm>
          <a:prstGeom prst="rect">
            <a:avLst/>
          </a:prstGeom>
        </p:spPr>
      </p:pic>
      <p:pic>
        <p:nvPicPr>
          <p:cNvPr id="47" name="Picture 4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355518" y="5921870"/>
            <a:ext cx="1190719" cy="669683"/>
          </a:xfrm>
          <a:prstGeom prst="rect">
            <a:avLst/>
          </a:prstGeom>
        </p:spPr>
      </p:pic>
    </p:spTree>
    <p:extLst>
      <p:ext uri="{BB962C8B-B14F-4D97-AF65-F5344CB8AC3E}">
        <p14:creationId xmlns:p14="http://schemas.microsoft.com/office/powerpoint/2010/main" val="374446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Title Slide products 7">
    <p:bg>
      <p:bgPr>
        <a:solidFill>
          <a:schemeClr val="tx2"/>
        </a:solidFill>
        <a:effectLst/>
      </p:bgPr>
    </p:bg>
    <p:spTree>
      <p:nvGrpSpPr>
        <p:cNvPr id="1" name=""/>
        <p:cNvGrpSpPr/>
        <p:nvPr/>
      </p:nvGrpSpPr>
      <p:grpSpPr>
        <a:xfrm>
          <a:off x="0" y="0"/>
          <a:ext cx="0" cy="0"/>
          <a:chOff x="0" y="0"/>
          <a:chExt cx="0" cy="0"/>
        </a:xfrm>
      </p:grpSpPr>
      <p:grpSp>
        <p:nvGrpSpPr>
          <p:cNvPr id="23" name="Group 22"/>
          <p:cNvGrpSpPr/>
          <p:nvPr userDrawn="1"/>
        </p:nvGrpSpPr>
        <p:grpSpPr>
          <a:xfrm>
            <a:off x="489601" y="581283"/>
            <a:ext cx="2062218" cy="439224"/>
            <a:chOff x="416178" y="1279456"/>
            <a:chExt cx="2021678" cy="430650"/>
          </a:xfrm>
        </p:grpSpPr>
        <p:sp>
          <p:nvSpPr>
            <p:cNvPr id="11" name="Freeform 6"/>
            <p:cNvSpPr>
              <a:spLocks/>
            </p:cNvSpPr>
            <p:nvPr/>
          </p:nvSpPr>
          <p:spPr bwMode="auto">
            <a:xfrm>
              <a:off x="977113" y="1365458"/>
              <a:ext cx="279826" cy="258647"/>
            </a:xfrm>
            <a:custGeom>
              <a:avLst/>
              <a:gdLst>
                <a:gd name="T0" fmla="*/ 0 w 873"/>
                <a:gd name="T1" fmla="*/ 0 h 805"/>
                <a:gd name="T2" fmla="*/ 201 w 873"/>
                <a:gd name="T3" fmla="*/ 0 h 805"/>
                <a:gd name="T4" fmla="*/ 438 w 873"/>
                <a:gd name="T5" fmla="*/ 597 h 805"/>
                <a:gd name="T6" fmla="*/ 682 w 873"/>
                <a:gd name="T7" fmla="*/ 0 h 805"/>
                <a:gd name="T8" fmla="*/ 873 w 873"/>
                <a:gd name="T9" fmla="*/ 0 h 805"/>
                <a:gd name="T10" fmla="*/ 873 w 873"/>
                <a:gd name="T11" fmla="*/ 805 h 805"/>
                <a:gd name="T12" fmla="*/ 736 w 873"/>
                <a:gd name="T13" fmla="*/ 805 h 805"/>
                <a:gd name="T14" fmla="*/ 736 w 873"/>
                <a:gd name="T15" fmla="*/ 185 h 805"/>
                <a:gd name="T16" fmla="*/ 730 w 873"/>
                <a:gd name="T17" fmla="*/ 185 h 805"/>
                <a:gd name="T18" fmla="*/ 484 w 873"/>
                <a:gd name="T19" fmla="*/ 805 h 805"/>
                <a:gd name="T20" fmla="*/ 386 w 873"/>
                <a:gd name="T21" fmla="*/ 805 h 805"/>
                <a:gd name="T22" fmla="*/ 136 w 873"/>
                <a:gd name="T23" fmla="*/ 185 h 805"/>
                <a:gd name="T24" fmla="*/ 132 w 873"/>
                <a:gd name="T25" fmla="*/ 185 h 805"/>
                <a:gd name="T26" fmla="*/ 132 w 873"/>
                <a:gd name="T27" fmla="*/ 805 h 805"/>
                <a:gd name="T28" fmla="*/ 0 w 873"/>
                <a:gd name="T29" fmla="*/ 805 h 805"/>
                <a:gd name="T30" fmla="*/ 0 w 873"/>
                <a:gd name="T31"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73" h="805">
                  <a:moveTo>
                    <a:pt x="0" y="0"/>
                  </a:moveTo>
                  <a:lnTo>
                    <a:pt x="201" y="0"/>
                  </a:lnTo>
                  <a:lnTo>
                    <a:pt x="438" y="597"/>
                  </a:lnTo>
                  <a:lnTo>
                    <a:pt x="682" y="0"/>
                  </a:lnTo>
                  <a:lnTo>
                    <a:pt x="873" y="0"/>
                  </a:lnTo>
                  <a:lnTo>
                    <a:pt x="873" y="805"/>
                  </a:lnTo>
                  <a:lnTo>
                    <a:pt x="736" y="805"/>
                  </a:lnTo>
                  <a:lnTo>
                    <a:pt x="736" y="185"/>
                  </a:lnTo>
                  <a:lnTo>
                    <a:pt x="730" y="185"/>
                  </a:lnTo>
                  <a:lnTo>
                    <a:pt x="484" y="805"/>
                  </a:lnTo>
                  <a:lnTo>
                    <a:pt x="386" y="805"/>
                  </a:lnTo>
                  <a:lnTo>
                    <a:pt x="136" y="185"/>
                  </a:lnTo>
                  <a:lnTo>
                    <a:pt x="132" y="185"/>
                  </a:lnTo>
                  <a:lnTo>
                    <a:pt x="132" y="805"/>
                  </a:lnTo>
                  <a:lnTo>
                    <a:pt x="0" y="805"/>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2" name="Freeform 7"/>
            <p:cNvSpPr>
              <a:spLocks noEditPoints="1"/>
            </p:cNvSpPr>
            <p:nvPr/>
          </p:nvSpPr>
          <p:spPr bwMode="auto">
            <a:xfrm>
              <a:off x="1294806" y="1359681"/>
              <a:ext cx="52628" cy="264423"/>
            </a:xfrm>
            <a:custGeom>
              <a:avLst/>
              <a:gdLst>
                <a:gd name="T0" fmla="*/ 13 w 164"/>
                <a:gd name="T1" fmla="*/ 246 h 824"/>
                <a:gd name="T2" fmla="*/ 149 w 164"/>
                <a:gd name="T3" fmla="*/ 246 h 824"/>
                <a:gd name="T4" fmla="*/ 149 w 164"/>
                <a:gd name="T5" fmla="*/ 824 h 824"/>
                <a:gd name="T6" fmla="*/ 13 w 164"/>
                <a:gd name="T7" fmla="*/ 824 h 824"/>
                <a:gd name="T8" fmla="*/ 13 w 164"/>
                <a:gd name="T9" fmla="*/ 246 h 824"/>
                <a:gd name="T10" fmla="*/ 82 w 164"/>
                <a:gd name="T11" fmla="*/ 0 h 824"/>
                <a:gd name="T12" fmla="*/ 105 w 164"/>
                <a:gd name="T13" fmla="*/ 4 h 824"/>
                <a:gd name="T14" fmla="*/ 124 w 164"/>
                <a:gd name="T15" fmla="*/ 12 h 824"/>
                <a:gd name="T16" fmla="*/ 141 w 164"/>
                <a:gd name="T17" fmla="*/ 25 h 824"/>
                <a:gd name="T18" fmla="*/ 154 w 164"/>
                <a:gd name="T19" fmla="*/ 40 h 824"/>
                <a:gd name="T20" fmla="*/ 162 w 164"/>
                <a:gd name="T21" fmla="*/ 59 h 824"/>
                <a:gd name="T22" fmla="*/ 164 w 164"/>
                <a:gd name="T23" fmla="*/ 80 h 824"/>
                <a:gd name="T24" fmla="*/ 162 w 164"/>
                <a:gd name="T25" fmla="*/ 101 h 824"/>
                <a:gd name="T26" fmla="*/ 154 w 164"/>
                <a:gd name="T27" fmla="*/ 120 h 824"/>
                <a:gd name="T28" fmla="*/ 141 w 164"/>
                <a:gd name="T29" fmla="*/ 136 h 824"/>
                <a:gd name="T30" fmla="*/ 124 w 164"/>
                <a:gd name="T31" fmla="*/ 147 h 824"/>
                <a:gd name="T32" fmla="*/ 103 w 164"/>
                <a:gd name="T33" fmla="*/ 155 h 824"/>
                <a:gd name="T34" fmla="*/ 82 w 164"/>
                <a:gd name="T35" fmla="*/ 158 h 824"/>
                <a:gd name="T36" fmla="*/ 61 w 164"/>
                <a:gd name="T37" fmla="*/ 155 h 824"/>
                <a:gd name="T38" fmla="*/ 42 w 164"/>
                <a:gd name="T39" fmla="*/ 147 h 824"/>
                <a:gd name="T40" fmla="*/ 24 w 164"/>
                <a:gd name="T41" fmla="*/ 136 h 824"/>
                <a:gd name="T42" fmla="*/ 11 w 164"/>
                <a:gd name="T43" fmla="*/ 120 h 824"/>
                <a:gd name="T44" fmla="*/ 1 w 164"/>
                <a:gd name="T45" fmla="*/ 101 h 824"/>
                <a:gd name="T46" fmla="*/ 0 w 164"/>
                <a:gd name="T47" fmla="*/ 80 h 824"/>
                <a:gd name="T48" fmla="*/ 1 w 164"/>
                <a:gd name="T49" fmla="*/ 59 h 824"/>
                <a:gd name="T50" fmla="*/ 11 w 164"/>
                <a:gd name="T51" fmla="*/ 40 h 824"/>
                <a:gd name="T52" fmla="*/ 24 w 164"/>
                <a:gd name="T53" fmla="*/ 23 h 824"/>
                <a:gd name="T54" fmla="*/ 42 w 164"/>
                <a:gd name="T55" fmla="*/ 12 h 824"/>
                <a:gd name="T56" fmla="*/ 61 w 164"/>
                <a:gd name="T57" fmla="*/ 4 h 824"/>
                <a:gd name="T58" fmla="*/ 82 w 164"/>
                <a:gd name="T59" fmla="*/ 0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4" h="824">
                  <a:moveTo>
                    <a:pt x="13" y="246"/>
                  </a:moveTo>
                  <a:lnTo>
                    <a:pt x="149" y="246"/>
                  </a:lnTo>
                  <a:lnTo>
                    <a:pt x="149" y="824"/>
                  </a:lnTo>
                  <a:lnTo>
                    <a:pt x="13" y="824"/>
                  </a:lnTo>
                  <a:lnTo>
                    <a:pt x="13" y="246"/>
                  </a:lnTo>
                  <a:close/>
                  <a:moveTo>
                    <a:pt x="82" y="0"/>
                  </a:moveTo>
                  <a:lnTo>
                    <a:pt x="105" y="4"/>
                  </a:lnTo>
                  <a:lnTo>
                    <a:pt x="124" y="12"/>
                  </a:lnTo>
                  <a:lnTo>
                    <a:pt x="141" y="25"/>
                  </a:lnTo>
                  <a:lnTo>
                    <a:pt x="154" y="40"/>
                  </a:lnTo>
                  <a:lnTo>
                    <a:pt x="162" y="59"/>
                  </a:lnTo>
                  <a:lnTo>
                    <a:pt x="164" y="80"/>
                  </a:lnTo>
                  <a:lnTo>
                    <a:pt x="162" y="101"/>
                  </a:lnTo>
                  <a:lnTo>
                    <a:pt x="154" y="120"/>
                  </a:lnTo>
                  <a:lnTo>
                    <a:pt x="141" y="136"/>
                  </a:lnTo>
                  <a:lnTo>
                    <a:pt x="124" y="147"/>
                  </a:lnTo>
                  <a:lnTo>
                    <a:pt x="103" y="155"/>
                  </a:lnTo>
                  <a:lnTo>
                    <a:pt x="82" y="158"/>
                  </a:lnTo>
                  <a:lnTo>
                    <a:pt x="61" y="155"/>
                  </a:lnTo>
                  <a:lnTo>
                    <a:pt x="42" y="147"/>
                  </a:lnTo>
                  <a:lnTo>
                    <a:pt x="24" y="136"/>
                  </a:lnTo>
                  <a:lnTo>
                    <a:pt x="11" y="120"/>
                  </a:lnTo>
                  <a:lnTo>
                    <a:pt x="1" y="101"/>
                  </a:lnTo>
                  <a:lnTo>
                    <a:pt x="0" y="80"/>
                  </a:lnTo>
                  <a:lnTo>
                    <a:pt x="1" y="59"/>
                  </a:lnTo>
                  <a:lnTo>
                    <a:pt x="11" y="40"/>
                  </a:lnTo>
                  <a:lnTo>
                    <a:pt x="24" y="23"/>
                  </a:lnTo>
                  <a:lnTo>
                    <a:pt x="42" y="12"/>
                  </a:lnTo>
                  <a:lnTo>
                    <a:pt x="61" y="4"/>
                  </a:lnTo>
                  <a:lnTo>
                    <a:pt x="8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3" name="Freeform 8"/>
            <p:cNvSpPr>
              <a:spLocks/>
            </p:cNvSpPr>
            <p:nvPr/>
          </p:nvSpPr>
          <p:spPr bwMode="auto">
            <a:xfrm>
              <a:off x="1373106" y="1434131"/>
              <a:ext cx="145047" cy="193825"/>
            </a:xfrm>
            <a:custGeom>
              <a:avLst/>
              <a:gdLst>
                <a:gd name="T0" fmla="*/ 311 w 453"/>
                <a:gd name="T1" fmla="*/ 0 h 604"/>
                <a:gd name="T2" fmla="*/ 350 w 453"/>
                <a:gd name="T3" fmla="*/ 2 h 604"/>
                <a:gd name="T4" fmla="*/ 388 w 453"/>
                <a:gd name="T5" fmla="*/ 7 h 604"/>
                <a:gd name="T6" fmla="*/ 422 w 453"/>
                <a:gd name="T7" fmla="*/ 17 h 604"/>
                <a:gd name="T8" fmla="*/ 451 w 453"/>
                <a:gd name="T9" fmla="*/ 28 h 604"/>
                <a:gd name="T10" fmla="*/ 453 w 453"/>
                <a:gd name="T11" fmla="*/ 30 h 604"/>
                <a:gd name="T12" fmla="*/ 453 w 453"/>
                <a:gd name="T13" fmla="*/ 162 h 604"/>
                <a:gd name="T14" fmla="*/ 447 w 453"/>
                <a:gd name="T15" fmla="*/ 156 h 604"/>
                <a:gd name="T16" fmla="*/ 405 w 453"/>
                <a:gd name="T17" fmla="*/ 131 h 604"/>
                <a:gd name="T18" fmla="*/ 361 w 453"/>
                <a:gd name="T19" fmla="*/ 116 h 604"/>
                <a:gd name="T20" fmla="*/ 317 w 453"/>
                <a:gd name="T21" fmla="*/ 112 h 604"/>
                <a:gd name="T22" fmla="*/ 279 w 453"/>
                <a:gd name="T23" fmla="*/ 116 h 604"/>
                <a:gd name="T24" fmla="*/ 246 w 453"/>
                <a:gd name="T25" fmla="*/ 126 h 604"/>
                <a:gd name="T26" fmla="*/ 216 w 453"/>
                <a:gd name="T27" fmla="*/ 141 h 604"/>
                <a:gd name="T28" fmla="*/ 189 w 453"/>
                <a:gd name="T29" fmla="*/ 164 h 604"/>
                <a:gd name="T30" fmla="*/ 168 w 453"/>
                <a:gd name="T31" fmla="*/ 192 h 604"/>
                <a:gd name="T32" fmla="*/ 153 w 453"/>
                <a:gd name="T33" fmla="*/ 227 h 604"/>
                <a:gd name="T34" fmla="*/ 143 w 453"/>
                <a:gd name="T35" fmla="*/ 263 h 604"/>
                <a:gd name="T36" fmla="*/ 141 w 453"/>
                <a:gd name="T37" fmla="*/ 305 h 604"/>
                <a:gd name="T38" fmla="*/ 143 w 453"/>
                <a:gd name="T39" fmla="*/ 347 h 604"/>
                <a:gd name="T40" fmla="*/ 153 w 453"/>
                <a:gd name="T41" fmla="*/ 383 h 604"/>
                <a:gd name="T42" fmla="*/ 168 w 453"/>
                <a:gd name="T43" fmla="*/ 416 h 604"/>
                <a:gd name="T44" fmla="*/ 187 w 453"/>
                <a:gd name="T45" fmla="*/ 442 h 604"/>
                <a:gd name="T46" fmla="*/ 214 w 453"/>
                <a:gd name="T47" fmla="*/ 463 h 604"/>
                <a:gd name="T48" fmla="*/ 243 w 453"/>
                <a:gd name="T49" fmla="*/ 480 h 604"/>
                <a:gd name="T50" fmla="*/ 277 w 453"/>
                <a:gd name="T51" fmla="*/ 488 h 604"/>
                <a:gd name="T52" fmla="*/ 315 w 453"/>
                <a:gd name="T53" fmla="*/ 492 h 604"/>
                <a:gd name="T54" fmla="*/ 346 w 453"/>
                <a:gd name="T55" fmla="*/ 488 h 604"/>
                <a:gd name="T56" fmla="*/ 380 w 453"/>
                <a:gd name="T57" fmla="*/ 479 h 604"/>
                <a:gd name="T58" fmla="*/ 414 w 453"/>
                <a:gd name="T59" fmla="*/ 465 h 604"/>
                <a:gd name="T60" fmla="*/ 447 w 453"/>
                <a:gd name="T61" fmla="*/ 444 h 604"/>
                <a:gd name="T62" fmla="*/ 453 w 453"/>
                <a:gd name="T63" fmla="*/ 440 h 604"/>
                <a:gd name="T64" fmla="*/ 453 w 453"/>
                <a:gd name="T65" fmla="*/ 564 h 604"/>
                <a:gd name="T66" fmla="*/ 451 w 453"/>
                <a:gd name="T67" fmla="*/ 566 h 604"/>
                <a:gd name="T68" fmla="*/ 414 w 453"/>
                <a:gd name="T69" fmla="*/ 583 h 604"/>
                <a:gd name="T70" fmla="*/ 376 w 453"/>
                <a:gd name="T71" fmla="*/ 595 h 604"/>
                <a:gd name="T72" fmla="*/ 332 w 453"/>
                <a:gd name="T73" fmla="*/ 603 h 604"/>
                <a:gd name="T74" fmla="*/ 287 w 453"/>
                <a:gd name="T75" fmla="*/ 604 h 604"/>
                <a:gd name="T76" fmla="*/ 233 w 453"/>
                <a:gd name="T77" fmla="*/ 601 h 604"/>
                <a:gd name="T78" fmla="*/ 183 w 453"/>
                <a:gd name="T79" fmla="*/ 589 h 604"/>
                <a:gd name="T80" fmla="*/ 138 w 453"/>
                <a:gd name="T81" fmla="*/ 568 h 604"/>
                <a:gd name="T82" fmla="*/ 97 w 453"/>
                <a:gd name="T83" fmla="*/ 542 h 604"/>
                <a:gd name="T84" fmla="*/ 63 w 453"/>
                <a:gd name="T85" fmla="*/ 507 h 604"/>
                <a:gd name="T86" fmla="*/ 36 w 453"/>
                <a:gd name="T87" fmla="*/ 465 h 604"/>
                <a:gd name="T88" fmla="*/ 15 w 453"/>
                <a:gd name="T89" fmla="*/ 419 h 604"/>
                <a:gd name="T90" fmla="*/ 4 w 453"/>
                <a:gd name="T91" fmla="*/ 370 h 604"/>
                <a:gd name="T92" fmla="*/ 0 w 453"/>
                <a:gd name="T93" fmla="*/ 316 h 604"/>
                <a:gd name="T94" fmla="*/ 4 w 453"/>
                <a:gd name="T95" fmla="*/ 257 h 604"/>
                <a:gd name="T96" fmla="*/ 17 w 453"/>
                <a:gd name="T97" fmla="*/ 202 h 604"/>
                <a:gd name="T98" fmla="*/ 38 w 453"/>
                <a:gd name="T99" fmla="*/ 151 h 604"/>
                <a:gd name="T100" fmla="*/ 67 w 453"/>
                <a:gd name="T101" fmla="*/ 107 h 604"/>
                <a:gd name="T102" fmla="*/ 103 w 453"/>
                <a:gd name="T103" fmla="*/ 69 h 604"/>
                <a:gd name="T104" fmla="*/ 147 w 453"/>
                <a:gd name="T105" fmla="*/ 40 h 604"/>
                <a:gd name="T106" fmla="*/ 197 w 453"/>
                <a:gd name="T107" fmla="*/ 17 h 604"/>
                <a:gd name="T108" fmla="*/ 252 w 453"/>
                <a:gd name="T109" fmla="*/ 4 h 604"/>
                <a:gd name="T110" fmla="*/ 311 w 453"/>
                <a:gd name="T111"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3" h="604">
                  <a:moveTo>
                    <a:pt x="311" y="0"/>
                  </a:moveTo>
                  <a:lnTo>
                    <a:pt x="350" y="2"/>
                  </a:lnTo>
                  <a:lnTo>
                    <a:pt x="388" y="7"/>
                  </a:lnTo>
                  <a:lnTo>
                    <a:pt x="422" y="17"/>
                  </a:lnTo>
                  <a:lnTo>
                    <a:pt x="451" y="28"/>
                  </a:lnTo>
                  <a:lnTo>
                    <a:pt x="453" y="30"/>
                  </a:lnTo>
                  <a:lnTo>
                    <a:pt x="453" y="162"/>
                  </a:lnTo>
                  <a:lnTo>
                    <a:pt x="447" y="156"/>
                  </a:lnTo>
                  <a:lnTo>
                    <a:pt x="405" y="131"/>
                  </a:lnTo>
                  <a:lnTo>
                    <a:pt x="361" y="116"/>
                  </a:lnTo>
                  <a:lnTo>
                    <a:pt x="317" y="112"/>
                  </a:lnTo>
                  <a:lnTo>
                    <a:pt x="279" y="116"/>
                  </a:lnTo>
                  <a:lnTo>
                    <a:pt x="246" y="126"/>
                  </a:lnTo>
                  <a:lnTo>
                    <a:pt x="216" y="141"/>
                  </a:lnTo>
                  <a:lnTo>
                    <a:pt x="189" y="164"/>
                  </a:lnTo>
                  <a:lnTo>
                    <a:pt x="168" y="192"/>
                  </a:lnTo>
                  <a:lnTo>
                    <a:pt x="153" y="227"/>
                  </a:lnTo>
                  <a:lnTo>
                    <a:pt x="143" y="263"/>
                  </a:lnTo>
                  <a:lnTo>
                    <a:pt x="141" y="305"/>
                  </a:lnTo>
                  <a:lnTo>
                    <a:pt x="143" y="347"/>
                  </a:lnTo>
                  <a:lnTo>
                    <a:pt x="153" y="383"/>
                  </a:lnTo>
                  <a:lnTo>
                    <a:pt x="168" y="416"/>
                  </a:lnTo>
                  <a:lnTo>
                    <a:pt x="187" y="442"/>
                  </a:lnTo>
                  <a:lnTo>
                    <a:pt x="214" y="463"/>
                  </a:lnTo>
                  <a:lnTo>
                    <a:pt x="243" y="480"/>
                  </a:lnTo>
                  <a:lnTo>
                    <a:pt x="277" y="488"/>
                  </a:lnTo>
                  <a:lnTo>
                    <a:pt x="315" y="492"/>
                  </a:lnTo>
                  <a:lnTo>
                    <a:pt x="346" y="488"/>
                  </a:lnTo>
                  <a:lnTo>
                    <a:pt x="380" y="479"/>
                  </a:lnTo>
                  <a:lnTo>
                    <a:pt x="414" y="465"/>
                  </a:lnTo>
                  <a:lnTo>
                    <a:pt x="447" y="444"/>
                  </a:lnTo>
                  <a:lnTo>
                    <a:pt x="453" y="440"/>
                  </a:lnTo>
                  <a:lnTo>
                    <a:pt x="453" y="564"/>
                  </a:lnTo>
                  <a:lnTo>
                    <a:pt x="451" y="566"/>
                  </a:lnTo>
                  <a:lnTo>
                    <a:pt x="414" y="583"/>
                  </a:lnTo>
                  <a:lnTo>
                    <a:pt x="376" y="595"/>
                  </a:lnTo>
                  <a:lnTo>
                    <a:pt x="332" y="603"/>
                  </a:lnTo>
                  <a:lnTo>
                    <a:pt x="287" y="604"/>
                  </a:lnTo>
                  <a:lnTo>
                    <a:pt x="233" y="601"/>
                  </a:lnTo>
                  <a:lnTo>
                    <a:pt x="183" y="589"/>
                  </a:lnTo>
                  <a:lnTo>
                    <a:pt x="138" y="568"/>
                  </a:lnTo>
                  <a:lnTo>
                    <a:pt x="97" y="542"/>
                  </a:lnTo>
                  <a:lnTo>
                    <a:pt x="63" y="507"/>
                  </a:lnTo>
                  <a:lnTo>
                    <a:pt x="36" y="465"/>
                  </a:lnTo>
                  <a:lnTo>
                    <a:pt x="15" y="419"/>
                  </a:lnTo>
                  <a:lnTo>
                    <a:pt x="4" y="370"/>
                  </a:lnTo>
                  <a:lnTo>
                    <a:pt x="0" y="316"/>
                  </a:lnTo>
                  <a:lnTo>
                    <a:pt x="4" y="257"/>
                  </a:lnTo>
                  <a:lnTo>
                    <a:pt x="17" y="202"/>
                  </a:lnTo>
                  <a:lnTo>
                    <a:pt x="38" y="151"/>
                  </a:lnTo>
                  <a:lnTo>
                    <a:pt x="67" y="107"/>
                  </a:lnTo>
                  <a:lnTo>
                    <a:pt x="103" y="69"/>
                  </a:lnTo>
                  <a:lnTo>
                    <a:pt x="147" y="40"/>
                  </a:lnTo>
                  <a:lnTo>
                    <a:pt x="197" y="17"/>
                  </a:lnTo>
                  <a:lnTo>
                    <a:pt x="252" y="4"/>
                  </a:lnTo>
                  <a:lnTo>
                    <a:pt x="311"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4" name="Freeform 9"/>
            <p:cNvSpPr>
              <a:spLocks/>
            </p:cNvSpPr>
            <p:nvPr/>
          </p:nvSpPr>
          <p:spPr bwMode="auto">
            <a:xfrm>
              <a:off x="1550885" y="1435414"/>
              <a:ext cx="107181" cy="188690"/>
            </a:xfrm>
            <a:custGeom>
              <a:avLst/>
              <a:gdLst>
                <a:gd name="T0" fmla="*/ 279 w 334"/>
                <a:gd name="T1" fmla="*/ 0 h 587"/>
                <a:gd name="T2" fmla="*/ 309 w 334"/>
                <a:gd name="T3" fmla="*/ 2 h 587"/>
                <a:gd name="T4" fmla="*/ 332 w 334"/>
                <a:gd name="T5" fmla="*/ 7 h 587"/>
                <a:gd name="T6" fmla="*/ 334 w 334"/>
                <a:gd name="T7" fmla="*/ 9 h 587"/>
                <a:gd name="T8" fmla="*/ 334 w 334"/>
                <a:gd name="T9" fmla="*/ 145 h 587"/>
                <a:gd name="T10" fmla="*/ 328 w 334"/>
                <a:gd name="T11" fmla="*/ 141 h 587"/>
                <a:gd name="T12" fmla="*/ 317 w 334"/>
                <a:gd name="T13" fmla="*/ 135 h 587"/>
                <a:gd name="T14" fmla="*/ 298 w 334"/>
                <a:gd name="T15" fmla="*/ 129 h 587"/>
                <a:gd name="T16" fmla="*/ 277 w 334"/>
                <a:gd name="T17" fmla="*/ 124 h 587"/>
                <a:gd name="T18" fmla="*/ 256 w 334"/>
                <a:gd name="T19" fmla="*/ 122 h 587"/>
                <a:gd name="T20" fmla="*/ 223 w 334"/>
                <a:gd name="T21" fmla="*/ 127 h 587"/>
                <a:gd name="T22" fmla="*/ 193 w 334"/>
                <a:gd name="T23" fmla="*/ 143 h 587"/>
                <a:gd name="T24" fmla="*/ 168 w 334"/>
                <a:gd name="T25" fmla="*/ 169 h 587"/>
                <a:gd name="T26" fmla="*/ 151 w 334"/>
                <a:gd name="T27" fmla="*/ 204 h 587"/>
                <a:gd name="T28" fmla="*/ 139 w 334"/>
                <a:gd name="T29" fmla="*/ 244 h 587"/>
                <a:gd name="T30" fmla="*/ 135 w 334"/>
                <a:gd name="T31" fmla="*/ 291 h 587"/>
                <a:gd name="T32" fmla="*/ 135 w 334"/>
                <a:gd name="T33" fmla="*/ 587 h 587"/>
                <a:gd name="T34" fmla="*/ 0 w 334"/>
                <a:gd name="T35" fmla="*/ 587 h 587"/>
                <a:gd name="T36" fmla="*/ 0 w 334"/>
                <a:gd name="T37" fmla="*/ 9 h 587"/>
                <a:gd name="T38" fmla="*/ 135 w 334"/>
                <a:gd name="T39" fmla="*/ 9 h 587"/>
                <a:gd name="T40" fmla="*/ 135 w 334"/>
                <a:gd name="T41" fmla="*/ 110 h 587"/>
                <a:gd name="T42" fmla="*/ 135 w 334"/>
                <a:gd name="T43" fmla="*/ 110 h 587"/>
                <a:gd name="T44" fmla="*/ 151 w 334"/>
                <a:gd name="T45" fmla="*/ 80 h 587"/>
                <a:gd name="T46" fmla="*/ 168 w 334"/>
                <a:gd name="T47" fmla="*/ 53 h 587"/>
                <a:gd name="T48" fmla="*/ 189 w 334"/>
                <a:gd name="T49" fmla="*/ 32 h 587"/>
                <a:gd name="T50" fmla="*/ 216 w 334"/>
                <a:gd name="T51" fmla="*/ 15 h 587"/>
                <a:gd name="T52" fmla="*/ 246 w 334"/>
                <a:gd name="T53" fmla="*/ 3 h 587"/>
                <a:gd name="T54" fmla="*/ 279 w 334"/>
                <a:gd name="T55" fmla="*/ 0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4" h="587">
                  <a:moveTo>
                    <a:pt x="279" y="0"/>
                  </a:moveTo>
                  <a:lnTo>
                    <a:pt x="309" y="2"/>
                  </a:lnTo>
                  <a:lnTo>
                    <a:pt x="332" y="7"/>
                  </a:lnTo>
                  <a:lnTo>
                    <a:pt x="334" y="9"/>
                  </a:lnTo>
                  <a:lnTo>
                    <a:pt x="334" y="145"/>
                  </a:lnTo>
                  <a:lnTo>
                    <a:pt x="328" y="141"/>
                  </a:lnTo>
                  <a:lnTo>
                    <a:pt x="317" y="135"/>
                  </a:lnTo>
                  <a:lnTo>
                    <a:pt x="298" y="129"/>
                  </a:lnTo>
                  <a:lnTo>
                    <a:pt x="277" y="124"/>
                  </a:lnTo>
                  <a:lnTo>
                    <a:pt x="256" y="122"/>
                  </a:lnTo>
                  <a:lnTo>
                    <a:pt x="223" y="127"/>
                  </a:lnTo>
                  <a:lnTo>
                    <a:pt x="193" y="143"/>
                  </a:lnTo>
                  <a:lnTo>
                    <a:pt x="168" y="169"/>
                  </a:lnTo>
                  <a:lnTo>
                    <a:pt x="151" y="204"/>
                  </a:lnTo>
                  <a:lnTo>
                    <a:pt x="139" y="244"/>
                  </a:lnTo>
                  <a:lnTo>
                    <a:pt x="135" y="291"/>
                  </a:lnTo>
                  <a:lnTo>
                    <a:pt x="135" y="587"/>
                  </a:lnTo>
                  <a:lnTo>
                    <a:pt x="0" y="587"/>
                  </a:lnTo>
                  <a:lnTo>
                    <a:pt x="0" y="9"/>
                  </a:lnTo>
                  <a:lnTo>
                    <a:pt x="135" y="9"/>
                  </a:lnTo>
                  <a:lnTo>
                    <a:pt x="135" y="110"/>
                  </a:lnTo>
                  <a:lnTo>
                    <a:pt x="135" y="110"/>
                  </a:lnTo>
                  <a:lnTo>
                    <a:pt x="151" y="80"/>
                  </a:lnTo>
                  <a:lnTo>
                    <a:pt x="168" y="53"/>
                  </a:lnTo>
                  <a:lnTo>
                    <a:pt x="189" y="32"/>
                  </a:lnTo>
                  <a:lnTo>
                    <a:pt x="216" y="15"/>
                  </a:lnTo>
                  <a:lnTo>
                    <a:pt x="246" y="3"/>
                  </a:lnTo>
                  <a:lnTo>
                    <a:pt x="27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5" name="Freeform 10"/>
            <p:cNvSpPr>
              <a:spLocks noEditPoints="1"/>
            </p:cNvSpPr>
            <p:nvPr/>
          </p:nvSpPr>
          <p:spPr bwMode="auto">
            <a:xfrm>
              <a:off x="1661275" y="1434131"/>
              <a:ext cx="190615" cy="193825"/>
            </a:xfrm>
            <a:custGeom>
              <a:avLst/>
              <a:gdLst>
                <a:gd name="T0" fmla="*/ 263 w 593"/>
                <a:gd name="T1" fmla="*/ 114 h 604"/>
                <a:gd name="T2" fmla="*/ 206 w 593"/>
                <a:gd name="T3" fmla="*/ 141 h 604"/>
                <a:gd name="T4" fmla="*/ 164 w 593"/>
                <a:gd name="T5" fmla="*/ 189 h 604"/>
                <a:gd name="T6" fmla="*/ 143 w 593"/>
                <a:gd name="T7" fmla="*/ 261 h 604"/>
                <a:gd name="T8" fmla="*/ 143 w 593"/>
                <a:gd name="T9" fmla="*/ 347 h 604"/>
                <a:gd name="T10" fmla="*/ 164 w 593"/>
                <a:gd name="T11" fmla="*/ 416 h 604"/>
                <a:gd name="T12" fmla="*/ 206 w 593"/>
                <a:gd name="T13" fmla="*/ 465 h 604"/>
                <a:gd name="T14" fmla="*/ 263 w 593"/>
                <a:gd name="T15" fmla="*/ 488 h 604"/>
                <a:gd name="T16" fmla="*/ 336 w 593"/>
                <a:gd name="T17" fmla="*/ 488 h 604"/>
                <a:gd name="T18" fmla="*/ 393 w 593"/>
                <a:gd name="T19" fmla="*/ 465 h 604"/>
                <a:gd name="T20" fmla="*/ 431 w 593"/>
                <a:gd name="T21" fmla="*/ 418 h 604"/>
                <a:gd name="T22" fmla="*/ 450 w 593"/>
                <a:gd name="T23" fmla="*/ 345 h 604"/>
                <a:gd name="T24" fmla="*/ 450 w 593"/>
                <a:gd name="T25" fmla="*/ 257 h 604"/>
                <a:gd name="T26" fmla="*/ 429 w 593"/>
                <a:gd name="T27" fmla="*/ 187 h 604"/>
                <a:gd name="T28" fmla="*/ 389 w 593"/>
                <a:gd name="T29" fmla="*/ 139 h 604"/>
                <a:gd name="T30" fmla="*/ 332 w 593"/>
                <a:gd name="T31" fmla="*/ 114 h 604"/>
                <a:gd name="T32" fmla="*/ 305 w 593"/>
                <a:gd name="T33" fmla="*/ 0 h 604"/>
                <a:gd name="T34" fmla="*/ 404 w 593"/>
                <a:gd name="T35" fmla="*/ 13 h 604"/>
                <a:gd name="T36" fmla="*/ 485 w 593"/>
                <a:gd name="T37" fmla="*/ 51 h 604"/>
                <a:gd name="T38" fmla="*/ 544 w 593"/>
                <a:gd name="T39" fmla="*/ 112 h 604"/>
                <a:gd name="T40" fmla="*/ 580 w 593"/>
                <a:gd name="T41" fmla="*/ 196 h 604"/>
                <a:gd name="T42" fmla="*/ 593 w 593"/>
                <a:gd name="T43" fmla="*/ 297 h 604"/>
                <a:gd name="T44" fmla="*/ 580 w 593"/>
                <a:gd name="T45" fmla="*/ 398 h 604"/>
                <a:gd name="T46" fmla="*/ 542 w 593"/>
                <a:gd name="T47" fmla="*/ 484 h 604"/>
                <a:gd name="T48" fmla="*/ 477 w 593"/>
                <a:gd name="T49" fmla="*/ 551 h 604"/>
                <a:gd name="T50" fmla="*/ 393 w 593"/>
                <a:gd name="T51" fmla="*/ 591 h 604"/>
                <a:gd name="T52" fmla="*/ 292 w 593"/>
                <a:gd name="T53" fmla="*/ 604 h 604"/>
                <a:gd name="T54" fmla="*/ 194 w 593"/>
                <a:gd name="T55" fmla="*/ 591 h 604"/>
                <a:gd name="T56" fmla="*/ 112 w 593"/>
                <a:gd name="T57" fmla="*/ 553 h 604"/>
                <a:gd name="T58" fmla="*/ 51 w 593"/>
                <a:gd name="T59" fmla="*/ 490 h 604"/>
                <a:gd name="T60" fmla="*/ 13 w 593"/>
                <a:gd name="T61" fmla="*/ 408 h 604"/>
                <a:gd name="T62" fmla="*/ 0 w 593"/>
                <a:gd name="T63" fmla="*/ 309 h 604"/>
                <a:gd name="T64" fmla="*/ 13 w 593"/>
                <a:gd name="T65" fmla="*/ 204 h 604"/>
                <a:gd name="T66" fmla="*/ 51 w 593"/>
                <a:gd name="T67" fmla="*/ 118 h 604"/>
                <a:gd name="T68" fmla="*/ 116 w 593"/>
                <a:gd name="T69" fmla="*/ 53 h 604"/>
                <a:gd name="T70" fmla="*/ 200 w 593"/>
                <a:gd name="T71" fmla="*/ 13 h 604"/>
                <a:gd name="T72" fmla="*/ 305 w 593"/>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3" h="604">
                  <a:moveTo>
                    <a:pt x="297" y="112"/>
                  </a:moveTo>
                  <a:lnTo>
                    <a:pt x="263" y="114"/>
                  </a:lnTo>
                  <a:lnTo>
                    <a:pt x="233" y="124"/>
                  </a:lnTo>
                  <a:lnTo>
                    <a:pt x="206" y="141"/>
                  </a:lnTo>
                  <a:lnTo>
                    <a:pt x="183" y="162"/>
                  </a:lnTo>
                  <a:lnTo>
                    <a:pt x="164" y="189"/>
                  </a:lnTo>
                  <a:lnTo>
                    <a:pt x="150" y="223"/>
                  </a:lnTo>
                  <a:lnTo>
                    <a:pt x="143" y="261"/>
                  </a:lnTo>
                  <a:lnTo>
                    <a:pt x="141" y="305"/>
                  </a:lnTo>
                  <a:lnTo>
                    <a:pt x="143" y="347"/>
                  </a:lnTo>
                  <a:lnTo>
                    <a:pt x="150" y="383"/>
                  </a:lnTo>
                  <a:lnTo>
                    <a:pt x="164" y="416"/>
                  </a:lnTo>
                  <a:lnTo>
                    <a:pt x="183" y="442"/>
                  </a:lnTo>
                  <a:lnTo>
                    <a:pt x="206" y="465"/>
                  </a:lnTo>
                  <a:lnTo>
                    <a:pt x="233" y="480"/>
                  </a:lnTo>
                  <a:lnTo>
                    <a:pt x="263" y="488"/>
                  </a:lnTo>
                  <a:lnTo>
                    <a:pt x="299" y="492"/>
                  </a:lnTo>
                  <a:lnTo>
                    <a:pt x="336" y="488"/>
                  </a:lnTo>
                  <a:lnTo>
                    <a:pt x="366" y="480"/>
                  </a:lnTo>
                  <a:lnTo>
                    <a:pt x="393" y="465"/>
                  </a:lnTo>
                  <a:lnTo>
                    <a:pt x="414" y="444"/>
                  </a:lnTo>
                  <a:lnTo>
                    <a:pt x="431" y="418"/>
                  </a:lnTo>
                  <a:lnTo>
                    <a:pt x="443" y="383"/>
                  </a:lnTo>
                  <a:lnTo>
                    <a:pt x="450" y="345"/>
                  </a:lnTo>
                  <a:lnTo>
                    <a:pt x="452" y="301"/>
                  </a:lnTo>
                  <a:lnTo>
                    <a:pt x="450" y="257"/>
                  </a:lnTo>
                  <a:lnTo>
                    <a:pt x="443" y="219"/>
                  </a:lnTo>
                  <a:lnTo>
                    <a:pt x="429" y="187"/>
                  </a:lnTo>
                  <a:lnTo>
                    <a:pt x="412" y="160"/>
                  </a:lnTo>
                  <a:lnTo>
                    <a:pt x="389" y="139"/>
                  </a:lnTo>
                  <a:lnTo>
                    <a:pt x="362" y="124"/>
                  </a:lnTo>
                  <a:lnTo>
                    <a:pt x="332" y="114"/>
                  </a:lnTo>
                  <a:lnTo>
                    <a:pt x="297" y="112"/>
                  </a:lnTo>
                  <a:close/>
                  <a:moveTo>
                    <a:pt x="305" y="0"/>
                  </a:moveTo>
                  <a:lnTo>
                    <a:pt x="357" y="4"/>
                  </a:lnTo>
                  <a:lnTo>
                    <a:pt x="404" y="13"/>
                  </a:lnTo>
                  <a:lnTo>
                    <a:pt x="446" y="28"/>
                  </a:lnTo>
                  <a:lnTo>
                    <a:pt x="485" y="51"/>
                  </a:lnTo>
                  <a:lnTo>
                    <a:pt x="517" y="78"/>
                  </a:lnTo>
                  <a:lnTo>
                    <a:pt x="544" y="112"/>
                  </a:lnTo>
                  <a:lnTo>
                    <a:pt x="565" y="152"/>
                  </a:lnTo>
                  <a:lnTo>
                    <a:pt x="580" y="196"/>
                  </a:lnTo>
                  <a:lnTo>
                    <a:pt x="590" y="244"/>
                  </a:lnTo>
                  <a:lnTo>
                    <a:pt x="593" y="297"/>
                  </a:lnTo>
                  <a:lnTo>
                    <a:pt x="590" y="351"/>
                  </a:lnTo>
                  <a:lnTo>
                    <a:pt x="580" y="398"/>
                  </a:lnTo>
                  <a:lnTo>
                    <a:pt x="565" y="444"/>
                  </a:lnTo>
                  <a:lnTo>
                    <a:pt x="542" y="484"/>
                  </a:lnTo>
                  <a:lnTo>
                    <a:pt x="511" y="521"/>
                  </a:lnTo>
                  <a:lnTo>
                    <a:pt x="477" y="551"/>
                  </a:lnTo>
                  <a:lnTo>
                    <a:pt x="437" y="574"/>
                  </a:lnTo>
                  <a:lnTo>
                    <a:pt x="393" y="591"/>
                  </a:lnTo>
                  <a:lnTo>
                    <a:pt x="345" y="601"/>
                  </a:lnTo>
                  <a:lnTo>
                    <a:pt x="292" y="604"/>
                  </a:lnTo>
                  <a:lnTo>
                    <a:pt x="240" y="601"/>
                  </a:lnTo>
                  <a:lnTo>
                    <a:pt x="194" y="591"/>
                  </a:lnTo>
                  <a:lnTo>
                    <a:pt x="150" y="576"/>
                  </a:lnTo>
                  <a:lnTo>
                    <a:pt x="112" y="553"/>
                  </a:lnTo>
                  <a:lnTo>
                    <a:pt x="80" y="524"/>
                  </a:lnTo>
                  <a:lnTo>
                    <a:pt x="51" y="490"/>
                  </a:lnTo>
                  <a:lnTo>
                    <a:pt x="28" y="452"/>
                  </a:lnTo>
                  <a:lnTo>
                    <a:pt x="13" y="408"/>
                  </a:lnTo>
                  <a:lnTo>
                    <a:pt x="3" y="360"/>
                  </a:lnTo>
                  <a:lnTo>
                    <a:pt x="0" y="309"/>
                  </a:lnTo>
                  <a:lnTo>
                    <a:pt x="3" y="254"/>
                  </a:lnTo>
                  <a:lnTo>
                    <a:pt x="13" y="204"/>
                  </a:lnTo>
                  <a:lnTo>
                    <a:pt x="28" y="158"/>
                  </a:lnTo>
                  <a:lnTo>
                    <a:pt x="51" y="118"/>
                  </a:lnTo>
                  <a:lnTo>
                    <a:pt x="82" y="82"/>
                  </a:lnTo>
                  <a:lnTo>
                    <a:pt x="116" y="53"/>
                  </a:lnTo>
                  <a:lnTo>
                    <a:pt x="156" y="30"/>
                  </a:lnTo>
                  <a:lnTo>
                    <a:pt x="200" y="13"/>
                  </a:lnTo>
                  <a:lnTo>
                    <a:pt x="252" y="4"/>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6" name="Freeform 11"/>
            <p:cNvSpPr>
              <a:spLocks/>
            </p:cNvSpPr>
            <p:nvPr/>
          </p:nvSpPr>
          <p:spPr bwMode="auto">
            <a:xfrm>
              <a:off x="1873070" y="1434131"/>
              <a:ext cx="123226" cy="193825"/>
            </a:xfrm>
            <a:custGeom>
              <a:avLst/>
              <a:gdLst>
                <a:gd name="T0" fmla="*/ 252 w 384"/>
                <a:gd name="T1" fmla="*/ 2 h 604"/>
                <a:gd name="T2" fmla="*/ 323 w 384"/>
                <a:gd name="T3" fmla="*/ 15 h 604"/>
                <a:gd name="T4" fmla="*/ 354 w 384"/>
                <a:gd name="T5" fmla="*/ 25 h 604"/>
                <a:gd name="T6" fmla="*/ 348 w 384"/>
                <a:gd name="T7" fmla="*/ 147 h 604"/>
                <a:gd name="T8" fmla="*/ 287 w 384"/>
                <a:gd name="T9" fmla="*/ 118 h 604"/>
                <a:gd name="T10" fmla="*/ 216 w 384"/>
                <a:gd name="T11" fmla="*/ 107 h 604"/>
                <a:gd name="T12" fmla="*/ 174 w 384"/>
                <a:gd name="T13" fmla="*/ 114 h 604"/>
                <a:gd name="T14" fmla="*/ 147 w 384"/>
                <a:gd name="T15" fmla="*/ 135 h 604"/>
                <a:gd name="T16" fmla="*/ 138 w 384"/>
                <a:gd name="T17" fmla="*/ 166 h 604"/>
                <a:gd name="T18" fmla="*/ 153 w 384"/>
                <a:gd name="T19" fmla="*/ 210 h 604"/>
                <a:gd name="T20" fmla="*/ 197 w 384"/>
                <a:gd name="T21" fmla="*/ 236 h 604"/>
                <a:gd name="T22" fmla="*/ 285 w 384"/>
                <a:gd name="T23" fmla="*/ 274 h 604"/>
                <a:gd name="T24" fmla="*/ 350 w 384"/>
                <a:gd name="T25" fmla="*/ 324 h 604"/>
                <a:gd name="T26" fmla="*/ 380 w 384"/>
                <a:gd name="T27" fmla="*/ 387 h 604"/>
                <a:gd name="T28" fmla="*/ 380 w 384"/>
                <a:gd name="T29" fmla="*/ 463 h 604"/>
                <a:gd name="T30" fmla="*/ 348 w 384"/>
                <a:gd name="T31" fmla="*/ 528 h 604"/>
                <a:gd name="T32" fmla="*/ 287 w 384"/>
                <a:gd name="T33" fmla="*/ 576 h 604"/>
                <a:gd name="T34" fmla="*/ 203 w 384"/>
                <a:gd name="T35" fmla="*/ 601 h 604"/>
                <a:gd name="T36" fmla="*/ 117 w 384"/>
                <a:gd name="T37" fmla="*/ 603 h 604"/>
                <a:gd name="T38" fmla="*/ 35 w 384"/>
                <a:gd name="T39" fmla="*/ 585 h 604"/>
                <a:gd name="T40" fmla="*/ 0 w 384"/>
                <a:gd name="T41" fmla="*/ 572 h 604"/>
                <a:gd name="T42" fmla="*/ 6 w 384"/>
                <a:gd name="T43" fmla="*/ 444 h 604"/>
                <a:gd name="T44" fmla="*/ 82 w 384"/>
                <a:gd name="T45" fmla="*/ 482 h 604"/>
                <a:gd name="T46" fmla="*/ 159 w 384"/>
                <a:gd name="T47" fmla="*/ 496 h 604"/>
                <a:gd name="T48" fmla="*/ 214 w 384"/>
                <a:gd name="T49" fmla="*/ 488 h 604"/>
                <a:gd name="T50" fmla="*/ 243 w 384"/>
                <a:gd name="T51" fmla="*/ 459 h 604"/>
                <a:gd name="T52" fmla="*/ 245 w 384"/>
                <a:gd name="T53" fmla="*/ 421 h 604"/>
                <a:gd name="T54" fmla="*/ 226 w 384"/>
                <a:gd name="T55" fmla="*/ 395 h 604"/>
                <a:gd name="T56" fmla="*/ 189 w 384"/>
                <a:gd name="T57" fmla="*/ 372 h 604"/>
                <a:gd name="T58" fmla="*/ 138 w 384"/>
                <a:gd name="T59" fmla="*/ 349 h 604"/>
                <a:gd name="T60" fmla="*/ 77 w 384"/>
                <a:gd name="T61" fmla="*/ 316 h 604"/>
                <a:gd name="T62" fmla="*/ 31 w 384"/>
                <a:gd name="T63" fmla="*/ 276 h 604"/>
                <a:gd name="T64" fmla="*/ 4 w 384"/>
                <a:gd name="T65" fmla="*/ 215 h 604"/>
                <a:gd name="T66" fmla="*/ 4 w 384"/>
                <a:gd name="T67" fmla="*/ 139 h 604"/>
                <a:gd name="T68" fmla="*/ 35 w 384"/>
                <a:gd name="T69" fmla="*/ 76 h 604"/>
                <a:gd name="T70" fmla="*/ 96 w 384"/>
                <a:gd name="T71" fmla="*/ 27 h 604"/>
                <a:gd name="T72" fmla="*/ 174 w 384"/>
                <a:gd name="T73" fmla="*/ 4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604">
                  <a:moveTo>
                    <a:pt x="222" y="0"/>
                  </a:moveTo>
                  <a:lnTo>
                    <a:pt x="252" y="2"/>
                  </a:lnTo>
                  <a:lnTo>
                    <a:pt x="289" y="7"/>
                  </a:lnTo>
                  <a:lnTo>
                    <a:pt x="323" y="15"/>
                  </a:lnTo>
                  <a:lnTo>
                    <a:pt x="352" y="25"/>
                  </a:lnTo>
                  <a:lnTo>
                    <a:pt x="354" y="25"/>
                  </a:lnTo>
                  <a:lnTo>
                    <a:pt x="354" y="151"/>
                  </a:lnTo>
                  <a:lnTo>
                    <a:pt x="348" y="147"/>
                  </a:lnTo>
                  <a:lnTo>
                    <a:pt x="319" y="131"/>
                  </a:lnTo>
                  <a:lnTo>
                    <a:pt x="287" y="118"/>
                  </a:lnTo>
                  <a:lnTo>
                    <a:pt x="252" y="110"/>
                  </a:lnTo>
                  <a:lnTo>
                    <a:pt x="216" y="107"/>
                  </a:lnTo>
                  <a:lnTo>
                    <a:pt x="193" y="109"/>
                  </a:lnTo>
                  <a:lnTo>
                    <a:pt x="174" y="114"/>
                  </a:lnTo>
                  <a:lnTo>
                    <a:pt x="159" y="124"/>
                  </a:lnTo>
                  <a:lnTo>
                    <a:pt x="147" y="135"/>
                  </a:lnTo>
                  <a:lnTo>
                    <a:pt x="140" y="149"/>
                  </a:lnTo>
                  <a:lnTo>
                    <a:pt x="138" y="166"/>
                  </a:lnTo>
                  <a:lnTo>
                    <a:pt x="142" y="191"/>
                  </a:lnTo>
                  <a:lnTo>
                    <a:pt x="153" y="210"/>
                  </a:lnTo>
                  <a:lnTo>
                    <a:pt x="170" y="221"/>
                  </a:lnTo>
                  <a:lnTo>
                    <a:pt x="197" y="236"/>
                  </a:lnTo>
                  <a:lnTo>
                    <a:pt x="235" y="252"/>
                  </a:lnTo>
                  <a:lnTo>
                    <a:pt x="285" y="274"/>
                  </a:lnTo>
                  <a:lnTo>
                    <a:pt x="323" y="299"/>
                  </a:lnTo>
                  <a:lnTo>
                    <a:pt x="350" y="324"/>
                  </a:lnTo>
                  <a:lnTo>
                    <a:pt x="369" y="355"/>
                  </a:lnTo>
                  <a:lnTo>
                    <a:pt x="380" y="387"/>
                  </a:lnTo>
                  <a:lnTo>
                    <a:pt x="384" y="423"/>
                  </a:lnTo>
                  <a:lnTo>
                    <a:pt x="380" y="463"/>
                  </a:lnTo>
                  <a:lnTo>
                    <a:pt x="369" y="498"/>
                  </a:lnTo>
                  <a:lnTo>
                    <a:pt x="348" y="528"/>
                  </a:lnTo>
                  <a:lnTo>
                    <a:pt x="321" y="555"/>
                  </a:lnTo>
                  <a:lnTo>
                    <a:pt x="287" y="576"/>
                  </a:lnTo>
                  <a:lnTo>
                    <a:pt x="249" y="591"/>
                  </a:lnTo>
                  <a:lnTo>
                    <a:pt x="203" y="601"/>
                  </a:lnTo>
                  <a:lnTo>
                    <a:pt x="153" y="604"/>
                  </a:lnTo>
                  <a:lnTo>
                    <a:pt x="117" y="603"/>
                  </a:lnTo>
                  <a:lnTo>
                    <a:pt x="75" y="595"/>
                  </a:lnTo>
                  <a:lnTo>
                    <a:pt x="35" y="585"/>
                  </a:lnTo>
                  <a:lnTo>
                    <a:pt x="2" y="572"/>
                  </a:lnTo>
                  <a:lnTo>
                    <a:pt x="0" y="572"/>
                  </a:lnTo>
                  <a:lnTo>
                    <a:pt x="0" y="440"/>
                  </a:lnTo>
                  <a:lnTo>
                    <a:pt x="6" y="444"/>
                  </a:lnTo>
                  <a:lnTo>
                    <a:pt x="42" y="465"/>
                  </a:lnTo>
                  <a:lnTo>
                    <a:pt x="82" y="482"/>
                  </a:lnTo>
                  <a:lnTo>
                    <a:pt x="123" y="494"/>
                  </a:lnTo>
                  <a:lnTo>
                    <a:pt x="159" y="496"/>
                  </a:lnTo>
                  <a:lnTo>
                    <a:pt x="189" y="494"/>
                  </a:lnTo>
                  <a:lnTo>
                    <a:pt x="214" y="488"/>
                  </a:lnTo>
                  <a:lnTo>
                    <a:pt x="233" y="477"/>
                  </a:lnTo>
                  <a:lnTo>
                    <a:pt x="243" y="459"/>
                  </a:lnTo>
                  <a:lnTo>
                    <a:pt x="247" y="439"/>
                  </a:lnTo>
                  <a:lnTo>
                    <a:pt x="245" y="421"/>
                  </a:lnTo>
                  <a:lnTo>
                    <a:pt x="239" y="406"/>
                  </a:lnTo>
                  <a:lnTo>
                    <a:pt x="226" y="395"/>
                  </a:lnTo>
                  <a:lnTo>
                    <a:pt x="209" y="381"/>
                  </a:lnTo>
                  <a:lnTo>
                    <a:pt x="189" y="372"/>
                  </a:lnTo>
                  <a:lnTo>
                    <a:pt x="167" y="360"/>
                  </a:lnTo>
                  <a:lnTo>
                    <a:pt x="138" y="349"/>
                  </a:lnTo>
                  <a:lnTo>
                    <a:pt x="103" y="334"/>
                  </a:lnTo>
                  <a:lnTo>
                    <a:pt x="77" y="316"/>
                  </a:lnTo>
                  <a:lnTo>
                    <a:pt x="54" y="301"/>
                  </a:lnTo>
                  <a:lnTo>
                    <a:pt x="31" y="276"/>
                  </a:lnTo>
                  <a:lnTo>
                    <a:pt x="14" y="248"/>
                  </a:lnTo>
                  <a:lnTo>
                    <a:pt x="4" y="215"/>
                  </a:lnTo>
                  <a:lnTo>
                    <a:pt x="0" y="177"/>
                  </a:lnTo>
                  <a:lnTo>
                    <a:pt x="4" y="139"/>
                  </a:lnTo>
                  <a:lnTo>
                    <a:pt x="16" y="105"/>
                  </a:lnTo>
                  <a:lnTo>
                    <a:pt x="35" y="76"/>
                  </a:lnTo>
                  <a:lnTo>
                    <a:pt x="61" y="49"/>
                  </a:lnTo>
                  <a:lnTo>
                    <a:pt x="96" y="27"/>
                  </a:lnTo>
                  <a:lnTo>
                    <a:pt x="132" y="11"/>
                  </a:lnTo>
                  <a:lnTo>
                    <a:pt x="174" y="4"/>
                  </a:lnTo>
                  <a:lnTo>
                    <a:pt x="222"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7" name="Freeform 12"/>
            <p:cNvSpPr>
              <a:spLocks noEditPoints="1"/>
            </p:cNvSpPr>
            <p:nvPr/>
          </p:nvSpPr>
          <p:spPr bwMode="auto">
            <a:xfrm>
              <a:off x="2014908" y="1434131"/>
              <a:ext cx="190615" cy="193825"/>
            </a:xfrm>
            <a:custGeom>
              <a:avLst/>
              <a:gdLst>
                <a:gd name="T0" fmla="*/ 264 w 594"/>
                <a:gd name="T1" fmla="*/ 114 h 604"/>
                <a:gd name="T2" fmla="*/ 207 w 594"/>
                <a:gd name="T3" fmla="*/ 141 h 604"/>
                <a:gd name="T4" fmla="*/ 165 w 594"/>
                <a:gd name="T5" fmla="*/ 189 h 604"/>
                <a:gd name="T6" fmla="*/ 144 w 594"/>
                <a:gd name="T7" fmla="*/ 261 h 604"/>
                <a:gd name="T8" fmla="*/ 144 w 594"/>
                <a:gd name="T9" fmla="*/ 347 h 604"/>
                <a:gd name="T10" fmla="*/ 165 w 594"/>
                <a:gd name="T11" fmla="*/ 416 h 604"/>
                <a:gd name="T12" fmla="*/ 207 w 594"/>
                <a:gd name="T13" fmla="*/ 465 h 604"/>
                <a:gd name="T14" fmla="*/ 264 w 594"/>
                <a:gd name="T15" fmla="*/ 488 h 604"/>
                <a:gd name="T16" fmla="*/ 337 w 594"/>
                <a:gd name="T17" fmla="*/ 488 h 604"/>
                <a:gd name="T18" fmla="*/ 392 w 594"/>
                <a:gd name="T19" fmla="*/ 465 h 604"/>
                <a:gd name="T20" fmla="*/ 432 w 594"/>
                <a:gd name="T21" fmla="*/ 418 h 604"/>
                <a:gd name="T22" fmla="*/ 451 w 594"/>
                <a:gd name="T23" fmla="*/ 345 h 604"/>
                <a:gd name="T24" fmla="*/ 451 w 594"/>
                <a:gd name="T25" fmla="*/ 257 h 604"/>
                <a:gd name="T26" fmla="*/ 430 w 594"/>
                <a:gd name="T27" fmla="*/ 187 h 604"/>
                <a:gd name="T28" fmla="*/ 390 w 594"/>
                <a:gd name="T29" fmla="*/ 139 h 604"/>
                <a:gd name="T30" fmla="*/ 333 w 594"/>
                <a:gd name="T31" fmla="*/ 114 h 604"/>
                <a:gd name="T32" fmla="*/ 306 w 594"/>
                <a:gd name="T33" fmla="*/ 0 h 604"/>
                <a:gd name="T34" fmla="*/ 405 w 594"/>
                <a:gd name="T35" fmla="*/ 13 h 604"/>
                <a:gd name="T36" fmla="*/ 485 w 594"/>
                <a:gd name="T37" fmla="*/ 51 h 604"/>
                <a:gd name="T38" fmla="*/ 545 w 594"/>
                <a:gd name="T39" fmla="*/ 112 h 604"/>
                <a:gd name="T40" fmla="*/ 581 w 594"/>
                <a:gd name="T41" fmla="*/ 196 h 604"/>
                <a:gd name="T42" fmla="*/ 594 w 594"/>
                <a:gd name="T43" fmla="*/ 297 h 604"/>
                <a:gd name="T44" fmla="*/ 581 w 594"/>
                <a:gd name="T45" fmla="*/ 398 h 604"/>
                <a:gd name="T46" fmla="*/ 543 w 594"/>
                <a:gd name="T47" fmla="*/ 484 h 604"/>
                <a:gd name="T48" fmla="*/ 478 w 594"/>
                <a:gd name="T49" fmla="*/ 551 h 604"/>
                <a:gd name="T50" fmla="*/ 394 w 594"/>
                <a:gd name="T51" fmla="*/ 591 h 604"/>
                <a:gd name="T52" fmla="*/ 293 w 594"/>
                <a:gd name="T53" fmla="*/ 604 h 604"/>
                <a:gd name="T54" fmla="*/ 195 w 594"/>
                <a:gd name="T55" fmla="*/ 591 h 604"/>
                <a:gd name="T56" fmla="*/ 113 w 594"/>
                <a:gd name="T57" fmla="*/ 553 h 604"/>
                <a:gd name="T58" fmla="*/ 52 w 594"/>
                <a:gd name="T59" fmla="*/ 490 h 604"/>
                <a:gd name="T60" fmla="*/ 14 w 594"/>
                <a:gd name="T61" fmla="*/ 408 h 604"/>
                <a:gd name="T62" fmla="*/ 0 w 594"/>
                <a:gd name="T63" fmla="*/ 309 h 604"/>
                <a:gd name="T64" fmla="*/ 14 w 594"/>
                <a:gd name="T65" fmla="*/ 204 h 604"/>
                <a:gd name="T66" fmla="*/ 52 w 594"/>
                <a:gd name="T67" fmla="*/ 118 h 604"/>
                <a:gd name="T68" fmla="*/ 117 w 594"/>
                <a:gd name="T69" fmla="*/ 53 h 604"/>
                <a:gd name="T70" fmla="*/ 201 w 594"/>
                <a:gd name="T71" fmla="*/ 13 h 604"/>
                <a:gd name="T72" fmla="*/ 306 w 594"/>
                <a:gd name="T73" fmla="*/ 0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4" h="604">
                  <a:moveTo>
                    <a:pt x="298" y="112"/>
                  </a:moveTo>
                  <a:lnTo>
                    <a:pt x="264" y="114"/>
                  </a:lnTo>
                  <a:lnTo>
                    <a:pt x="233" y="124"/>
                  </a:lnTo>
                  <a:lnTo>
                    <a:pt x="207" y="141"/>
                  </a:lnTo>
                  <a:lnTo>
                    <a:pt x="184" y="162"/>
                  </a:lnTo>
                  <a:lnTo>
                    <a:pt x="165" y="189"/>
                  </a:lnTo>
                  <a:lnTo>
                    <a:pt x="151" y="223"/>
                  </a:lnTo>
                  <a:lnTo>
                    <a:pt x="144" y="261"/>
                  </a:lnTo>
                  <a:lnTo>
                    <a:pt x="142" y="305"/>
                  </a:lnTo>
                  <a:lnTo>
                    <a:pt x="144" y="347"/>
                  </a:lnTo>
                  <a:lnTo>
                    <a:pt x="151" y="383"/>
                  </a:lnTo>
                  <a:lnTo>
                    <a:pt x="165" y="416"/>
                  </a:lnTo>
                  <a:lnTo>
                    <a:pt x="184" y="442"/>
                  </a:lnTo>
                  <a:lnTo>
                    <a:pt x="207" y="465"/>
                  </a:lnTo>
                  <a:lnTo>
                    <a:pt x="233" y="480"/>
                  </a:lnTo>
                  <a:lnTo>
                    <a:pt x="264" y="488"/>
                  </a:lnTo>
                  <a:lnTo>
                    <a:pt x="300" y="492"/>
                  </a:lnTo>
                  <a:lnTo>
                    <a:pt x="337" y="488"/>
                  </a:lnTo>
                  <a:lnTo>
                    <a:pt x="367" y="480"/>
                  </a:lnTo>
                  <a:lnTo>
                    <a:pt x="392" y="465"/>
                  </a:lnTo>
                  <a:lnTo>
                    <a:pt x="415" y="444"/>
                  </a:lnTo>
                  <a:lnTo>
                    <a:pt x="432" y="418"/>
                  </a:lnTo>
                  <a:lnTo>
                    <a:pt x="443" y="383"/>
                  </a:lnTo>
                  <a:lnTo>
                    <a:pt x="451" y="345"/>
                  </a:lnTo>
                  <a:lnTo>
                    <a:pt x="453" y="301"/>
                  </a:lnTo>
                  <a:lnTo>
                    <a:pt x="451" y="257"/>
                  </a:lnTo>
                  <a:lnTo>
                    <a:pt x="443" y="219"/>
                  </a:lnTo>
                  <a:lnTo>
                    <a:pt x="430" y="187"/>
                  </a:lnTo>
                  <a:lnTo>
                    <a:pt x="411" y="160"/>
                  </a:lnTo>
                  <a:lnTo>
                    <a:pt x="390" y="139"/>
                  </a:lnTo>
                  <a:lnTo>
                    <a:pt x="363" y="124"/>
                  </a:lnTo>
                  <a:lnTo>
                    <a:pt x="333" y="114"/>
                  </a:lnTo>
                  <a:lnTo>
                    <a:pt x="298" y="112"/>
                  </a:lnTo>
                  <a:close/>
                  <a:moveTo>
                    <a:pt x="306" y="0"/>
                  </a:moveTo>
                  <a:lnTo>
                    <a:pt x="358" y="4"/>
                  </a:lnTo>
                  <a:lnTo>
                    <a:pt x="405" y="13"/>
                  </a:lnTo>
                  <a:lnTo>
                    <a:pt x="447" y="28"/>
                  </a:lnTo>
                  <a:lnTo>
                    <a:pt x="485" y="51"/>
                  </a:lnTo>
                  <a:lnTo>
                    <a:pt x="518" y="78"/>
                  </a:lnTo>
                  <a:lnTo>
                    <a:pt x="545" y="112"/>
                  </a:lnTo>
                  <a:lnTo>
                    <a:pt x="566" y="152"/>
                  </a:lnTo>
                  <a:lnTo>
                    <a:pt x="581" y="196"/>
                  </a:lnTo>
                  <a:lnTo>
                    <a:pt x="591" y="244"/>
                  </a:lnTo>
                  <a:lnTo>
                    <a:pt x="594" y="297"/>
                  </a:lnTo>
                  <a:lnTo>
                    <a:pt x="591" y="351"/>
                  </a:lnTo>
                  <a:lnTo>
                    <a:pt x="581" y="398"/>
                  </a:lnTo>
                  <a:lnTo>
                    <a:pt x="564" y="444"/>
                  </a:lnTo>
                  <a:lnTo>
                    <a:pt x="543" y="484"/>
                  </a:lnTo>
                  <a:lnTo>
                    <a:pt x="512" y="521"/>
                  </a:lnTo>
                  <a:lnTo>
                    <a:pt x="478" y="551"/>
                  </a:lnTo>
                  <a:lnTo>
                    <a:pt x="438" y="574"/>
                  </a:lnTo>
                  <a:lnTo>
                    <a:pt x="394" y="591"/>
                  </a:lnTo>
                  <a:lnTo>
                    <a:pt x="346" y="601"/>
                  </a:lnTo>
                  <a:lnTo>
                    <a:pt x="293" y="604"/>
                  </a:lnTo>
                  <a:lnTo>
                    <a:pt x="241" y="601"/>
                  </a:lnTo>
                  <a:lnTo>
                    <a:pt x="195" y="591"/>
                  </a:lnTo>
                  <a:lnTo>
                    <a:pt x="151" y="576"/>
                  </a:lnTo>
                  <a:lnTo>
                    <a:pt x="113" y="553"/>
                  </a:lnTo>
                  <a:lnTo>
                    <a:pt x="79" y="524"/>
                  </a:lnTo>
                  <a:lnTo>
                    <a:pt x="52" y="490"/>
                  </a:lnTo>
                  <a:lnTo>
                    <a:pt x="29" y="452"/>
                  </a:lnTo>
                  <a:lnTo>
                    <a:pt x="14" y="408"/>
                  </a:lnTo>
                  <a:lnTo>
                    <a:pt x="4" y="360"/>
                  </a:lnTo>
                  <a:lnTo>
                    <a:pt x="0" y="309"/>
                  </a:lnTo>
                  <a:lnTo>
                    <a:pt x="4" y="254"/>
                  </a:lnTo>
                  <a:lnTo>
                    <a:pt x="14" y="204"/>
                  </a:lnTo>
                  <a:lnTo>
                    <a:pt x="29" y="158"/>
                  </a:lnTo>
                  <a:lnTo>
                    <a:pt x="52" y="118"/>
                  </a:lnTo>
                  <a:lnTo>
                    <a:pt x="81" y="82"/>
                  </a:lnTo>
                  <a:lnTo>
                    <a:pt x="117" y="53"/>
                  </a:lnTo>
                  <a:lnTo>
                    <a:pt x="157" y="30"/>
                  </a:lnTo>
                  <a:lnTo>
                    <a:pt x="201" y="13"/>
                  </a:lnTo>
                  <a:lnTo>
                    <a:pt x="251" y="4"/>
                  </a:lnTo>
                  <a:lnTo>
                    <a:pt x="30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8" name="Freeform 13"/>
            <p:cNvSpPr>
              <a:spLocks/>
            </p:cNvSpPr>
            <p:nvPr/>
          </p:nvSpPr>
          <p:spPr bwMode="auto">
            <a:xfrm>
              <a:off x="2210016" y="1346845"/>
              <a:ext cx="227840" cy="281110"/>
            </a:xfrm>
            <a:custGeom>
              <a:avLst/>
              <a:gdLst>
                <a:gd name="T0" fmla="*/ 347 w 710"/>
                <a:gd name="T1" fmla="*/ 2 h 877"/>
                <a:gd name="T2" fmla="*/ 384 w 710"/>
                <a:gd name="T3" fmla="*/ 12 h 877"/>
                <a:gd name="T4" fmla="*/ 378 w 710"/>
                <a:gd name="T5" fmla="*/ 124 h 877"/>
                <a:gd name="T6" fmla="*/ 319 w 710"/>
                <a:gd name="T7" fmla="*/ 111 h 877"/>
                <a:gd name="T8" fmla="*/ 273 w 710"/>
                <a:gd name="T9" fmla="*/ 122 h 877"/>
                <a:gd name="T10" fmla="*/ 242 w 710"/>
                <a:gd name="T11" fmla="*/ 157 h 877"/>
                <a:gd name="T12" fmla="*/ 233 w 710"/>
                <a:gd name="T13" fmla="*/ 214 h 877"/>
                <a:gd name="T14" fmla="*/ 437 w 710"/>
                <a:gd name="T15" fmla="*/ 286 h 877"/>
                <a:gd name="T16" fmla="*/ 439 w 710"/>
                <a:gd name="T17" fmla="*/ 155 h 877"/>
                <a:gd name="T18" fmla="*/ 573 w 710"/>
                <a:gd name="T19" fmla="*/ 115 h 877"/>
                <a:gd name="T20" fmla="*/ 710 w 710"/>
                <a:gd name="T21" fmla="*/ 286 h 877"/>
                <a:gd name="T22" fmla="*/ 573 w 710"/>
                <a:gd name="T23" fmla="*/ 397 h 877"/>
                <a:gd name="T24" fmla="*/ 575 w 710"/>
                <a:gd name="T25" fmla="*/ 702 h 877"/>
                <a:gd name="T26" fmla="*/ 592 w 710"/>
                <a:gd name="T27" fmla="*/ 744 h 877"/>
                <a:gd name="T28" fmla="*/ 626 w 710"/>
                <a:gd name="T29" fmla="*/ 763 h 877"/>
                <a:gd name="T30" fmla="*/ 659 w 710"/>
                <a:gd name="T31" fmla="*/ 765 h 877"/>
                <a:gd name="T32" fmla="*/ 678 w 710"/>
                <a:gd name="T33" fmla="*/ 761 h 877"/>
                <a:gd name="T34" fmla="*/ 697 w 710"/>
                <a:gd name="T35" fmla="*/ 753 h 877"/>
                <a:gd name="T36" fmla="*/ 710 w 710"/>
                <a:gd name="T37" fmla="*/ 744 h 877"/>
                <a:gd name="T38" fmla="*/ 708 w 710"/>
                <a:gd name="T39" fmla="*/ 858 h 877"/>
                <a:gd name="T40" fmla="*/ 666 w 710"/>
                <a:gd name="T41" fmla="*/ 872 h 877"/>
                <a:gd name="T42" fmla="*/ 609 w 710"/>
                <a:gd name="T43" fmla="*/ 877 h 877"/>
                <a:gd name="T44" fmla="*/ 525 w 710"/>
                <a:gd name="T45" fmla="*/ 862 h 877"/>
                <a:gd name="T46" fmla="*/ 468 w 710"/>
                <a:gd name="T47" fmla="*/ 816 h 877"/>
                <a:gd name="T48" fmla="*/ 441 w 710"/>
                <a:gd name="T49" fmla="*/ 742 h 877"/>
                <a:gd name="T50" fmla="*/ 437 w 710"/>
                <a:gd name="T51" fmla="*/ 397 h 877"/>
                <a:gd name="T52" fmla="*/ 233 w 710"/>
                <a:gd name="T53" fmla="*/ 864 h 877"/>
                <a:gd name="T54" fmla="*/ 95 w 710"/>
                <a:gd name="T55" fmla="*/ 397 h 877"/>
                <a:gd name="T56" fmla="*/ 0 w 710"/>
                <a:gd name="T57" fmla="*/ 286 h 877"/>
                <a:gd name="T58" fmla="*/ 95 w 710"/>
                <a:gd name="T59" fmla="*/ 206 h 877"/>
                <a:gd name="T60" fmla="*/ 107 w 710"/>
                <a:gd name="T61" fmla="*/ 132 h 877"/>
                <a:gd name="T62" fmla="*/ 141 w 710"/>
                <a:gd name="T63" fmla="*/ 71 h 877"/>
                <a:gd name="T64" fmla="*/ 196 w 710"/>
                <a:gd name="T65" fmla="*/ 25 h 877"/>
                <a:gd name="T66" fmla="*/ 265 w 710"/>
                <a:gd name="T67" fmla="*/ 2 h 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0" h="877">
                  <a:moveTo>
                    <a:pt x="305" y="0"/>
                  </a:moveTo>
                  <a:lnTo>
                    <a:pt x="347" y="2"/>
                  </a:lnTo>
                  <a:lnTo>
                    <a:pt x="382" y="10"/>
                  </a:lnTo>
                  <a:lnTo>
                    <a:pt x="384" y="12"/>
                  </a:lnTo>
                  <a:lnTo>
                    <a:pt x="384" y="128"/>
                  </a:lnTo>
                  <a:lnTo>
                    <a:pt x="378" y="124"/>
                  </a:lnTo>
                  <a:lnTo>
                    <a:pt x="347" y="115"/>
                  </a:lnTo>
                  <a:lnTo>
                    <a:pt x="319" y="111"/>
                  </a:lnTo>
                  <a:lnTo>
                    <a:pt x="294" y="115"/>
                  </a:lnTo>
                  <a:lnTo>
                    <a:pt x="273" y="122"/>
                  </a:lnTo>
                  <a:lnTo>
                    <a:pt x="256" y="137"/>
                  </a:lnTo>
                  <a:lnTo>
                    <a:pt x="242" y="157"/>
                  </a:lnTo>
                  <a:lnTo>
                    <a:pt x="235" y="183"/>
                  </a:lnTo>
                  <a:lnTo>
                    <a:pt x="233" y="214"/>
                  </a:lnTo>
                  <a:lnTo>
                    <a:pt x="233" y="286"/>
                  </a:lnTo>
                  <a:lnTo>
                    <a:pt x="437" y="286"/>
                  </a:lnTo>
                  <a:lnTo>
                    <a:pt x="437" y="157"/>
                  </a:lnTo>
                  <a:lnTo>
                    <a:pt x="439" y="155"/>
                  </a:lnTo>
                  <a:lnTo>
                    <a:pt x="569" y="116"/>
                  </a:lnTo>
                  <a:lnTo>
                    <a:pt x="573" y="115"/>
                  </a:lnTo>
                  <a:lnTo>
                    <a:pt x="573" y="286"/>
                  </a:lnTo>
                  <a:lnTo>
                    <a:pt x="710" y="286"/>
                  </a:lnTo>
                  <a:lnTo>
                    <a:pt x="710" y="397"/>
                  </a:lnTo>
                  <a:lnTo>
                    <a:pt x="573" y="397"/>
                  </a:lnTo>
                  <a:lnTo>
                    <a:pt x="573" y="670"/>
                  </a:lnTo>
                  <a:lnTo>
                    <a:pt x="575" y="702"/>
                  </a:lnTo>
                  <a:lnTo>
                    <a:pt x="582" y="727"/>
                  </a:lnTo>
                  <a:lnTo>
                    <a:pt x="592" y="744"/>
                  </a:lnTo>
                  <a:lnTo>
                    <a:pt x="607" y="755"/>
                  </a:lnTo>
                  <a:lnTo>
                    <a:pt x="626" y="763"/>
                  </a:lnTo>
                  <a:lnTo>
                    <a:pt x="651" y="765"/>
                  </a:lnTo>
                  <a:lnTo>
                    <a:pt x="659" y="765"/>
                  </a:lnTo>
                  <a:lnTo>
                    <a:pt x="666" y="763"/>
                  </a:lnTo>
                  <a:lnTo>
                    <a:pt x="678" y="761"/>
                  </a:lnTo>
                  <a:lnTo>
                    <a:pt x="687" y="757"/>
                  </a:lnTo>
                  <a:lnTo>
                    <a:pt x="697" y="753"/>
                  </a:lnTo>
                  <a:lnTo>
                    <a:pt x="704" y="748"/>
                  </a:lnTo>
                  <a:lnTo>
                    <a:pt x="710" y="744"/>
                  </a:lnTo>
                  <a:lnTo>
                    <a:pt x="710" y="856"/>
                  </a:lnTo>
                  <a:lnTo>
                    <a:pt x="708" y="858"/>
                  </a:lnTo>
                  <a:lnTo>
                    <a:pt x="693" y="864"/>
                  </a:lnTo>
                  <a:lnTo>
                    <a:pt x="666" y="872"/>
                  </a:lnTo>
                  <a:lnTo>
                    <a:pt x="638" y="876"/>
                  </a:lnTo>
                  <a:lnTo>
                    <a:pt x="609" y="877"/>
                  </a:lnTo>
                  <a:lnTo>
                    <a:pt x="563" y="874"/>
                  </a:lnTo>
                  <a:lnTo>
                    <a:pt x="525" y="862"/>
                  </a:lnTo>
                  <a:lnTo>
                    <a:pt x="492" y="843"/>
                  </a:lnTo>
                  <a:lnTo>
                    <a:pt x="468" y="816"/>
                  </a:lnTo>
                  <a:lnTo>
                    <a:pt x="450" y="784"/>
                  </a:lnTo>
                  <a:lnTo>
                    <a:pt x="441" y="742"/>
                  </a:lnTo>
                  <a:lnTo>
                    <a:pt x="437" y="694"/>
                  </a:lnTo>
                  <a:lnTo>
                    <a:pt x="437" y="397"/>
                  </a:lnTo>
                  <a:lnTo>
                    <a:pt x="233" y="397"/>
                  </a:lnTo>
                  <a:lnTo>
                    <a:pt x="233" y="864"/>
                  </a:lnTo>
                  <a:lnTo>
                    <a:pt x="95" y="864"/>
                  </a:lnTo>
                  <a:lnTo>
                    <a:pt x="95" y="397"/>
                  </a:lnTo>
                  <a:lnTo>
                    <a:pt x="0" y="397"/>
                  </a:lnTo>
                  <a:lnTo>
                    <a:pt x="0" y="286"/>
                  </a:lnTo>
                  <a:lnTo>
                    <a:pt x="95" y="286"/>
                  </a:lnTo>
                  <a:lnTo>
                    <a:pt x="95" y="206"/>
                  </a:lnTo>
                  <a:lnTo>
                    <a:pt x="99" y="168"/>
                  </a:lnTo>
                  <a:lnTo>
                    <a:pt x="107" y="132"/>
                  </a:lnTo>
                  <a:lnTo>
                    <a:pt x="122" y="99"/>
                  </a:lnTo>
                  <a:lnTo>
                    <a:pt x="141" y="71"/>
                  </a:lnTo>
                  <a:lnTo>
                    <a:pt x="166" y="46"/>
                  </a:lnTo>
                  <a:lnTo>
                    <a:pt x="196" y="25"/>
                  </a:lnTo>
                  <a:lnTo>
                    <a:pt x="229" y="12"/>
                  </a:lnTo>
                  <a:lnTo>
                    <a:pt x="265" y="2"/>
                  </a:lnTo>
                  <a:lnTo>
                    <a:pt x="30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48"/>
            </a:p>
          </p:txBody>
        </p:sp>
        <p:sp>
          <p:nvSpPr>
            <p:cNvPr id="19" name="Rectangle 14"/>
            <p:cNvSpPr>
              <a:spLocks noChangeArrowheads="1"/>
            </p:cNvSpPr>
            <p:nvPr/>
          </p:nvSpPr>
          <p:spPr bwMode="auto">
            <a:xfrm>
              <a:off x="416178" y="1279456"/>
              <a:ext cx="205377" cy="204093"/>
            </a:xfrm>
            <a:prstGeom prst="rect">
              <a:avLst/>
            </a:prstGeom>
            <a:solidFill>
              <a:srgbClr val="FF4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0" name="Rectangle 15"/>
            <p:cNvSpPr>
              <a:spLocks noChangeArrowheads="1"/>
            </p:cNvSpPr>
            <p:nvPr/>
          </p:nvSpPr>
          <p:spPr bwMode="auto">
            <a:xfrm>
              <a:off x="642734" y="1279456"/>
              <a:ext cx="204735" cy="204093"/>
            </a:xfrm>
            <a:prstGeom prst="rect">
              <a:avLst/>
            </a:prstGeom>
            <a:solidFill>
              <a:srgbClr val="8DC63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1" name="Rectangle 16"/>
            <p:cNvSpPr>
              <a:spLocks noChangeArrowheads="1"/>
            </p:cNvSpPr>
            <p:nvPr/>
          </p:nvSpPr>
          <p:spPr bwMode="auto">
            <a:xfrm>
              <a:off x="416178" y="1505371"/>
              <a:ext cx="205377" cy="204735"/>
            </a:xfrm>
            <a:prstGeom prst="rect">
              <a:avLst/>
            </a:prstGeom>
            <a:solidFill>
              <a:srgbClr val="00B0F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sp>
          <p:nvSpPr>
            <p:cNvPr id="22" name="Rectangle 17"/>
            <p:cNvSpPr>
              <a:spLocks noChangeArrowheads="1"/>
            </p:cNvSpPr>
            <p:nvPr/>
          </p:nvSpPr>
          <p:spPr bwMode="auto">
            <a:xfrm>
              <a:off x="642734" y="1505371"/>
              <a:ext cx="204735" cy="204735"/>
            </a:xfrm>
            <a:prstGeom prst="rect">
              <a:avLst/>
            </a:prstGeom>
            <a:solidFill>
              <a:srgbClr val="FFBF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sz="2448"/>
            </a:p>
          </p:txBody>
        </p:sp>
      </p:grpSp>
      <p:pic>
        <p:nvPicPr>
          <p:cNvPr id="34" name="Picture 3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7348" y="5911645"/>
            <a:ext cx="2139074" cy="705036"/>
          </a:xfrm>
          <a:prstGeom prst="rect">
            <a:avLst/>
          </a:prstGeom>
        </p:spPr>
      </p:pic>
      <p:sp>
        <p:nvSpPr>
          <p:cNvPr id="35" name="Text Placeholder 2"/>
          <p:cNvSpPr>
            <a:spLocks noGrp="1"/>
          </p:cNvSpPr>
          <p:nvPr>
            <p:ph type="body" sz="quarter" idx="10"/>
          </p:nvPr>
        </p:nvSpPr>
        <p:spPr>
          <a:xfrm>
            <a:off x="267602" y="1792511"/>
            <a:ext cx="7348775" cy="3805948"/>
          </a:xfrm>
        </p:spPr>
        <p:txBody>
          <a:bodyPr/>
          <a:lstStyle>
            <a:lvl1pPr>
              <a:defRPr sz="5440">
                <a:solidFill>
                  <a:schemeClr val="bg1"/>
                </a:solidFill>
              </a:defRPr>
            </a:lvl1pPr>
            <a:lvl2pPr>
              <a:defRPr sz="3808">
                <a:solidFill>
                  <a:schemeClr val="bg1"/>
                </a:solidFill>
                <a:latin typeface="+mj-lt"/>
              </a:defRPr>
            </a:lvl2pPr>
            <a:lvl3pPr marL="4858" indent="0">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p:cNvGrpSpPr/>
          <p:nvPr userDrawn="1"/>
        </p:nvGrpSpPr>
        <p:grpSpPr>
          <a:xfrm>
            <a:off x="10992201" y="975473"/>
            <a:ext cx="1006631" cy="4958657"/>
            <a:chOff x="8082088" y="1196224"/>
            <a:chExt cx="740132" cy="3646402"/>
          </a:xfrm>
        </p:grpSpPr>
        <p:grpSp>
          <p:nvGrpSpPr>
            <p:cNvPr id="2" name="Group 1"/>
            <p:cNvGrpSpPr/>
            <p:nvPr userDrawn="1"/>
          </p:nvGrpSpPr>
          <p:grpSpPr>
            <a:xfrm>
              <a:off x="8184535" y="1196224"/>
              <a:ext cx="549971" cy="3646402"/>
              <a:chOff x="8184535" y="1196224"/>
              <a:chExt cx="549971" cy="3646402"/>
            </a:xfrm>
          </p:grpSpPr>
          <p:sp>
            <p:nvSpPr>
              <p:cNvPr id="30" name="Oval 29"/>
              <p:cNvSpPr/>
              <p:nvPr userDrawn="1"/>
            </p:nvSpPr>
            <p:spPr>
              <a:xfrm>
                <a:off x="8184535" y="1196224"/>
                <a:ext cx="549971" cy="549971"/>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sp>
            <p:nvSpPr>
              <p:cNvPr id="32" name="Oval 31"/>
              <p:cNvSpPr/>
              <p:nvPr userDrawn="1"/>
            </p:nvSpPr>
            <p:spPr>
              <a:xfrm>
                <a:off x="8184535" y="1970332"/>
                <a:ext cx="549971" cy="549971"/>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sp>
            <p:nvSpPr>
              <p:cNvPr id="33" name="Oval 32"/>
              <p:cNvSpPr/>
              <p:nvPr userDrawn="1"/>
            </p:nvSpPr>
            <p:spPr>
              <a:xfrm>
                <a:off x="8184535" y="2744440"/>
                <a:ext cx="549971" cy="549971"/>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sp>
            <p:nvSpPr>
              <p:cNvPr id="38" name="Oval 37"/>
              <p:cNvSpPr/>
              <p:nvPr userDrawn="1"/>
            </p:nvSpPr>
            <p:spPr>
              <a:xfrm>
                <a:off x="8184535" y="3518548"/>
                <a:ext cx="549971" cy="549971"/>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sp>
            <p:nvSpPr>
              <p:cNvPr id="39" name="Oval 38"/>
              <p:cNvSpPr/>
              <p:nvPr userDrawn="1"/>
            </p:nvSpPr>
            <p:spPr>
              <a:xfrm>
                <a:off x="8184535" y="4292655"/>
                <a:ext cx="549971" cy="549971"/>
              </a:xfrm>
              <a:prstGeom prst="ellipse">
                <a:avLst/>
              </a:prstGeom>
              <a:solidFill>
                <a:srgbClr val="FFFFFF">
                  <a:alpha val="10196"/>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09728" rIns="137160" bIns="109728" rtlCol="0" anchor="t" anchorCtr="0"/>
              <a:lstStyle/>
              <a:p>
                <a:pPr algn="ctr">
                  <a:lnSpc>
                    <a:spcPct val="90000"/>
                  </a:lnSpc>
                  <a:spcBef>
                    <a:spcPts val="816"/>
                  </a:spcBef>
                </a:pPr>
                <a:endParaRPr lang="en-US" sz="2720" err="1"/>
              </a:p>
            </p:txBody>
          </p:sp>
          <p:cxnSp>
            <p:nvCxnSpPr>
              <p:cNvPr id="37" name="Straight Connector 36"/>
              <p:cNvCxnSpPr/>
              <p:nvPr userDrawn="1"/>
            </p:nvCxnSpPr>
            <p:spPr>
              <a:xfrm rot="16200000">
                <a:off x="8345001" y="1859001"/>
                <a:ext cx="228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a:xfrm rot="16200000">
                <a:off x="8345001" y="2637729"/>
                <a:ext cx="228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userDrawn="1"/>
            </p:nvCxnSpPr>
            <p:spPr>
              <a:xfrm rot="16200000">
                <a:off x="8345001" y="3411796"/>
                <a:ext cx="228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userDrawn="1"/>
            </p:nvCxnSpPr>
            <p:spPr>
              <a:xfrm rot="16200000">
                <a:off x="8345001" y="4187748"/>
                <a:ext cx="228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24" name="Picture 2" descr="C:\working\gac as of 04.20.13\Prime8\MSC\MSC branding\new product imagery\Surfacehub1.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8082088" y="2820820"/>
              <a:ext cx="740132" cy="409910"/>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1" name="Picture 3" descr="C:\working\gac as of 04.20.13\Prime8\MSC\MSC branding\new product imagery\hololens2_edited.png"/>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8159764" y="1290333"/>
              <a:ext cx="662456" cy="32925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grpSp>
      <p:pic>
        <p:nvPicPr>
          <p:cNvPr id="43" name="Picture 42"/>
          <p:cNvPicPr>
            <a:picLocks noChangeAspect="1"/>
          </p:cNvPicPr>
          <p:nvPr userDrawn="1"/>
        </p:nvPicPr>
        <p:blipFill rotWithShape="1">
          <a:blip r:embed="rId5">
            <a:extLst>
              <a:ext uri="{BEBA8EAE-BF5A-486C-A8C5-ECC9F3942E4B}">
                <a14:imgProps xmlns:a14="http://schemas.microsoft.com/office/drawing/2010/main">
                  <a14:imgLayer r:embed="rId6">
                    <a14:imgEffect>
                      <a14:backgroundRemoval t="2283" b="95662" l="9769" r="92674">
                        <a14:foregroundMark x1="37918" y1="81279" x2="37918" y2="81279"/>
                        <a14:foregroundMark x1="84704" y1="75342" x2="84704" y2="75342"/>
                        <a14:foregroundMark x1="84704" y1="78995" x2="84704" y2="78995"/>
                      </a14:backgroundRemoval>
                    </a14:imgEffect>
                  </a14:imgLayer>
                </a14:imgProps>
              </a:ext>
            </a:extLst>
          </a:blip>
          <a:srcRect r="16228"/>
          <a:stretch/>
        </p:blipFill>
        <p:spPr>
          <a:xfrm>
            <a:off x="10907327" y="5186238"/>
            <a:ext cx="992897" cy="667170"/>
          </a:xfrm>
          <a:prstGeom prst="rect">
            <a:avLst/>
          </a:prstGeom>
        </p:spPr>
      </p:pic>
      <p:pic>
        <p:nvPicPr>
          <p:cNvPr id="36" name="Picture 3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992201" y="4211308"/>
            <a:ext cx="1108938" cy="623688"/>
          </a:xfrm>
          <a:prstGeom prst="rect">
            <a:avLst/>
          </a:prstGeom>
        </p:spPr>
      </p:pic>
      <p:pic>
        <p:nvPicPr>
          <p:cNvPr id="44" name="Picture 4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59304" y="1865664"/>
            <a:ext cx="1441835" cy="961087"/>
          </a:xfrm>
          <a:prstGeom prst="rect">
            <a:avLst/>
          </a:prstGeom>
        </p:spPr>
      </p:pic>
    </p:spTree>
    <p:extLst>
      <p:ext uri="{BB962C8B-B14F-4D97-AF65-F5344CB8AC3E}">
        <p14:creationId xmlns:p14="http://schemas.microsoft.com/office/powerpoint/2010/main" val="2262372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Chapter Break 2">
    <p:bg>
      <p:bgPr>
        <a:gradFill>
          <a:gsLst>
            <a:gs pos="0">
              <a:srgbClr val="0097DC"/>
            </a:gs>
            <a:gs pos="100000">
              <a:schemeClr val="accent1"/>
            </a:gs>
          </a:gsLst>
          <a:path path="circle">
            <a:fillToRect l="50000" t="50000" r="50000" b="50000"/>
          </a:path>
        </a:gradFill>
        <a:effectLst/>
      </p:bgPr>
    </p:bg>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288388" y="3300003"/>
            <a:ext cx="10704251" cy="2605020"/>
          </a:xfrm>
        </p:spPr>
        <p:txBody>
          <a:bodyPr anchor="t" anchorCtr="0">
            <a:noAutofit/>
          </a:bodyPr>
          <a:lstStyle>
            <a:lvl1pPr algn="l">
              <a:defRPr sz="7343">
                <a:solidFill>
                  <a:srgbClr val="FFFFFF"/>
                </a:solidFill>
                <a:effectLst/>
              </a:defRPr>
            </a:lvl1pPr>
          </a:lstStyle>
          <a:p>
            <a:r>
              <a:rPr lang="en-US"/>
              <a:t>Click to edit title</a:t>
            </a:r>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8245" y="3252888"/>
            <a:ext cx="1165660" cy="1135025"/>
          </a:xfrm>
          <a:prstGeom prst="rect">
            <a:avLst/>
          </a:prstGeom>
        </p:spPr>
      </p:pic>
    </p:spTree>
    <p:extLst>
      <p:ext uri="{BB962C8B-B14F-4D97-AF65-F5344CB8AC3E}">
        <p14:creationId xmlns:p14="http://schemas.microsoft.com/office/powerpoint/2010/main" val="23473144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hapter Break 1">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0" y="0"/>
            <a:ext cx="12436475" cy="6994525"/>
          </a:xfrm>
          <a:prstGeom prst="rect">
            <a:avLst/>
          </a:prstGeom>
          <a:gradFill flip="none" rotWithShape="1">
            <a:gsLst>
              <a:gs pos="100000">
                <a:schemeClr val="tx1">
                  <a:lumMod val="20000"/>
                  <a:lumOff val="80000"/>
                </a:schemeClr>
              </a:gs>
              <a:gs pos="35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18" name="Title 1"/>
          <p:cNvSpPr>
            <a:spLocks noGrp="1"/>
          </p:cNvSpPr>
          <p:nvPr>
            <p:ph type="ctrTitle" hasCustomPrompt="1"/>
          </p:nvPr>
        </p:nvSpPr>
        <p:spPr>
          <a:xfrm>
            <a:off x="1288388" y="3300003"/>
            <a:ext cx="10704251" cy="2605020"/>
          </a:xfrm>
        </p:spPr>
        <p:txBody>
          <a:bodyPr anchor="t" anchorCtr="0">
            <a:noAutofit/>
          </a:bodyPr>
          <a:lstStyle>
            <a:lvl1pPr algn="l">
              <a:defRPr sz="7343">
                <a:solidFill>
                  <a:schemeClr val="accent2"/>
                </a:solidFill>
                <a:effectLst/>
              </a:defRPr>
            </a:lvl1pPr>
          </a:lstStyle>
          <a:p>
            <a:r>
              <a:rPr lang="en-US"/>
              <a:t>Click to edit title</a:t>
            </a:r>
          </a:p>
        </p:txBody>
      </p:sp>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8245" y="3252887"/>
            <a:ext cx="1165660" cy="1135024"/>
          </a:xfrm>
          <a:prstGeom prst="rect">
            <a:avLst/>
          </a:prstGeom>
        </p:spPr>
      </p:pic>
    </p:spTree>
    <p:extLst>
      <p:ext uri="{BB962C8B-B14F-4D97-AF65-F5344CB8AC3E}">
        <p14:creationId xmlns:p14="http://schemas.microsoft.com/office/powerpoint/2010/main" val="14033588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Chapter Break 3">
    <p:bg>
      <p:bgPr>
        <a:solidFill>
          <a:schemeClr val="accent1"/>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1288388" y="3300003"/>
            <a:ext cx="10704251" cy="2605020"/>
          </a:xfrm>
        </p:spPr>
        <p:txBody>
          <a:bodyPr anchor="t" anchorCtr="0">
            <a:noAutofit/>
          </a:bodyPr>
          <a:lstStyle>
            <a:lvl1pPr algn="l">
              <a:defRPr sz="7343">
                <a:solidFill>
                  <a:srgbClr val="FFFFFF"/>
                </a:solidFill>
                <a:effectLst/>
              </a:defRPr>
            </a:lvl1pPr>
          </a:lstStyle>
          <a:p>
            <a:r>
              <a:rPr lang="en-US"/>
              <a:t>Click to edit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8245" y="3252888"/>
            <a:ext cx="1165660" cy="1135025"/>
          </a:xfrm>
          <a:prstGeom prst="rect">
            <a:avLst/>
          </a:prstGeom>
        </p:spPr>
      </p:pic>
    </p:spTree>
    <p:extLst>
      <p:ext uri="{BB962C8B-B14F-4D97-AF65-F5344CB8AC3E}">
        <p14:creationId xmlns:p14="http://schemas.microsoft.com/office/powerpoint/2010/main" val="4838648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hapter Break 5">
    <p:bg>
      <p:bgPr>
        <a:solidFill>
          <a:schemeClr val="accent2"/>
        </a:solidFill>
        <a:effectLst/>
      </p:bgPr>
    </p:bg>
    <p:spTree>
      <p:nvGrpSpPr>
        <p:cNvPr id="1" name=""/>
        <p:cNvGrpSpPr/>
        <p:nvPr/>
      </p:nvGrpSpPr>
      <p:grpSpPr>
        <a:xfrm>
          <a:off x="0" y="0"/>
          <a:ext cx="0" cy="0"/>
          <a:chOff x="0" y="0"/>
          <a:chExt cx="0" cy="0"/>
        </a:xfrm>
      </p:grpSpPr>
      <p:sp>
        <p:nvSpPr>
          <p:cNvPr id="14" name="Title 1"/>
          <p:cNvSpPr>
            <a:spLocks noGrp="1"/>
          </p:cNvSpPr>
          <p:nvPr>
            <p:ph type="ctrTitle" hasCustomPrompt="1"/>
          </p:nvPr>
        </p:nvSpPr>
        <p:spPr>
          <a:xfrm>
            <a:off x="1288388" y="3300003"/>
            <a:ext cx="10704251" cy="2605020"/>
          </a:xfrm>
        </p:spPr>
        <p:txBody>
          <a:bodyPr anchor="t" anchorCtr="0">
            <a:noAutofit/>
          </a:bodyPr>
          <a:lstStyle>
            <a:lvl1pPr algn="l">
              <a:defRPr sz="7343">
                <a:solidFill>
                  <a:srgbClr val="FFFFFF"/>
                </a:solidFill>
                <a:effectLst/>
              </a:defRPr>
            </a:lvl1pPr>
          </a:lstStyle>
          <a:p>
            <a:r>
              <a:rPr lang="en-US"/>
              <a:t>Click to edit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8245" y="3252888"/>
            <a:ext cx="1165660" cy="1135025"/>
          </a:xfrm>
          <a:prstGeom prst="rect">
            <a:avLst/>
          </a:prstGeom>
        </p:spPr>
      </p:pic>
    </p:spTree>
    <p:extLst>
      <p:ext uri="{BB962C8B-B14F-4D97-AF65-F5344CB8AC3E}">
        <p14:creationId xmlns:p14="http://schemas.microsoft.com/office/powerpoint/2010/main" val="44495765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Chapter Break 4">
    <p:bg>
      <p:bgPr>
        <a:solidFill>
          <a:schemeClr val="accent3"/>
        </a:solidFill>
        <a:effectLst/>
      </p:bgPr>
    </p:bg>
    <p:spTree>
      <p:nvGrpSpPr>
        <p:cNvPr id="1" name=""/>
        <p:cNvGrpSpPr/>
        <p:nvPr/>
      </p:nvGrpSpPr>
      <p:grpSpPr>
        <a:xfrm>
          <a:off x="0" y="0"/>
          <a:ext cx="0" cy="0"/>
          <a:chOff x="0" y="0"/>
          <a:chExt cx="0" cy="0"/>
        </a:xfrm>
      </p:grpSpPr>
      <p:sp>
        <p:nvSpPr>
          <p:cNvPr id="16" name="Title 1"/>
          <p:cNvSpPr>
            <a:spLocks noGrp="1"/>
          </p:cNvSpPr>
          <p:nvPr>
            <p:ph type="ctrTitle" hasCustomPrompt="1"/>
          </p:nvPr>
        </p:nvSpPr>
        <p:spPr>
          <a:xfrm>
            <a:off x="1288388" y="3300003"/>
            <a:ext cx="10704251" cy="2605020"/>
          </a:xfrm>
        </p:spPr>
        <p:txBody>
          <a:bodyPr anchor="t" anchorCtr="0">
            <a:noAutofit/>
          </a:bodyPr>
          <a:lstStyle>
            <a:lvl1pPr algn="l">
              <a:defRPr sz="7343">
                <a:solidFill>
                  <a:srgbClr val="FFFFFF"/>
                </a:solidFill>
                <a:effectLst/>
              </a:defRPr>
            </a:lvl1pPr>
          </a:lstStyle>
          <a:p>
            <a:r>
              <a:rPr lang="en-US"/>
              <a:t>Click to edit title</a:t>
            </a:r>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8245" y="3252888"/>
            <a:ext cx="1165660" cy="1135025"/>
          </a:xfrm>
          <a:prstGeom prst="rect">
            <a:avLst/>
          </a:prstGeom>
        </p:spPr>
      </p:pic>
    </p:spTree>
    <p:extLst>
      <p:ext uri="{BB962C8B-B14F-4D97-AF65-F5344CB8AC3E}">
        <p14:creationId xmlns:p14="http://schemas.microsoft.com/office/powerpoint/2010/main" val="23262879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with footer">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72048" y="1604532"/>
            <a:ext cx="11892379" cy="4389034"/>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p>
            <a:r>
              <a:rPr lang="en-US"/>
              <a:t>Click to edit title</a:t>
            </a:r>
          </a:p>
        </p:txBody>
      </p:sp>
      <p:sp>
        <p:nvSpPr>
          <p:cNvPr id="5" name="Text Placeholder 4"/>
          <p:cNvSpPr>
            <a:spLocks noGrp="1"/>
          </p:cNvSpPr>
          <p:nvPr>
            <p:ph type="body" sz="quarter" idx="11" hasCustomPrompt="1"/>
          </p:nvPr>
        </p:nvSpPr>
        <p:spPr>
          <a:xfrm>
            <a:off x="272048" y="1077338"/>
            <a:ext cx="11892379" cy="688119"/>
          </a:xfrm>
        </p:spPr>
        <p:txBody>
          <a:bodyPr tIns="91440"/>
          <a:lstStyle>
            <a:lvl1pPr>
              <a:defRPr>
                <a:solidFill>
                  <a:schemeClr val="tx2"/>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3"/>
          </a:xfrm>
          <a:prstGeom prst="rect">
            <a:avLst/>
          </a:prstGeom>
        </p:spPr>
      </p:pic>
      <p:sp>
        <p:nvSpPr>
          <p:cNvPr id="9" name="TextBox 8"/>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37279235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footer">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72048" y="1604532"/>
            <a:ext cx="11892379" cy="4389034"/>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p>
            <a:r>
              <a:rPr lang="en-US"/>
              <a:t>Click to edit title</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3"/>
          </a:xfrm>
          <a:prstGeom prst="rect">
            <a:avLst/>
          </a:prstGeom>
        </p:spPr>
      </p:pic>
      <p:sp>
        <p:nvSpPr>
          <p:cNvPr id="5" name="TextBox 4"/>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14294875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amp; Subtitle Only with footer">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sp>
        <p:nvSpPr>
          <p:cNvPr id="8" name="Text Placeholder 4"/>
          <p:cNvSpPr>
            <a:spLocks noGrp="1"/>
          </p:cNvSpPr>
          <p:nvPr>
            <p:ph type="body" sz="quarter" idx="11" hasCustomPrompt="1"/>
          </p:nvPr>
        </p:nvSpPr>
        <p:spPr>
          <a:xfrm>
            <a:off x="272048" y="1077338"/>
            <a:ext cx="11892379" cy="688119"/>
          </a:xfrm>
        </p:spPr>
        <p:txBody>
          <a:bodyPr tIns="91440"/>
          <a:lstStyle>
            <a:lvl1pPr>
              <a:defRPr>
                <a:solidFill>
                  <a:schemeClr val="tx2"/>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pic>
        <p:nvPicPr>
          <p:cNvPr id="19" name="Picture 1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3"/>
          </a:xfrm>
          <a:prstGeom prst="rect">
            <a:avLst/>
          </a:prstGeom>
        </p:spPr>
      </p:pic>
      <p:sp>
        <p:nvSpPr>
          <p:cNvPr id="5" name="TextBox 4"/>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40755680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a:t>Click to edit Master title style</a:t>
            </a:r>
          </a:p>
        </p:txBody>
      </p:sp>
      <p:sp>
        <p:nvSpPr>
          <p:cNvPr id="6" name="Text Placeholder 5"/>
          <p:cNvSpPr>
            <a:spLocks noGrp="1"/>
          </p:cNvSpPr>
          <p:nvPr>
            <p:ph type="body" sz="quarter" idx="12" hasCustomPrompt="1"/>
          </p:nvPr>
        </p:nvSpPr>
        <p:spPr>
          <a:xfrm>
            <a:off x="274641" y="1318848"/>
            <a:ext cx="11223625" cy="1855636"/>
          </a:xfrm>
        </p:spPr>
        <p:txBody>
          <a:bodyPr/>
          <a:lstStyle>
            <a:lvl1pPr marL="0" indent="0">
              <a:buFontTx/>
              <a:buNone/>
              <a:defRPr sz="3998">
                <a:solidFill>
                  <a:srgbClr val="000000"/>
                </a:solidFill>
                <a:latin typeface="+mj-lt"/>
              </a:defRPr>
            </a:lvl1pPr>
            <a:lvl2pPr marL="583863" indent="-241159">
              <a:buFont typeface="Wingdings" panose="05000000000000000000" pitchFamily="2" charset="2"/>
              <a:buChar char="§"/>
              <a:defRPr>
                <a:solidFill>
                  <a:srgbClr val="000000"/>
                </a:solidFill>
              </a:defRPr>
            </a:lvl2pPr>
            <a:lvl3pPr marL="799638" indent="-228469">
              <a:buFont typeface="Segoe UI" panose="020B0502040204020203" pitchFamily="34" charset="0"/>
              <a:buChar char="‒"/>
              <a:defRPr>
                <a:solidFill>
                  <a:srgbClr val="000000"/>
                </a:solidFill>
              </a:defRPr>
            </a:lvl3pPr>
            <a:lvl4pPr marL="1028107" indent="-228469">
              <a:buFont typeface="Courier New" panose="02070309020205020404" pitchFamily="49" charset="0"/>
              <a:buChar char="o"/>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2"/>
          <p:cNvSpPr>
            <a:spLocks noGrp="1"/>
          </p:cNvSpPr>
          <p:nvPr>
            <p:ph type="ftr" sz="quarter" idx="3"/>
          </p:nvPr>
        </p:nvSpPr>
        <p:spPr>
          <a:xfrm>
            <a:off x="274639" y="6705092"/>
            <a:ext cx="3937000" cy="137160"/>
          </a:xfrm>
          <a:prstGeom prst="rect">
            <a:avLst/>
          </a:prstGeom>
        </p:spPr>
        <p:txBody>
          <a:bodyPr vert="horz" lIns="0" tIns="0" rIns="91440" bIns="0" rtlCol="0" anchor="ctr"/>
          <a:lstStyle>
            <a:lvl1pPr marL="0" algn="l" defTabSz="932563" rtl="0" eaLnBrk="1" latinLnBrk="0" hangingPunct="1">
              <a:defRPr lang="en-US" sz="900" kern="1200">
                <a:solidFill>
                  <a:schemeClr val="tx2"/>
                </a:solidFill>
                <a:latin typeface="+mn-lt"/>
                <a:ea typeface="+mn-ea"/>
                <a:cs typeface="+mn-cs"/>
              </a:defRPr>
            </a:lvl1pPr>
          </a:lstStyle>
          <a:p>
            <a:r>
              <a:rPr lang="en-US"/>
              <a:t>Microsoft Confidential</a:t>
            </a:r>
          </a:p>
        </p:txBody>
      </p:sp>
      <p:sp>
        <p:nvSpPr>
          <p:cNvPr id="5" name="Slide Number Placeholder 4"/>
          <p:cNvSpPr>
            <a:spLocks noGrp="1"/>
          </p:cNvSpPr>
          <p:nvPr>
            <p:ph type="sldNum" sz="quarter" idx="4"/>
          </p:nvPr>
        </p:nvSpPr>
        <p:spPr>
          <a:xfrm>
            <a:off x="11595101" y="6705092"/>
            <a:ext cx="566737" cy="137160"/>
          </a:xfrm>
          <a:prstGeom prst="rect">
            <a:avLst/>
          </a:prstGeom>
        </p:spPr>
        <p:txBody>
          <a:bodyPr vert="horz" lIns="91440" tIns="0" rIns="0" bIns="0" rtlCol="0" anchor="ctr"/>
          <a:lstStyle>
            <a:lvl1pPr algn="r">
              <a:defRPr lang="en-US" sz="900" b="0" kern="1200" smtClean="0">
                <a:solidFill>
                  <a:schemeClr val="tx2"/>
                </a:soli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2704034140"/>
      </p:ext>
    </p:extLst>
  </p:cSld>
  <p:clrMapOvr>
    <a:masterClrMapping/>
  </p:clrMapOvr>
  <p:transition>
    <p:fade/>
  </p:transition>
  <p:hf hdr="0" dt="0"/>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3"/>
          </a:xfrm>
          <a:prstGeom prst="rect">
            <a:avLst/>
          </a:prstGeom>
        </p:spPr>
      </p:pic>
      <p:sp>
        <p:nvSpPr>
          <p:cNvPr id="3" name="TextBox 2"/>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36691094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Bar footer">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72048" y="1604532"/>
            <a:ext cx="11892379" cy="4389034"/>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p>
            <a:r>
              <a:rPr lang="en-US"/>
              <a:t>Click to edit title</a:t>
            </a:r>
          </a:p>
        </p:txBody>
      </p:sp>
      <p:sp>
        <p:nvSpPr>
          <p:cNvPr id="5" name="Text Placeholder 4"/>
          <p:cNvSpPr>
            <a:spLocks noGrp="1"/>
          </p:cNvSpPr>
          <p:nvPr>
            <p:ph type="body" sz="quarter" idx="11" hasCustomPrompt="1"/>
          </p:nvPr>
        </p:nvSpPr>
        <p:spPr>
          <a:xfrm>
            <a:off x="272048" y="1077338"/>
            <a:ext cx="11892379" cy="688119"/>
          </a:xfrm>
        </p:spPr>
        <p:txBody>
          <a:bodyPr tIns="9144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sp>
        <p:nvSpPr>
          <p:cNvPr id="8" name="Rectangle 7"/>
          <p:cNvSpPr/>
          <p:nvPr userDrawn="1"/>
        </p:nvSpPr>
        <p:spPr>
          <a:xfrm>
            <a:off x="0" y="6400991"/>
            <a:ext cx="12436475" cy="593534"/>
          </a:xfrm>
          <a:prstGeom prst="rect">
            <a:avLst/>
          </a:prstGeom>
          <a:solidFill>
            <a:srgbClr val="E6E7E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cxnSp>
        <p:nvCxnSpPr>
          <p:cNvPr id="10" name="Straight Connector 9"/>
          <p:cNvCxnSpPr/>
          <p:nvPr userDrawn="1"/>
        </p:nvCxnSpPr>
        <p:spPr>
          <a:xfrm>
            <a:off x="0" y="6400991"/>
            <a:ext cx="1243647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3"/>
          </a:xfrm>
          <a:prstGeom prst="rect">
            <a:avLst/>
          </a:prstGeom>
        </p:spPr>
      </p:pic>
      <p:sp>
        <p:nvSpPr>
          <p:cNvPr id="9" name="TextBox 8"/>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37931671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with Bar footer">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sp>
        <p:nvSpPr>
          <p:cNvPr id="5" name="Text Placeholder 4"/>
          <p:cNvSpPr>
            <a:spLocks noGrp="1"/>
          </p:cNvSpPr>
          <p:nvPr>
            <p:ph type="body" sz="quarter" idx="11" hasCustomPrompt="1"/>
          </p:nvPr>
        </p:nvSpPr>
        <p:spPr>
          <a:xfrm>
            <a:off x="272048" y="1077338"/>
            <a:ext cx="11892379" cy="688119"/>
          </a:xfrm>
        </p:spPr>
        <p:txBody>
          <a:bodyPr tIns="9144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sp>
        <p:nvSpPr>
          <p:cNvPr id="8" name="Rectangle 7"/>
          <p:cNvSpPr/>
          <p:nvPr userDrawn="1"/>
        </p:nvSpPr>
        <p:spPr>
          <a:xfrm>
            <a:off x="0" y="6400991"/>
            <a:ext cx="12436475" cy="593534"/>
          </a:xfrm>
          <a:prstGeom prst="rect">
            <a:avLst/>
          </a:prstGeom>
          <a:solidFill>
            <a:srgbClr val="E6E7E8">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3"/>
          </a:xfrm>
          <a:prstGeom prst="rect">
            <a:avLst/>
          </a:prstGeom>
        </p:spPr>
      </p:pic>
      <p:cxnSp>
        <p:nvCxnSpPr>
          <p:cNvPr id="10" name="Straight Connector 9"/>
          <p:cNvCxnSpPr/>
          <p:nvPr userDrawn="1"/>
        </p:nvCxnSpPr>
        <p:spPr>
          <a:xfrm>
            <a:off x="0" y="6400991"/>
            <a:ext cx="12436475"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12118815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with no footer">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sp>
        <p:nvSpPr>
          <p:cNvPr id="5" name="Text Placeholder 4"/>
          <p:cNvSpPr>
            <a:spLocks noGrp="1"/>
          </p:cNvSpPr>
          <p:nvPr>
            <p:ph type="body" sz="quarter" idx="11" hasCustomPrompt="1"/>
          </p:nvPr>
        </p:nvSpPr>
        <p:spPr>
          <a:xfrm>
            <a:off x="272048" y="1077338"/>
            <a:ext cx="11892379" cy="688119"/>
          </a:xfrm>
        </p:spPr>
        <p:txBody>
          <a:bodyPr tIns="91440"/>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spTree>
    <p:extLst>
      <p:ext uri="{BB962C8B-B14F-4D97-AF65-F5344CB8AC3E}">
        <p14:creationId xmlns:p14="http://schemas.microsoft.com/office/powerpoint/2010/main" val="2533614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Dark Title, Subtitle and Content with footer">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72048" y="1604532"/>
            <a:ext cx="11892379" cy="4389034"/>
          </a:xfrm>
        </p:spPr>
        <p:txBody>
          <a:bodyPr/>
          <a:lstStyle>
            <a:lvl1pPr>
              <a:defRPr>
                <a:solidFill>
                  <a:schemeClr val="accent3"/>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bg1"/>
                </a:solidFill>
              </a:defRPr>
            </a:lvl1pPr>
          </a:lstStyle>
          <a:p>
            <a:r>
              <a:rPr lang="en-US"/>
              <a:t>Click to edit title</a:t>
            </a:r>
          </a:p>
        </p:txBody>
      </p:sp>
      <p:sp>
        <p:nvSpPr>
          <p:cNvPr id="5" name="Text Placeholder 4"/>
          <p:cNvSpPr>
            <a:spLocks noGrp="1"/>
          </p:cNvSpPr>
          <p:nvPr>
            <p:ph type="body" sz="quarter" idx="11" hasCustomPrompt="1"/>
          </p:nvPr>
        </p:nvSpPr>
        <p:spPr>
          <a:xfrm>
            <a:off x="272048" y="1077338"/>
            <a:ext cx="11892379" cy="688119"/>
          </a:xfrm>
        </p:spPr>
        <p:txBody>
          <a:bodyPr tIns="91440"/>
          <a:lstStyle>
            <a:lvl1pPr>
              <a:defRPr>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2"/>
          </a:xfrm>
          <a:prstGeom prst="rect">
            <a:avLst/>
          </a:prstGeom>
        </p:spPr>
      </p:pic>
      <p:sp>
        <p:nvSpPr>
          <p:cNvPr id="8" name="TextBox 7"/>
          <p:cNvSpPr txBox="1"/>
          <p:nvPr userDrawn="1"/>
        </p:nvSpPr>
        <p:spPr>
          <a:xfrm>
            <a:off x="0" y="6532773"/>
            <a:ext cx="12436475" cy="259751"/>
          </a:xfrm>
          <a:prstGeom prst="rect">
            <a:avLst/>
          </a:prstGeom>
          <a:noFill/>
        </p:spPr>
        <p:txBody>
          <a:bodyPr wrap="square" rtlCol="0">
            <a:spAutoFit/>
          </a:bodyPr>
          <a:lstStyle/>
          <a:p>
            <a:pPr algn="ctr"/>
            <a:r>
              <a:rPr lang="en-US" sz="1088">
                <a:solidFill>
                  <a:schemeClr val="bg1"/>
                </a:solidFill>
              </a:rPr>
              <a:t>Microsoft Confidential</a:t>
            </a:r>
          </a:p>
        </p:txBody>
      </p:sp>
    </p:spTree>
    <p:extLst>
      <p:ext uri="{BB962C8B-B14F-4D97-AF65-F5344CB8AC3E}">
        <p14:creationId xmlns:p14="http://schemas.microsoft.com/office/powerpoint/2010/main" val="1807579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Dark Title and Content with footer">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72048" y="1604532"/>
            <a:ext cx="11892379" cy="4389034"/>
          </a:xfrm>
        </p:spPr>
        <p:txBody>
          <a:bodyPr/>
          <a:lstStyle>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bg1"/>
                </a:solidFill>
              </a:defRPr>
            </a:lvl1pPr>
          </a:lstStyle>
          <a:p>
            <a:r>
              <a:rPr lang="en-US"/>
              <a:t>Click to edit tit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2"/>
          </a:xfrm>
          <a:prstGeom prst="rect">
            <a:avLst/>
          </a:prstGeom>
        </p:spPr>
      </p:pic>
      <p:sp>
        <p:nvSpPr>
          <p:cNvPr id="8" name="TextBox 7"/>
          <p:cNvSpPr txBox="1"/>
          <p:nvPr userDrawn="1"/>
        </p:nvSpPr>
        <p:spPr>
          <a:xfrm>
            <a:off x="0" y="6532773"/>
            <a:ext cx="12436475" cy="259751"/>
          </a:xfrm>
          <a:prstGeom prst="rect">
            <a:avLst/>
          </a:prstGeom>
          <a:noFill/>
        </p:spPr>
        <p:txBody>
          <a:bodyPr wrap="square" rtlCol="0">
            <a:spAutoFit/>
          </a:bodyPr>
          <a:lstStyle/>
          <a:p>
            <a:pPr algn="ctr"/>
            <a:r>
              <a:rPr lang="en-US" sz="1088">
                <a:solidFill>
                  <a:schemeClr val="bg1"/>
                </a:solidFill>
              </a:rPr>
              <a:t>Microsoft Confidential</a:t>
            </a:r>
          </a:p>
        </p:txBody>
      </p:sp>
    </p:spTree>
    <p:extLst>
      <p:ext uri="{BB962C8B-B14F-4D97-AF65-F5344CB8AC3E}">
        <p14:creationId xmlns:p14="http://schemas.microsoft.com/office/powerpoint/2010/main" val="27445591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ark Title &amp; Subtitle Only with footer">
    <p:bg>
      <p:bgPr>
        <a:solidFill>
          <a:schemeClr val="tx2"/>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bg1"/>
                </a:solidFill>
              </a:defRPr>
            </a:lvl1pPr>
          </a:lstStyle>
          <a:p>
            <a:r>
              <a:rPr lang="en-US"/>
              <a:t>Click to edit title</a:t>
            </a:r>
          </a:p>
        </p:txBody>
      </p:sp>
      <p:sp>
        <p:nvSpPr>
          <p:cNvPr id="8" name="Text Placeholder 4"/>
          <p:cNvSpPr>
            <a:spLocks noGrp="1"/>
          </p:cNvSpPr>
          <p:nvPr>
            <p:ph type="body" sz="quarter" idx="11" hasCustomPrompt="1"/>
          </p:nvPr>
        </p:nvSpPr>
        <p:spPr>
          <a:xfrm>
            <a:off x="272048" y="1077338"/>
            <a:ext cx="11892379" cy="688119"/>
          </a:xfrm>
        </p:spPr>
        <p:txBody>
          <a:bodyPr tIns="91440"/>
          <a:lstStyle>
            <a:lvl1pPr>
              <a:defRPr>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2"/>
          </a:xfrm>
          <a:prstGeom prst="rect">
            <a:avLst/>
          </a:prstGeom>
        </p:spPr>
      </p:pic>
      <p:sp>
        <p:nvSpPr>
          <p:cNvPr id="7" name="TextBox 6"/>
          <p:cNvSpPr txBox="1"/>
          <p:nvPr userDrawn="1"/>
        </p:nvSpPr>
        <p:spPr>
          <a:xfrm>
            <a:off x="0" y="6532773"/>
            <a:ext cx="12436475" cy="259751"/>
          </a:xfrm>
          <a:prstGeom prst="rect">
            <a:avLst/>
          </a:prstGeom>
          <a:noFill/>
        </p:spPr>
        <p:txBody>
          <a:bodyPr wrap="square" rtlCol="0">
            <a:spAutoFit/>
          </a:bodyPr>
          <a:lstStyle/>
          <a:p>
            <a:pPr algn="ctr"/>
            <a:r>
              <a:rPr lang="en-US" sz="1088">
                <a:solidFill>
                  <a:schemeClr val="bg1"/>
                </a:solidFill>
              </a:rPr>
              <a:t>Microsoft Confidential</a:t>
            </a:r>
          </a:p>
        </p:txBody>
      </p:sp>
    </p:spTree>
    <p:extLst>
      <p:ext uri="{BB962C8B-B14F-4D97-AF65-F5344CB8AC3E}">
        <p14:creationId xmlns:p14="http://schemas.microsoft.com/office/powerpoint/2010/main" val="36731459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ark Title Only with footer">
    <p:bg>
      <p:bgPr>
        <a:solidFill>
          <a:schemeClr val="tx2"/>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bg1"/>
                </a:solidFill>
              </a:defRPr>
            </a:lvl1pPr>
          </a:lstStyle>
          <a:p>
            <a:r>
              <a:rPr lang="en-US"/>
              <a:t>Click to edit tit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2"/>
          </a:xfrm>
          <a:prstGeom prst="rect">
            <a:avLst/>
          </a:prstGeom>
        </p:spPr>
      </p:pic>
      <p:sp>
        <p:nvSpPr>
          <p:cNvPr id="5" name="TextBox 4"/>
          <p:cNvSpPr txBox="1"/>
          <p:nvPr userDrawn="1"/>
        </p:nvSpPr>
        <p:spPr>
          <a:xfrm>
            <a:off x="0" y="6532773"/>
            <a:ext cx="12436475" cy="259751"/>
          </a:xfrm>
          <a:prstGeom prst="rect">
            <a:avLst/>
          </a:prstGeom>
          <a:noFill/>
        </p:spPr>
        <p:txBody>
          <a:bodyPr wrap="square" rtlCol="0">
            <a:spAutoFit/>
          </a:bodyPr>
          <a:lstStyle/>
          <a:p>
            <a:pPr algn="ctr"/>
            <a:r>
              <a:rPr lang="en-US" sz="1088">
                <a:solidFill>
                  <a:schemeClr val="bg1"/>
                </a:solidFill>
              </a:rPr>
              <a:t>Microsoft Confidential</a:t>
            </a:r>
          </a:p>
        </p:txBody>
      </p:sp>
    </p:spTree>
    <p:extLst>
      <p:ext uri="{BB962C8B-B14F-4D97-AF65-F5344CB8AC3E}">
        <p14:creationId xmlns:p14="http://schemas.microsoft.com/office/powerpoint/2010/main" val="8587262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Dark Blank with footer">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2"/>
          </a:xfrm>
          <a:prstGeom prst="rect">
            <a:avLst/>
          </a:prstGeom>
        </p:spPr>
      </p:pic>
      <p:sp>
        <p:nvSpPr>
          <p:cNvPr id="4" name="TextBox 3"/>
          <p:cNvSpPr txBox="1"/>
          <p:nvPr userDrawn="1"/>
        </p:nvSpPr>
        <p:spPr>
          <a:xfrm>
            <a:off x="0" y="6532773"/>
            <a:ext cx="12436475" cy="259751"/>
          </a:xfrm>
          <a:prstGeom prst="rect">
            <a:avLst/>
          </a:prstGeom>
          <a:noFill/>
        </p:spPr>
        <p:txBody>
          <a:bodyPr wrap="square" rtlCol="0">
            <a:spAutoFit/>
          </a:bodyPr>
          <a:lstStyle/>
          <a:p>
            <a:pPr algn="ctr"/>
            <a:r>
              <a:rPr lang="en-US" sz="1088">
                <a:solidFill>
                  <a:schemeClr val="bg1"/>
                </a:solidFill>
              </a:rPr>
              <a:t>Microsoft Confidential</a:t>
            </a:r>
          </a:p>
        </p:txBody>
      </p:sp>
    </p:spTree>
    <p:extLst>
      <p:ext uri="{BB962C8B-B14F-4D97-AF65-F5344CB8AC3E}">
        <p14:creationId xmlns:p14="http://schemas.microsoft.com/office/powerpoint/2010/main" val="15338340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ark Title and Content with Bar footer">
    <p:bg>
      <p:bgPr>
        <a:solidFill>
          <a:schemeClr val="tx2"/>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2" hasCustomPrompt="1"/>
          </p:nvPr>
        </p:nvSpPr>
        <p:spPr>
          <a:xfrm>
            <a:off x="272048" y="1604532"/>
            <a:ext cx="11892379" cy="4389034"/>
          </a:xfrm>
        </p:spPr>
        <p:txBody>
          <a:bodyPr/>
          <a:lstStyle>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hasCustomPrompt="1"/>
          </p:nvPr>
        </p:nvSpPr>
        <p:spPr/>
        <p:txBody>
          <a:bodyPr/>
          <a:lstStyle>
            <a:lvl1pPr>
              <a:defRPr>
                <a:solidFill>
                  <a:schemeClr val="bg1"/>
                </a:solidFill>
              </a:defRPr>
            </a:lvl1pPr>
          </a:lstStyle>
          <a:p>
            <a:r>
              <a:rPr lang="en-US"/>
              <a:t>Click to edit title</a:t>
            </a:r>
          </a:p>
        </p:txBody>
      </p:sp>
      <p:sp>
        <p:nvSpPr>
          <p:cNvPr id="5" name="Text Placeholder 4"/>
          <p:cNvSpPr>
            <a:spLocks noGrp="1"/>
          </p:cNvSpPr>
          <p:nvPr>
            <p:ph type="body" sz="quarter" idx="11" hasCustomPrompt="1"/>
          </p:nvPr>
        </p:nvSpPr>
        <p:spPr>
          <a:xfrm>
            <a:off x="272048" y="1077338"/>
            <a:ext cx="11892379" cy="688119"/>
          </a:xfrm>
        </p:spPr>
        <p:txBody>
          <a:bodyPr tIns="91440"/>
          <a:lstStyle>
            <a:lvl1pPr>
              <a:defRPr>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cxnSp>
        <p:nvCxnSpPr>
          <p:cNvPr id="10" name="Straight Connector 9"/>
          <p:cNvCxnSpPr/>
          <p:nvPr userDrawn="1"/>
        </p:nvCxnSpPr>
        <p:spPr>
          <a:xfrm>
            <a:off x="0" y="6400991"/>
            <a:ext cx="1243647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2"/>
          </a:xfrm>
          <a:prstGeom prst="rect">
            <a:avLst/>
          </a:prstGeom>
        </p:spPr>
      </p:pic>
      <p:sp>
        <p:nvSpPr>
          <p:cNvPr id="8" name="TextBox 7"/>
          <p:cNvSpPr txBox="1"/>
          <p:nvPr userDrawn="1"/>
        </p:nvSpPr>
        <p:spPr>
          <a:xfrm>
            <a:off x="0" y="6532773"/>
            <a:ext cx="12436475" cy="259751"/>
          </a:xfrm>
          <a:prstGeom prst="rect">
            <a:avLst/>
          </a:prstGeom>
          <a:noFill/>
        </p:spPr>
        <p:txBody>
          <a:bodyPr wrap="square" rtlCol="0">
            <a:spAutoFit/>
          </a:bodyPr>
          <a:lstStyle/>
          <a:p>
            <a:pPr algn="ctr"/>
            <a:r>
              <a:rPr lang="en-US" sz="1088">
                <a:solidFill>
                  <a:schemeClr val="bg1"/>
                </a:solidFill>
              </a:rPr>
              <a:t>Microsoft Confidential</a:t>
            </a:r>
          </a:p>
        </p:txBody>
      </p:sp>
    </p:spTree>
    <p:extLst>
      <p:ext uri="{BB962C8B-B14F-4D97-AF65-F5344CB8AC3E}">
        <p14:creationId xmlns:p14="http://schemas.microsoft.com/office/powerpoint/2010/main" val="21551228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109758"/>
            <a:endParaRPr lang="en-US">
              <a:solidFill>
                <a:srgbClr val="505050"/>
              </a:solidFill>
            </a:endParaRPr>
          </a:p>
        </p:txBody>
      </p:sp>
      <p:sp>
        <p:nvSpPr>
          <p:cNvPr id="7" name="Slide Number Placeholder 6"/>
          <p:cNvSpPr>
            <a:spLocks noGrp="1"/>
          </p:cNvSpPr>
          <p:nvPr>
            <p:ph type="sldNum" sz="quarter" idx="15"/>
          </p:nvPr>
        </p:nvSpPr>
        <p:spPr/>
        <p:txBody>
          <a:bodyPr/>
          <a:lstStyle/>
          <a:p>
            <a:pPr defTabSz="1109758"/>
            <a:fld id="{FAADACFB-7C71-4E89-89D2-7BBA40B7BFA9}" type="slidenum">
              <a:rPr lang="en-US" smtClean="0">
                <a:solidFill>
                  <a:srgbClr val="505050"/>
                </a:solidFill>
              </a:rPr>
              <a:pPr defTabSz="1109758"/>
              <a:t>‹#›</a:t>
            </a:fld>
            <a:endParaRPr lang="en-US">
              <a:solidFill>
                <a:srgbClr val="505050"/>
              </a:solidFill>
            </a:endParaRPr>
          </a:p>
        </p:txBody>
      </p:sp>
    </p:spTree>
    <p:extLst>
      <p:ext uri="{BB962C8B-B14F-4D97-AF65-F5344CB8AC3E}">
        <p14:creationId xmlns:p14="http://schemas.microsoft.com/office/powerpoint/2010/main" val="1244527993"/>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Dark Title and Subtitle with Bar footer">
    <p:bg>
      <p:bgPr>
        <a:solidFill>
          <a:schemeClr val="tx2"/>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lvl1pPr>
              <a:defRPr>
                <a:solidFill>
                  <a:schemeClr val="bg1"/>
                </a:solidFill>
              </a:defRPr>
            </a:lvl1pPr>
          </a:lstStyle>
          <a:p>
            <a:r>
              <a:rPr lang="en-US"/>
              <a:t>Click to edit title</a:t>
            </a:r>
          </a:p>
        </p:txBody>
      </p:sp>
      <p:sp>
        <p:nvSpPr>
          <p:cNvPr id="5" name="Text Placeholder 4"/>
          <p:cNvSpPr>
            <a:spLocks noGrp="1"/>
          </p:cNvSpPr>
          <p:nvPr>
            <p:ph type="body" sz="quarter" idx="11" hasCustomPrompt="1"/>
          </p:nvPr>
        </p:nvSpPr>
        <p:spPr>
          <a:xfrm>
            <a:off x="272048" y="1077338"/>
            <a:ext cx="11892379" cy="688119"/>
          </a:xfrm>
        </p:spPr>
        <p:txBody>
          <a:bodyPr tIns="91440"/>
          <a:lstStyle>
            <a:lvl1pPr>
              <a:defRPr>
                <a:solidFill>
                  <a:schemeClr val="bg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stStyle>
          <a:p>
            <a:pPr lvl="0"/>
            <a:r>
              <a:rPr lang="en-US"/>
              <a:t>Subtitle</a:t>
            </a:r>
          </a:p>
        </p:txBody>
      </p:sp>
      <p:cxnSp>
        <p:nvCxnSpPr>
          <p:cNvPr id="11" name="Straight Connector 10"/>
          <p:cNvCxnSpPr/>
          <p:nvPr userDrawn="1"/>
        </p:nvCxnSpPr>
        <p:spPr>
          <a:xfrm>
            <a:off x="0" y="6400991"/>
            <a:ext cx="1243647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30772" y="6537611"/>
            <a:ext cx="985388" cy="324782"/>
          </a:xfrm>
          <a:prstGeom prst="rect">
            <a:avLst/>
          </a:prstGeom>
        </p:spPr>
      </p:pic>
      <p:sp>
        <p:nvSpPr>
          <p:cNvPr id="7" name="TextBox 6"/>
          <p:cNvSpPr txBox="1"/>
          <p:nvPr userDrawn="1"/>
        </p:nvSpPr>
        <p:spPr>
          <a:xfrm>
            <a:off x="0" y="6532773"/>
            <a:ext cx="12436475" cy="259751"/>
          </a:xfrm>
          <a:prstGeom prst="rect">
            <a:avLst/>
          </a:prstGeom>
          <a:noFill/>
        </p:spPr>
        <p:txBody>
          <a:bodyPr wrap="square" rtlCol="0">
            <a:spAutoFit/>
          </a:bodyPr>
          <a:lstStyle/>
          <a:p>
            <a:pPr algn="ctr"/>
            <a:r>
              <a:rPr lang="en-US" sz="1088">
                <a:solidFill>
                  <a:schemeClr val="bg1"/>
                </a:solidFill>
              </a:rPr>
              <a:t>Microsoft Confidential</a:t>
            </a:r>
          </a:p>
        </p:txBody>
      </p:sp>
    </p:spTree>
    <p:extLst>
      <p:ext uri="{BB962C8B-B14F-4D97-AF65-F5344CB8AC3E}">
        <p14:creationId xmlns:p14="http://schemas.microsoft.com/office/powerpoint/2010/main" val="40872764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emo 1">
    <p:bg>
      <p:bgPr>
        <a:gradFill>
          <a:gsLst>
            <a:gs pos="0">
              <a:srgbClr val="0096DB"/>
            </a:gs>
            <a:gs pos="100000">
              <a:schemeClr val="accent1"/>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049" y="2066466"/>
            <a:ext cx="11872948" cy="1481084"/>
          </a:xfrm>
          <a:effectLst/>
        </p:spPr>
        <p:txBody>
          <a:bodyPr anchor="t" anchorCtr="0">
            <a:noAutofit/>
          </a:bodyPr>
          <a:lstStyle>
            <a:lvl1pPr algn="l">
              <a:defRPr sz="8159">
                <a:solidFill>
                  <a:srgbClr val="FFFFFF"/>
                </a:solidFill>
                <a:effectLst/>
              </a:defRPr>
            </a:lvl1pPr>
          </a:lstStyle>
          <a:p>
            <a:r>
              <a:rPr lang="en-US"/>
              <a:t>Click to edit title</a:t>
            </a:r>
            <a:br>
              <a:rPr lang="en-US"/>
            </a:br>
            <a:endParaRPr lang="en-US"/>
          </a:p>
        </p:txBody>
      </p:sp>
      <p:sp>
        <p:nvSpPr>
          <p:cNvPr id="3" name="Subtitle 2"/>
          <p:cNvSpPr>
            <a:spLocks noGrp="1"/>
          </p:cNvSpPr>
          <p:nvPr>
            <p:ph type="subTitle" idx="1" hasCustomPrompt="1"/>
          </p:nvPr>
        </p:nvSpPr>
        <p:spPr>
          <a:xfrm>
            <a:off x="272049" y="3547551"/>
            <a:ext cx="11872948" cy="1609199"/>
          </a:xfrm>
          <a:effectLst/>
        </p:spPr>
        <p:txBody>
          <a:bodyPr/>
          <a:lstStyle>
            <a:lvl1pPr marL="0" indent="0" algn="l">
              <a:buNone/>
              <a:defRPr sz="2448">
                <a:solidFill>
                  <a:srgbClr val="FFFFFF"/>
                </a:solidFill>
                <a:effectLst/>
                <a:latin typeface="+mn-lt"/>
              </a:defRPr>
            </a:lvl1pPr>
            <a:lvl2pPr marL="466310" indent="0" algn="ctr">
              <a:buNone/>
              <a:defRPr sz="2040"/>
            </a:lvl2pPr>
            <a:lvl3pPr marL="932619" indent="0" algn="ctr">
              <a:buNone/>
              <a:defRPr sz="1904"/>
            </a:lvl3pPr>
            <a:lvl4pPr marL="1398929" indent="0" algn="ctr">
              <a:buNone/>
              <a:defRPr sz="1632"/>
            </a:lvl4pPr>
            <a:lvl5pPr marL="1865239" indent="0" algn="ctr">
              <a:buNone/>
              <a:defRPr sz="1632"/>
            </a:lvl5pPr>
            <a:lvl6pPr marL="2331549" indent="0" algn="ctr">
              <a:buNone/>
              <a:defRPr sz="1632"/>
            </a:lvl6pPr>
            <a:lvl7pPr marL="2797858" indent="0" algn="ctr">
              <a:buNone/>
              <a:defRPr sz="1632"/>
            </a:lvl7pPr>
            <a:lvl8pPr marL="3264168" indent="0" algn="ctr">
              <a:buNone/>
              <a:defRPr sz="1632"/>
            </a:lvl8pPr>
            <a:lvl9pPr marL="3730478" indent="0" algn="ctr">
              <a:buNone/>
              <a:defRPr sz="1632"/>
            </a:lvl9pPr>
          </a:lstStyle>
          <a:p>
            <a:r>
              <a:rPr lang="en-US"/>
              <a:t>Click to edit subtitle</a:t>
            </a:r>
          </a:p>
        </p:txBody>
      </p:sp>
      <p:sp>
        <p:nvSpPr>
          <p:cNvPr id="8" name="Text Placeholder 7"/>
          <p:cNvSpPr>
            <a:spLocks noGrp="1"/>
          </p:cNvSpPr>
          <p:nvPr>
            <p:ph type="body" sz="quarter" idx="10"/>
          </p:nvPr>
        </p:nvSpPr>
        <p:spPr>
          <a:xfrm>
            <a:off x="272049" y="5157383"/>
            <a:ext cx="11872948" cy="1534909"/>
          </a:xfrm>
          <a:effectLst/>
        </p:spPr>
        <p:txBody>
          <a:bodyPr/>
          <a:lstStyle>
            <a:lvl1pPr algn="l">
              <a:defRPr sz="5440">
                <a:solidFill>
                  <a:schemeClr val="bg1"/>
                </a:solidFill>
                <a:effectLst/>
              </a:defRPr>
            </a:lvl1pPr>
          </a:lstStyle>
          <a:p>
            <a:pPr lvl="0"/>
            <a:r>
              <a:rPr lang="en-US"/>
              <a:t>Click to edit Master text styles</a:t>
            </a:r>
          </a:p>
        </p:txBody>
      </p:sp>
      <p:sp>
        <p:nvSpPr>
          <p:cNvPr id="5" name="TextBox 4"/>
          <p:cNvSpPr txBox="1"/>
          <p:nvPr userDrawn="1"/>
        </p:nvSpPr>
        <p:spPr>
          <a:xfrm>
            <a:off x="0" y="6532773"/>
            <a:ext cx="12436475" cy="259751"/>
          </a:xfrm>
          <a:prstGeom prst="rect">
            <a:avLst/>
          </a:prstGeom>
          <a:noFill/>
        </p:spPr>
        <p:txBody>
          <a:bodyPr wrap="square" rtlCol="0">
            <a:spAutoFit/>
          </a:bodyPr>
          <a:lstStyle/>
          <a:p>
            <a:pPr algn="ctr"/>
            <a:r>
              <a:rPr lang="en-US" sz="1088">
                <a:solidFill>
                  <a:schemeClr val="bg1"/>
                </a:solidFill>
              </a:rPr>
              <a:t>Microsoft Confidential</a:t>
            </a:r>
          </a:p>
        </p:txBody>
      </p:sp>
    </p:spTree>
    <p:extLst>
      <p:ext uri="{BB962C8B-B14F-4D97-AF65-F5344CB8AC3E}">
        <p14:creationId xmlns:p14="http://schemas.microsoft.com/office/powerpoint/2010/main" val="527326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Demo 2">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gradFill flip="none" rotWithShape="1">
            <a:gsLst>
              <a:gs pos="100000">
                <a:schemeClr val="tx1">
                  <a:lumMod val="20000"/>
                  <a:lumOff val="80000"/>
                </a:schemeClr>
              </a:gs>
              <a:gs pos="35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2" name="Title 1"/>
          <p:cNvSpPr>
            <a:spLocks noGrp="1"/>
          </p:cNvSpPr>
          <p:nvPr>
            <p:ph type="ctrTitle" hasCustomPrompt="1"/>
          </p:nvPr>
        </p:nvSpPr>
        <p:spPr>
          <a:xfrm>
            <a:off x="272049" y="2066466"/>
            <a:ext cx="11872948" cy="1481084"/>
          </a:xfrm>
          <a:effectLst/>
        </p:spPr>
        <p:txBody>
          <a:bodyPr anchor="t" anchorCtr="0">
            <a:noAutofit/>
          </a:bodyPr>
          <a:lstStyle>
            <a:lvl1pPr algn="l">
              <a:defRPr sz="8159">
                <a:solidFill>
                  <a:schemeClr val="accent1"/>
                </a:solidFill>
                <a:effectLst/>
              </a:defRPr>
            </a:lvl1pPr>
          </a:lstStyle>
          <a:p>
            <a:r>
              <a:rPr lang="en-US"/>
              <a:t>Click to edit title</a:t>
            </a:r>
            <a:br>
              <a:rPr lang="en-US"/>
            </a:br>
            <a:endParaRPr lang="en-US"/>
          </a:p>
        </p:txBody>
      </p:sp>
      <p:sp>
        <p:nvSpPr>
          <p:cNvPr id="3" name="Subtitle 2"/>
          <p:cNvSpPr>
            <a:spLocks noGrp="1"/>
          </p:cNvSpPr>
          <p:nvPr>
            <p:ph type="subTitle" idx="1" hasCustomPrompt="1"/>
          </p:nvPr>
        </p:nvSpPr>
        <p:spPr>
          <a:xfrm>
            <a:off x="272049" y="3547551"/>
            <a:ext cx="11872948" cy="1609199"/>
          </a:xfrm>
          <a:effectLst/>
        </p:spPr>
        <p:txBody>
          <a:bodyPr/>
          <a:lstStyle>
            <a:lvl1pPr marL="0" indent="0" algn="l">
              <a:buNone/>
              <a:defRPr sz="2448">
                <a:solidFill>
                  <a:schemeClr val="tx1"/>
                </a:solidFill>
                <a:effectLst/>
                <a:latin typeface="+mn-lt"/>
              </a:defRPr>
            </a:lvl1pPr>
            <a:lvl2pPr marL="466310" indent="0" algn="ctr">
              <a:buNone/>
              <a:defRPr sz="2040"/>
            </a:lvl2pPr>
            <a:lvl3pPr marL="932619" indent="0" algn="ctr">
              <a:buNone/>
              <a:defRPr sz="1904"/>
            </a:lvl3pPr>
            <a:lvl4pPr marL="1398929" indent="0" algn="ctr">
              <a:buNone/>
              <a:defRPr sz="1632"/>
            </a:lvl4pPr>
            <a:lvl5pPr marL="1865239" indent="0" algn="ctr">
              <a:buNone/>
              <a:defRPr sz="1632"/>
            </a:lvl5pPr>
            <a:lvl6pPr marL="2331549" indent="0" algn="ctr">
              <a:buNone/>
              <a:defRPr sz="1632"/>
            </a:lvl6pPr>
            <a:lvl7pPr marL="2797858" indent="0" algn="ctr">
              <a:buNone/>
              <a:defRPr sz="1632"/>
            </a:lvl7pPr>
            <a:lvl8pPr marL="3264168" indent="0" algn="ctr">
              <a:buNone/>
              <a:defRPr sz="1632"/>
            </a:lvl8pPr>
            <a:lvl9pPr marL="3730478" indent="0" algn="ctr">
              <a:buNone/>
              <a:defRPr sz="1632"/>
            </a:lvl9pPr>
          </a:lstStyle>
          <a:p>
            <a:r>
              <a:rPr lang="en-US"/>
              <a:t>Click to edit subtitle</a:t>
            </a:r>
          </a:p>
        </p:txBody>
      </p:sp>
      <p:sp>
        <p:nvSpPr>
          <p:cNvPr id="8" name="Text Placeholder 7"/>
          <p:cNvSpPr>
            <a:spLocks noGrp="1"/>
          </p:cNvSpPr>
          <p:nvPr>
            <p:ph type="body" sz="quarter" idx="10"/>
          </p:nvPr>
        </p:nvSpPr>
        <p:spPr>
          <a:xfrm>
            <a:off x="272049" y="5157383"/>
            <a:ext cx="11872948" cy="1534909"/>
          </a:xfrm>
          <a:effectLst/>
        </p:spPr>
        <p:txBody>
          <a:bodyPr/>
          <a:lstStyle>
            <a:lvl1pPr algn="l">
              <a:defRPr sz="5440">
                <a:solidFill>
                  <a:schemeClr val="tx1"/>
                </a:solidFill>
                <a:effectLst/>
              </a:defRPr>
            </a:lvl1pPr>
          </a:lstStyle>
          <a:p>
            <a:pPr lvl="0"/>
            <a:r>
              <a:rPr lang="en-US"/>
              <a:t>Click to edit Master text styles</a:t>
            </a:r>
          </a:p>
        </p:txBody>
      </p:sp>
      <p:sp>
        <p:nvSpPr>
          <p:cNvPr id="7" name="TextBox 6"/>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16843467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emo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049" y="2066466"/>
            <a:ext cx="11872948" cy="1481084"/>
          </a:xfrm>
          <a:effectLst/>
        </p:spPr>
        <p:txBody>
          <a:bodyPr anchor="t" anchorCtr="0">
            <a:noAutofit/>
          </a:bodyPr>
          <a:lstStyle>
            <a:lvl1pPr algn="l">
              <a:defRPr sz="8159">
                <a:solidFill>
                  <a:srgbClr val="FFFFFF"/>
                </a:solidFill>
              </a:defRPr>
            </a:lvl1pPr>
          </a:lstStyle>
          <a:p>
            <a:r>
              <a:rPr lang="en-US"/>
              <a:t>Click to edit title</a:t>
            </a:r>
            <a:br>
              <a:rPr lang="en-US"/>
            </a:br>
            <a:endParaRPr lang="en-US"/>
          </a:p>
        </p:txBody>
      </p:sp>
      <p:sp>
        <p:nvSpPr>
          <p:cNvPr id="3" name="Subtitle 2"/>
          <p:cNvSpPr>
            <a:spLocks noGrp="1"/>
          </p:cNvSpPr>
          <p:nvPr>
            <p:ph type="subTitle" idx="1" hasCustomPrompt="1"/>
          </p:nvPr>
        </p:nvSpPr>
        <p:spPr>
          <a:xfrm>
            <a:off x="272049" y="3547551"/>
            <a:ext cx="11872948" cy="1609199"/>
          </a:xfrm>
          <a:effectLst/>
        </p:spPr>
        <p:txBody>
          <a:bodyPr/>
          <a:lstStyle>
            <a:lvl1pPr marL="0" indent="0" algn="l">
              <a:buNone/>
              <a:defRPr sz="2448">
                <a:solidFill>
                  <a:srgbClr val="FFFFFF"/>
                </a:solidFill>
                <a:latin typeface="+mn-lt"/>
              </a:defRPr>
            </a:lvl1pPr>
            <a:lvl2pPr marL="466310" indent="0" algn="ctr">
              <a:buNone/>
              <a:defRPr sz="2040"/>
            </a:lvl2pPr>
            <a:lvl3pPr marL="932619" indent="0" algn="ctr">
              <a:buNone/>
              <a:defRPr sz="1904"/>
            </a:lvl3pPr>
            <a:lvl4pPr marL="1398929" indent="0" algn="ctr">
              <a:buNone/>
              <a:defRPr sz="1632"/>
            </a:lvl4pPr>
            <a:lvl5pPr marL="1865239" indent="0" algn="ctr">
              <a:buNone/>
              <a:defRPr sz="1632"/>
            </a:lvl5pPr>
            <a:lvl6pPr marL="2331549" indent="0" algn="ctr">
              <a:buNone/>
              <a:defRPr sz="1632"/>
            </a:lvl6pPr>
            <a:lvl7pPr marL="2797858" indent="0" algn="ctr">
              <a:buNone/>
              <a:defRPr sz="1632"/>
            </a:lvl7pPr>
            <a:lvl8pPr marL="3264168" indent="0" algn="ctr">
              <a:buNone/>
              <a:defRPr sz="1632"/>
            </a:lvl8pPr>
            <a:lvl9pPr marL="3730478" indent="0" algn="ctr">
              <a:buNone/>
              <a:defRPr sz="1632"/>
            </a:lvl9pPr>
          </a:lstStyle>
          <a:p>
            <a:r>
              <a:rPr lang="en-US"/>
              <a:t>Click to edit subtitle</a:t>
            </a:r>
          </a:p>
        </p:txBody>
      </p:sp>
      <p:sp>
        <p:nvSpPr>
          <p:cNvPr id="8" name="Text Placeholder 7"/>
          <p:cNvSpPr>
            <a:spLocks noGrp="1"/>
          </p:cNvSpPr>
          <p:nvPr>
            <p:ph type="body" sz="quarter" idx="10"/>
          </p:nvPr>
        </p:nvSpPr>
        <p:spPr>
          <a:xfrm>
            <a:off x="272049" y="5157383"/>
            <a:ext cx="11872948" cy="1534909"/>
          </a:xfrm>
          <a:effectLst/>
        </p:spPr>
        <p:txBody>
          <a:bodyPr/>
          <a:lstStyle>
            <a:lvl1pPr algn="l">
              <a:defRPr sz="5440">
                <a:solidFill>
                  <a:schemeClr val="bg1"/>
                </a:solidFill>
              </a:defRPr>
            </a:lvl1pPr>
          </a:lstStyle>
          <a:p>
            <a:pPr lvl="0"/>
            <a:r>
              <a:rPr lang="en-US"/>
              <a:t>Click to edit Master text styles</a:t>
            </a:r>
          </a:p>
        </p:txBody>
      </p:sp>
      <p:sp>
        <p:nvSpPr>
          <p:cNvPr id="5" name="TextBox 4"/>
          <p:cNvSpPr txBox="1"/>
          <p:nvPr userDrawn="1"/>
        </p:nvSpPr>
        <p:spPr>
          <a:xfrm>
            <a:off x="0" y="6532773"/>
            <a:ext cx="12436475" cy="259751"/>
          </a:xfrm>
          <a:prstGeom prst="rect">
            <a:avLst/>
          </a:prstGeom>
          <a:noFill/>
        </p:spPr>
        <p:txBody>
          <a:bodyPr wrap="square" rtlCol="0">
            <a:spAutoFit/>
          </a:bodyPr>
          <a:lstStyle/>
          <a:p>
            <a:pPr algn="ctr"/>
            <a:r>
              <a:rPr lang="en-US" sz="1088">
                <a:solidFill>
                  <a:schemeClr val="bg1"/>
                </a:solidFill>
              </a:rPr>
              <a:t>Microsoft Confidential</a:t>
            </a:r>
          </a:p>
        </p:txBody>
      </p:sp>
    </p:spTree>
    <p:extLst>
      <p:ext uri="{BB962C8B-B14F-4D97-AF65-F5344CB8AC3E}">
        <p14:creationId xmlns:p14="http://schemas.microsoft.com/office/powerpoint/2010/main" val="18431606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emo 4">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049" y="2066466"/>
            <a:ext cx="11872948" cy="1481084"/>
          </a:xfrm>
          <a:effectLst/>
        </p:spPr>
        <p:txBody>
          <a:bodyPr anchor="t" anchorCtr="0">
            <a:noAutofit/>
          </a:bodyPr>
          <a:lstStyle>
            <a:lvl1pPr algn="l">
              <a:defRPr sz="8159">
                <a:solidFill>
                  <a:srgbClr val="FFFFFF"/>
                </a:solidFill>
              </a:defRPr>
            </a:lvl1pPr>
          </a:lstStyle>
          <a:p>
            <a:r>
              <a:rPr lang="en-US"/>
              <a:t>Click to edit title</a:t>
            </a:r>
            <a:br>
              <a:rPr lang="en-US"/>
            </a:br>
            <a:endParaRPr lang="en-US"/>
          </a:p>
        </p:txBody>
      </p:sp>
      <p:sp>
        <p:nvSpPr>
          <p:cNvPr id="3" name="Subtitle 2"/>
          <p:cNvSpPr>
            <a:spLocks noGrp="1"/>
          </p:cNvSpPr>
          <p:nvPr>
            <p:ph type="subTitle" idx="1" hasCustomPrompt="1"/>
          </p:nvPr>
        </p:nvSpPr>
        <p:spPr>
          <a:xfrm>
            <a:off x="272049" y="3547551"/>
            <a:ext cx="11872948" cy="1609199"/>
          </a:xfrm>
          <a:effectLst/>
        </p:spPr>
        <p:txBody>
          <a:bodyPr/>
          <a:lstStyle>
            <a:lvl1pPr marL="0" indent="0" algn="l">
              <a:buNone/>
              <a:defRPr sz="2448">
                <a:solidFill>
                  <a:srgbClr val="FFFFFF"/>
                </a:solidFill>
                <a:latin typeface="+mn-lt"/>
              </a:defRPr>
            </a:lvl1pPr>
            <a:lvl2pPr marL="466310" indent="0" algn="ctr">
              <a:buNone/>
              <a:defRPr sz="2040"/>
            </a:lvl2pPr>
            <a:lvl3pPr marL="932619" indent="0" algn="ctr">
              <a:buNone/>
              <a:defRPr sz="1904"/>
            </a:lvl3pPr>
            <a:lvl4pPr marL="1398929" indent="0" algn="ctr">
              <a:buNone/>
              <a:defRPr sz="1632"/>
            </a:lvl4pPr>
            <a:lvl5pPr marL="1865239" indent="0" algn="ctr">
              <a:buNone/>
              <a:defRPr sz="1632"/>
            </a:lvl5pPr>
            <a:lvl6pPr marL="2331549" indent="0" algn="ctr">
              <a:buNone/>
              <a:defRPr sz="1632"/>
            </a:lvl6pPr>
            <a:lvl7pPr marL="2797858" indent="0" algn="ctr">
              <a:buNone/>
              <a:defRPr sz="1632"/>
            </a:lvl7pPr>
            <a:lvl8pPr marL="3264168" indent="0" algn="ctr">
              <a:buNone/>
              <a:defRPr sz="1632"/>
            </a:lvl8pPr>
            <a:lvl9pPr marL="3730478" indent="0" algn="ctr">
              <a:buNone/>
              <a:defRPr sz="1632"/>
            </a:lvl9pPr>
          </a:lstStyle>
          <a:p>
            <a:r>
              <a:rPr lang="en-US"/>
              <a:t>Click to edit subtitle</a:t>
            </a:r>
          </a:p>
        </p:txBody>
      </p:sp>
      <p:sp>
        <p:nvSpPr>
          <p:cNvPr id="8" name="Text Placeholder 7"/>
          <p:cNvSpPr>
            <a:spLocks noGrp="1"/>
          </p:cNvSpPr>
          <p:nvPr>
            <p:ph type="body" sz="quarter" idx="10"/>
          </p:nvPr>
        </p:nvSpPr>
        <p:spPr>
          <a:xfrm>
            <a:off x="272049" y="5157383"/>
            <a:ext cx="11872948" cy="1534909"/>
          </a:xfrm>
          <a:effectLst/>
        </p:spPr>
        <p:txBody>
          <a:bodyPr/>
          <a:lstStyle>
            <a:lvl1pPr algn="l">
              <a:defRPr sz="5440">
                <a:solidFill>
                  <a:schemeClr val="bg1"/>
                </a:solidFill>
              </a:defRPr>
            </a:lvl1pPr>
          </a:lstStyle>
          <a:p>
            <a:pPr lvl="0"/>
            <a:r>
              <a:rPr lang="en-US"/>
              <a:t>Click to edit Master text styles</a:t>
            </a:r>
          </a:p>
        </p:txBody>
      </p:sp>
      <p:sp>
        <p:nvSpPr>
          <p:cNvPr id="5" name="TextBox 4"/>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21088015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emo 5">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2049" y="2066466"/>
            <a:ext cx="11872948" cy="1481084"/>
          </a:xfrm>
          <a:effectLst/>
        </p:spPr>
        <p:txBody>
          <a:bodyPr anchor="t" anchorCtr="0">
            <a:noAutofit/>
          </a:bodyPr>
          <a:lstStyle>
            <a:lvl1pPr algn="l">
              <a:defRPr sz="8159">
                <a:solidFill>
                  <a:srgbClr val="FFFFFF"/>
                </a:solidFill>
              </a:defRPr>
            </a:lvl1pPr>
          </a:lstStyle>
          <a:p>
            <a:r>
              <a:rPr lang="en-US"/>
              <a:t>Click to edit title</a:t>
            </a:r>
            <a:br>
              <a:rPr lang="en-US"/>
            </a:br>
            <a:endParaRPr lang="en-US"/>
          </a:p>
        </p:txBody>
      </p:sp>
      <p:sp>
        <p:nvSpPr>
          <p:cNvPr id="3" name="Subtitle 2"/>
          <p:cNvSpPr>
            <a:spLocks noGrp="1"/>
          </p:cNvSpPr>
          <p:nvPr>
            <p:ph type="subTitle" idx="1" hasCustomPrompt="1"/>
          </p:nvPr>
        </p:nvSpPr>
        <p:spPr>
          <a:xfrm>
            <a:off x="272049" y="3547551"/>
            <a:ext cx="11872948" cy="1609199"/>
          </a:xfrm>
          <a:effectLst/>
        </p:spPr>
        <p:txBody>
          <a:bodyPr/>
          <a:lstStyle>
            <a:lvl1pPr marL="0" indent="0" algn="l">
              <a:buNone/>
              <a:defRPr sz="2448">
                <a:solidFill>
                  <a:srgbClr val="FFFFFF"/>
                </a:solidFill>
                <a:latin typeface="+mn-lt"/>
              </a:defRPr>
            </a:lvl1pPr>
            <a:lvl2pPr marL="466310" indent="0" algn="ctr">
              <a:buNone/>
              <a:defRPr sz="2040"/>
            </a:lvl2pPr>
            <a:lvl3pPr marL="932619" indent="0" algn="ctr">
              <a:buNone/>
              <a:defRPr sz="1904"/>
            </a:lvl3pPr>
            <a:lvl4pPr marL="1398929" indent="0" algn="ctr">
              <a:buNone/>
              <a:defRPr sz="1632"/>
            </a:lvl4pPr>
            <a:lvl5pPr marL="1865239" indent="0" algn="ctr">
              <a:buNone/>
              <a:defRPr sz="1632"/>
            </a:lvl5pPr>
            <a:lvl6pPr marL="2331549" indent="0" algn="ctr">
              <a:buNone/>
              <a:defRPr sz="1632"/>
            </a:lvl6pPr>
            <a:lvl7pPr marL="2797858" indent="0" algn="ctr">
              <a:buNone/>
              <a:defRPr sz="1632"/>
            </a:lvl7pPr>
            <a:lvl8pPr marL="3264168" indent="0" algn="ctr">
              <a:buNone/>
              <a:defRPr sz="1632"/>
            </a:lvl8pPr>
            <a:lvl9pPr marL="3730478" indent="0" algn="ctr">
              <a:buNone/>
              <a:defRPr sz="1632"/>
            </a:lvl9pPr>
          </a:lstStyle>
          <a:p>
            <a:r>
              <a:rPr lang="en-US"/>
              <a:t>Click to edit subtitle</a:t>
            </a:r>
          </a:p>
        </p:txBody>
      </p:sp>
      <p:sp>
        <p:nvSpPr>
          <p:cNvPr id="8" name="Text Placeholder 7"/>
          <p:cNvSpPr>
            <a:spLocks noGrp="1"/>
          </p:cNvSpPr>
          <p:nvPr>
            <p:ph type="body" sz="quarter" idx="10"/>
          </p:nvPr>
        </p:nvSpPr>
        <p:spPr>
          <a:xfrm>
            <a:off x="272049" y="5157383"/>
            <a:ext cx="11872948" cy="1534909"/>
          </a:xfrm>
          <a:effectLst/>
        </p:spPr>
        <p:txBody>
          <a:bodyPr/>
          <a:lstStyle>
            <a:lvl1pPr algn="l">
              <a:defRPr sz="544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8723212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Closing">
    <p:bg>
      <p:bgPr>
        <a:solidFill>
          <a:schemeClr val="accent1"/>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278527" y="6102905"/>
            <a:ext cx="11194447" cy="615280"/>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67" eaLnBrk="0" hangingPunct="0"/>
            <a:r>
              <a:rPr lang="en-US" sz="680">
                <a:gradFill>
                  <a:gsLst>
                    <a:gs pos="0">
                      <a:srgbClr val="FFFFFF"/>
                    </a:gs>
                    <a:gs pos="100000">
                      <a:srgbClr val="FFFFFF"/>
                    </a:gs>
                  </a:gsLst>
                  <a:lin ang="5400000" scaled="0"/>
                </a:gradFill>
                <a:cs typeface="Segoe UI" pitchFamily="34" charset="0"/>
              </a:rPr>
              <a:t>© 2014 Microsoft Corporation. All rights reserved. Microsoft, Windows, Windows Vista and other product names are or may be registered trademarks and/or trademarks in the U.S. and/or other countries.</a:t>
            </a:r>
          </a:p>
          <a:p>
            <a:pPr defTabSz="950867" eaLnBrk="0" hangingPunct="0"/>
            <a:r>
              <a:rPr lang="en-US" sz="68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8438" y="3207650"/>
            <a:ext cx="3354448" cy="718469"/>
          </a:xfrm>
          <a:prstGeom prst="rect">
            <a:avLst/>
          </a:prstGeom>
        </p:spPr>
      </p:pic>
    </p:spTree>
    <p:extLst>
      <p:ext uri="{BB962C8B-B14F-4D97-AF65-F5344CB8AC3E}">
        <p14:creationId xmlns:p14="http://schemas.microsoft.com/office/powerpoint/2010/main" val="13010040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Closing 2">
    <p:bg>
      <p:bgPr>
        <a:solidFill>
          <a:schemeClr val="accent1"/>
        </a:solidFill>
        <a:effectLst/>
      </p:bgPr>
    </p:bg>
    <p:spTree>
      <p:nvGrpSpPr>
        <p:cNvPr id="1" name=""/>
        <p:cNvGrpSpPr/>
        <p:nvPr/>
      </p:nvGrpSpPr>
      <p:grpSpPr>
        <a:xfrm>
          <a:off x="0" y="0"/>
          <a:ext cx="0" cy="0"/>
          <a:chOff x="0" y="0"/>
          <a:chExt cx="0" cy="0"/>
        </a:xfrm>
      </p:grpSpPr>
      <p:sp>
        <p:nvSpPr>
          <p:cNvPr id="8" name="Rectangle 7"/>
          <p:cNvSpPr/>
          <p:nvPr userDrawn="1"/>
        </p:nvSpPr>
        <p:spPr>
          <a:xfrm>
            <a:off x="0" y="0"/>
            <a:ext cx="12436475" cy="6994525"/>
          </a:xfrm>
          <a:prstGeom prst="rect">
            <a:avLst/>
          </a:prstGeom>
          <a:gradFill flip="none" rotWithShape="1">
            <a:gsLst>
              <a:gs pos="100000">
                <a:schemeClr val="tx1">
                  <a:lumMod val="20000"/>
                  <a:lumOff val="80000"/>
                </a:schemeClr>
              </a:gs>
              <a:gs pos="35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917" y="2771906"/>
            <a:ext cx="4202805" cy="1545755"/>
          </a:xfrm>
          <a:prstGeom prst="rect">
            <a:avLst/>
          </a:prstGeom>
        </p:spPr>
      </p:pic>
      <p:sp>
        <p:nvSpPr>
          <p:cNvPr id="4" name="Text Box 3"/>
          <p:cNvSpPr txBox="1">
            <a:spLocks noChangeArrowheads="1"/>
          </p:cNvSpPr>
          <p:nvPr userDrawn="1"/>
        </p:nvSpPr>
        <p:spPr bwMode="blackWhite">
          <a:xfrm>
            <a:off x="278527" y="6102905"/>
            <a:ext cx="11194447" cy="615280"/>
          </a:xfrm>
          <a:prstGeom prst="rect">
            <a:avLst/>
          </a:prstGeom>
          <a:noFill/>
          <a:ln w="12700">
            <a:noFill/>
            <a:miter lim="800000"/>
            <a:headEnd type="none" w="sm" len="sm"/>
            <a:tailEnd type="none" w="sm" len="sm"/>
          </a:ln>
          <a:effectLst/>
        </p:spPr>
        <p:txBody>
          <a:bodyPr vert="horz" wrap="square" lIns="186521" tIns="149217" rIns="186521" bIns="149217" numCol="1" anchor="t" anchorCtr="0" compatLnSpc="1">
            <a:prstTxWarp prst="textNoShape">
              <a:avLst/>
            </a:prstTxWarp>
            <a:spAutoFit/>
          </a:bodyPr>
          <a:lstStyle/>
          <a:p>
            <a:pPr defTabSz="950867" eaLnBrk="0" hangingPunct="0"/>
            <a:r>
              <a:rPr lang="en-US" sz="680">
                <a:solidFill>
                  <a:schemeClr val="tx1"/>
                </a:solidFill>
                <a:cs typeface="Segoe UI" pitchFamily="34" charset="0"/>
              </a:rPr>
              <a:t>© 2014 Microsoft Corporation. All rights reserved. Microsoft, Windows, Windows Vista and other product names are or may be registered trademarks and/or trademarks in the U.S. and/or other countries.</a:t>
            </a:r>
          </a:p>
          <a:p>
            <a:pPr defTabSz="950867" eaLnBrk="0" hangingPunct="0"/>
            <a:r>
              <a:rPr lang="en-US" sz="680">
                <a:solidFill>
                  <a:schemeClr val="tx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434386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Blank ">
    <p:spTree>
      <p:nvGrpSpPr>
        <p:cNvPr id="1" name=""/>
        <p:cNvGrpSpPr/>
        <p:nvPr/>
      </p:nvGrpSpPr>
      <p:grpSpPr>
        <a:xfrm>
          <a:off x="0" y="0"/>
          <a:ext cx="0" cy="0"/>
          <a:chOff x="0" y="0"/>
          <a:chExt cx="0" cy="0"/>
        </a:xfrm>
      </p:grpSpPr>
      <p:sp>
        <p:nvSpPr>
          <p:cNvPr id="2" name="TextBox 1"/>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157681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blank darker blue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390060"/>
            <a:ext cx="4538505" cy="6044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Tree>
    <p:extLst>
      <p:ext uri="{BB962C8B-B14F-4D97-AF65-F5344CB8AC3E}">
        <p14:creationId xmlns:p14="http://schemas.microsoft.com/office/powerpoint/2010/main" val="36033201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8_Title Only_3">
    <p:bg>
      <p:bgPr>
        <a:solidFill>
          <a:schemeClr val="bg1"/>
        </a:solidFill>
        <a:effectLst/>
      </p:bgPr>
    </p:bg>
    <p:spTree>
      <p:nvGrpSpPr>
        <p:cNvPr id="1" name=""/>
        <p:cNvGrpSpPr/>
        <p:nvPr/>
      </p:nvGrpSpPr>
      <p:grpSpPr>
        <a:xfrm>
          <a:off x="0" y="0"/>
          <a:ext cx="0" cy="0"/>
          <a:chOff x="0" y="0"/>
          <a:chExt cx="0" cy="0"/>
        </a:xfrm>
      </p:grpSpPr>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 y="5968662"/>
            <a:ext cx="2289135" cy="1025862"/>
          </a:xfrm>
          <a:prstGeom prst="rect">
            <a:avLst/>
          </a:prstGeom>
          <a:effectLst/>
        </p:spPr>
      </p:pic>
      <p:sp>
        <p:nvSpPr>
          <p:cNvPr id="4" name="TextBox 3">
            <a:extLst>
              <a:ext uri="{FF2B5EF4-FFF2-40B4-BE49-F238E27FC236}">
                <a16:creationId xmlns:a16="http://schemas.microsoft.com/office/drawing/2014/main" id="{A0780E2E-CFDF-47B6-852C-C72B2FF03E5F}"/>
              </a:ext>
            </a:extLst>
          </p:cNvPr>
          <p:cNvSpPr txBox="1"/>
          <p:nvPr userDrawn="1"/>
        </p:nvSpPr>
        <p:spPr>
          <a:xfrm>
            <a:off x="9873302" y="6516571"/>
            <a:ext cx="2267066" cy="270285"/>
          </a:xfrm>
          <a:prstGeom prst="rect">
            <a:avLst/>
          </a:prstGeom>
          <a:noFill/>
        </p:spPr>
        <p:txBody>
          <a:bodyPr wrap="square" rtlCol="0">
            <a:spAutoFit/>
          </a:bodyPr>
          <a:lstStyle/>
          <a:p>
            <a:pPr algn="r"/>
            <a:fld id="{55A54258-3FBC-4C56-8FE4-B12C5EA1D0B3}" type="slidenum">
              <a:rPr lang="en-US" sz="1122" smtClean="0">
                <a:solidFill>
                  <a:schemeClr val="tx1"/>
                </a:solidFill>
              </a:rPr>
              <a:pPr algn="r"/>
              <a:t>‹#›</a:t>
            </a:fld>
            <a:endParaRPr lang="en-US" sz="1122">
              <a:solidFill>
                <a:schemeClr val="tx1"/>
              </a:solidFill>
            </a:endParaRPr>
          </a:p>
        </p:txBody>
      </p:sp>
      <p:sp>
        <p:nvSpPr>
          <p:cNvPr id="9" name="Title 21">
            <a:extLst>
              <a:ext uri="{FF2B5EF4-FFF2-40B4-BE49-F238E27FC236}">
                <a16:creationId xmlns:a16="http://schemas.microsoft.com/office/drawing/2014/main" id="{669FD5CE-7E5C-4A79-9E90-27BD8B18A973}"/>
              </a:ext>
            </a:extLst>
          </p:cNvPr>
          <p:cNvSpPr>
            <a:spLocks noGrp="1"/>
          </p:cNvSpPr>
          <p:nvPr>
            <p:ph type="title"/>
          </p:nvPr>
        </p:nvSpPr>
        <p:spPr>
          <a:xfrm>
            <a:off x="313989" y="312486"/>
            <a:ext cx="11808336" cy="699453"/>
          </a:xfrm>
        </p:spPr>
        <p:txBody>
          <a:bodyPr>
            <a:noAutofit/>
          </a:bodyPr>
          <a:lstStyle>
            <a:lvl1pPr>
              <a:defRPr sz="3060" b="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F96B3679-3610-40C6-B5E2-BF07724ABC1A}"/>
              </a:ext>
            </a:extLst>
          </p:cNvPr>
          <p:cNvSpPr/>
          <p:nvPr userDrawn="1"/>
        </p:nvSpPr>
        <p:spPr>
          <a:xfrm>
            <a:off x="9532801" y="6504448"/>
            <a:ext cx="2218372" cy="286306"/>
          </a:xfrm>
          <a:prstGeom prst="rect">
            <a:avLst/>
          </a:prstGeom>
        </p:spPr>
        <p:txBody>
          <a:bodyPr wrap="none">
            <a:spAutoFit/>
          </a:bodyPr>
          <a:lstStyle/>
          <a:p>
            <a:pPr defTabSz="932563"/>
            <a:r>
              <a:rPr lang="tr-TR" sz="1224" err="1">
                <a:solidFill>
                  <a:schemeClr val="tx1"/>
                </a:solidFill>
              </a:rPr>
              <a:t>Draft</a:t>
            </a:r>
            <a:r>
              <a:rPr lang="tr-TR" sz="1224">
                <a:solidFill>
                  <a:schemeClr val="tx1"/>
                </a:solidFill>
              </a:rPr>
              <a:t> – Microsoft </a:t>
            </a:r>
            <a:r>
              <a:rPr lang="tr-TR" sz="1224" err="1">
                <a:solidFill>
                  <a:schemeClr val="tx1"/>
                </a:solidFill>
              </a:rPr>
              <a:t>Confidential</a:t>
            </a:r>
            <a:endParaRPr lang="en-US" sz="1224">
              <a:solidFill>
                <a:schemeClr val="tx1"/>
              </a:solidFill>
            </a:endParaRPr>
          </a:p>
        </p:txBody>
      </p:sp>
      <p:pic>
        <p:nvPicPr>
          <p:cNvPr id="7" name="Picture 6">
            <a:extLst>
              <a:ext uri="{FF2B5EF4-FFF2-40B4-BE49-F238E27FC236}">
                <a16:creationId xmlns:a16="http://schemas.microsoft.com/office/drawing/2014/main" id="{4432F9D5-FB48-4A77-A53D-171BB5B7629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13238" y="369009"/>
            <a:ext cx="1623053" cy="572073"/>
          </a:xfrm>
          <a:prstGeom prst="rect">
            <a:avLst/>
          </a:prstGeom>
        </p:spPr>
      </p:pic>
    </p:spTree>
    <p:extLst>
      <p:ext uri="{BB962C8B-B14F-4D97-AF65-F5344CB8AC3E}">
        <p14:creationId xmlns:p14="http://schemas.microsoft.com/office/powerpoint/2010/main" val="418573307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lank lighter blue bg">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0" y="6390060"/>
            <a:ext cx="4538505" cy="6044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3" name="TextBox 2"/>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1448560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Bright Blue BG">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6390060"/>
            <a:ext cx="4538505" cy="6044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3" name="TextBox 2"/>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2405057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lank gradient blue bg">
    <p:bg>
      <p:bgPr>
        <a:gradFill>
          <a:gsLst>
            <a:gs pos="100000">
              <a:schemeClr val="accent1"/>
            </a:gs>
            <a:gs pos="0">
              <a:srgbClr val="0098DC"/>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extBox 1"/>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14732693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lank grey gradient bg">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6390060"/>
            <a:ext cx="4538505" cy="6044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3" name="Rectangle 2"/>
          <p:cNvSpPr/>
          <p:nvPr userDrawn="1"/>
        </p:nvSpPr>
        <p:spPr>
          <a:xfrm>
            <a:off x="0" y="0"/>
            <a:ext cx="12436475" cy="6994525"/>
          </a:xfrm>
          <a:prstGeom prst="rect">
            <a:avLst/>
          </a:prstGeom>
          <a:gradFill flip="none" rotWithShape="1">
            <a:gsLst>
              <a:gs pos="100000">
                <a:schemeClr val="tx1">
                  <a:lumMod val="20000"/>
                  <a:lumOff val="80000"/>
                </a:schemeClr>
              </a:gs>
              <a:gs pos="35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algn="ctr">
              <a:lnSpc>
                <a:spcPct val="90000"/>
              </a:lnSpc>
              <a:spcBef>
                <a:spcPts val="816"/>
              </a:spcBef>
            </a:pPr>
            <a:endParaRPr lang="en-US" sz="2720" err="1"/>
          </a:p>
        </p:txBody>
      </p:sp>
      <p:sp>
        <p:nvSpPr>
          <p:cNvPr id="5" name="TextBox 4"/>
          <p:cNvSpPr txBox="1"/>
          <p:nvPr userDrawn="1"/>
        </p:nvSpPr>
        <p:spPr>
          <a:xfrm>
            <a:off x="0" y="6532773"/>
            <a:ext cx="12436475" cy="259751"/>
          </a:xfrm>
          <a:prstGeom prst="rect">
            <a:avLst/>
          </a:prstGeom>
          <a:noFill/>
        </p:spPr>
        <p:txBody>
          <a:bodyPr wrap="square" rtlCol="0">
            <a:spAutoFit/>
          </a:bodyPr>
          <a:lstStyle/>
          <a:p>
            <a:pPr algn="ctr"/>
            <a:r>
              <a:rPr lang="en-US" sz="1088"/>
              <a:t>Microsoft Confidential</a:t>
            </a:r>
          </a:p>
        </p:txBody>
      </p:sp>
    </p:spTree>
    <p:extLst>
      <p:ext uri="{BB962C8B-B14F-4D97-AF65-F5344CB8AC3E}">
        <p14:creationId xmlns:p14="http://schemas.microsoft.com/office/powerpoint/2010/main" val="20685779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7137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85667035"/>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BE023A57-201A-445C-BC29-A4B5F2878BC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436475" cy="699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a:extLst>
              <a:ext uri="{FF2B5EF4-FFF2-40B4-BE49-F238E27FC236}">
                <a16:creationId xmlns:a16="http://schemas.microsoft.com/office/drawing/2014/main" id="{6628A92C-C9B7-47AF-B561-8F1C0087A37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453541" y="6413268"/>
            <a:ext cx="785376" cy="299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2A7A01E-DE69-4FAF-A8B8-147BB15FC5F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6508" y="6204403"/>
            <a:ext cx="1509218" cy="676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5">
            <a:extLst>
              <a:ext uri="{FF2B5EF4-FFF2-40B4-BE49-F238E27FC236}">
                <a16:creationId xmlns:a16="http://schemas.microsoft.com/office/drawing/2014/main" id="{0CBC3C56-D253-A043-A4C1-B7B905EF06DC}"/>
              </a:ext>
            </a:extLst>
          </p:cNvPr>
          <p:cNvSpPr>
            <a:spLocks noGrp="1"/>
          </p:cNvSpPr>
          <p:nvPr>
            <p:ph type="body" sz="quarter" idx="10"/>
          </p:nvPr>
        </p:nvSpPr>
        <p:spPr>
          <a:xfrm>
            <a:off x="274639" y="905795"/>
            <a:ext cx="11887200" cy="467179"/>
          </a:xfrm>
        </p:spPr>
        <p:txBody>
          <a:bodyPr/>
          <a:lstStyle>
            <a:lvl1pPr marL="0" marR="0" indent="0" algn="l" defTabSz="932563" rtl="0" eaLnBrk="1" fontAlgn="auto" latinLnBrk="0" hangingPunct="1">
              <a:lnSpc>
                <a:spcPct val="100000"/>
              </a:lnSpc>
              <a:spcBef>
                <a:spcPts val="0"/>
              </a:spcBef>
              <a:spcAft>
                <a:spcPts val="0"/>
              </a:spcAft>
              <a:buClrTx/>
              <a:buSzPct val="90000"/>
              <a:buFont typeface="Arial" pitchFamily="34" charset="0"/>
              <a:buNone/>
              <a:tabLst/>
              <a:defRPr sz="1836">
                <a:solidFill>
                  <a:schemeClr val="accent4"/>
                </a:solidFill>
              </a:defRPr>
            </a:lvl1pPr>
            <a:lvl2pPr marL="0" indent="0">
              <a:buFontTx/>
              <a:buNone/>
              <a:defRPr sz="1122"/>
            </a:lvl2pPr>
            <a:lvl3pPr marL="228557" indent="0">
              <a:buNone/>
              <a:defRPr sz="1122"/>
            </a:lvl3pPr>
            <a:lvl4pPr marL="457112" indent="0">
              <a:buNone/>
              <a:defRPr sz="1071"/>
            </a:lvl4pPr>
            <a:lvl5pPr marL="685669" indent="0">
              <a:buNone/>
              <a:defRPr sz="1071"/>
            </a:lvl5pPr>
          </a:lstStyle>
          <a:p>
            <a:pPr lvl="0"/>
            <a:r>
              <a:rPr lang="en-US"/>
              <a:t>Edit Master text styles</a:t>
            </a:r>
          </a:p>
        </p:txBody>
      </p:sp>
      <p:sp>
        <p:nvSpPr>
          <p:cNvPr id="9" name="Title 1">
            <a:extLst>
              <a:ext uri="{FF2B5EF4-FFF2-40B4-BE49-F238E27FC236}">
                <a16:creationId xmlns:a16="http://schemas.microsoft.com/office/drawing/2014/main" id="{50FB6A5D-53EA-E648-B212-683B697E519A}"/>
              </a:ext>
            </a:extLst>
          </p:cNvPr>
          <p:cNvSpPr>
            <a:spLocks noGrp="1"/>
          </p:cNvSpPr>
          <p:nvPr>
            <p:ph type="title"/>
          </p:nvPr>
        </p:nvSpPr>
        <p:spPr>
          <a:xfrm>
            <a:off x="274639" y="295275"/>
            <a:ext cx="11889564" cy="494696"/>
          </a:xfrm>
        </p:spPr>
        <p:txBody>
          <a:bodyPr/>
          <a:lstStyle>
            <a:lvl1pPr>
              <a:defRPr sz="2856" spc="0"/>
            </a:lvl1pPr>
          </a:lstStyle>
          <a:p>
            <a:r>
              <a:rPr lang="en-US" dirty="0"/>
              <a:t>Click to edit Master title style</a:t>
            </a:r>
          </a:p>
        </p:txBody>
      </p:sp>
    </p:spTree>
    <p:extLst>
      <p:ext uri="{BB962C8B-B14F-4D97-AF65-F5344CB8AC3E}">
        <p14:creationId xmlns:p14="http://schemas.microsoft.com/office/powerpoint/2010/main" val="1913262780"/>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31079400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Slide 3">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262938" y="832966"/>
            <a:ext cx="11910600" cy="5876623"/>
          </a:xfrm>
          <a:prstGeom prst="rect">
            <a:avLst/>
          </a:prstGeom>
          <a:noFill/>
          <a:ln>
            <a:noFill/>
          </a:ln>
        </p:spPr>
      </p:pic>
      <p:sp>
        <p:nvSpPr>
          <p:cNvPr id="5"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pic>
        <p:nvPicPr>
          <p:cNvPr id="12" name="Picture 11"/>
          <p:cNvPicPr>
            <a:picLocks noChangeAspect="1"/>
          </p:cNvPicPr>
          <p:nvPr userDrawn="1"/>
        </p:nvPicPr>
        <p:blipFill rotWithShape="1">
          <a:blip r:embed="rId3">
            <a:extLst>
              <a:ext uri="{28A0092B-C50C-407E-A947-70E740481C1C}">
                <a14:useLocalDpi xmlns:a14="http://schemas.microsoft.com/office/drawing/2010/main"/>
              </a:ext>
            </a:extLst>
          </a:blip>
          <a:srcRect/>
          <a:stretch/>
        </p:blipFill>
        <p:spPr>
          <a:xfrm>
            <a:off x="2257798" y="328910"/>
            <a:ext cx="9915740" cy="6380679"/>
          </a:xfrm>
          <a:prstGeom prst="rect">
            <a:avLst/>
          </a:prstGeom>
          <a:noFill/>
          <a:ln>
            <a:noFill/>
          </a:ln>
        </p:spPr>
      </p:pic>
    </p:spTree>
    <p:extLst>
      <p:ext uri="{BB962C8B-B14F-4D97-AF65-F5344CB8AC3E}">
        <p14:creationId xmlns:p14="http://schemas.microsoft.com/office/powerpoint/2010/main" val="414470807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Slide 2">
    <p:bg bwMode="gray">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0" y="0"/>
            <a:ext cx="12436475" cy="742187"/>
          </a:xfrm>
        </p:spPr>
        <p:txBody>
          <a:bodyPr/>
          <a:lstStyle>
            <a:lvl1pPr marL="0" indent="0">
              <a:buNone/>
              <a:defRPr/>
            </a:lvl1pPr>
          </a:lstStyle>
          <a:p>
            <a:r>
              <a:rPr lang="en-US"/>
              <a:t>Click icon to add picture</a:t>
            </a:r>
          </a:p>
        </p:txBody>
      </p:sp>
      <p:sp>
        <p:nvSpPr>
          <p:cNvPr id="2" name="Footer Placeholder 1"/>
          <p:cNvSpPr>
            <a:spLocks noGrp="1"/>
          </p:cNvSpPr>
          <p:nvPr>
            <p:ph type="ftr" sz="quarter" idx="13"/>
          </p:nvPr>
        </p:nvSpPr>
        <p:spPr/>
        <p:txBody>
          <a:bodyPr/>
          <a:lstStyle/>
          <a:p>
            <a:r>
              <a:rPr lang="en-US"/>
              <a:t>Microsoft Confidential</a:t>
            </a:r>
          </a:p>
        </p:txBody>
      </p:sp>
      <p:sp>
        <p:nvSpPr>
          <p:cNvPr id="3" name="Slide Number Placeholder 2"/>
          <p:cNvSpPr>
            <a:spLocks noGrp="1"/>
          </p:cNvSpPr>
          <p:nvPr>
            <p:ph type="sldNum" sz="quarter" idx="14"/>
          </p:nvPr>
        </p:nvSpPr>
        <p:spPr/>
        <p:txBody>
          <a:bodyPr/>
          <a:lstStyle/>
          <a:p>
            <a:fld id="{27258FFF-F925-446B-8502-81C933981705}" type="slidenum">
              <a:rPr lang="en-US" smtClean="0"/>
              <a:pPr/>
              <a:t>‹#›</a:t>
            </a:fld>
            <a:endParaRPr lang="en-US"/>
          </a:p>
        </p:txBody>
      </p:sp>
      <p:sp>
        <p:nvSpPr>
          <p:cNvPr id="7" name="Text Placeholder 4"/>
          <p:cNvSpPr>
            <a:spLocks noGrp="1"/>
          </p:cNvSpPr>
          <p:nvPr>
            <p:ph type="body" sz="quarter" idx="12" hasCustomPrompt="1"/>
          </p:nvPr>
        </p:nvSpPr>
        <p:spPr>
          <a:xfrm>
            <a:off x="276542" y="3954457"/>
            <a:ext cx="5197379" cy="1018969"/>
          </a:xfrm>
          <a:noFill/>
        </p:spPr>
        <p:txBody>
          <a:bodyPr lIns="182880" tIns="146304" rIns="182880" bIns="146304">
            <a:noAutofit/>
          </a:bodyPr>
          <a:lstStyle>
            <a:lvl1pPr marL="0" indent="0">
              <a:spcBef>
                <a:spcPts val="0"/>
              </a:spcBef>
              <a:buNone/>
              <a:defRPr sz="3599" spc="0" baseline="0">
                <a:gradFill>
                  <a:gsLst>
                    <a:gs pos="7965">
                      <a:schemeClr val="tx1"/>
                    </a:gs>
                    <a:gs pos="8000">
                      <a:schemeClr val="tx1"/>
                    </a:gs>
                  </a:gsLst>
                  <a:lin ang="5400000" scaled="0"/>
                </a:gradFill>
                <a:latin typeface="+mj-lt"/>
              </a:defRPr>
            </a:lvl1pPr>
          </a:lstStyle>
          <a:p>
            <a:pPr lvl="0"/>
            <a:r>
              <a:rPr lang="en-US"/>
              <a:t>Speaker Name</a:t>
            </a:r>
          </a:p>
        </p:txBody>
      </p:sp>
      <p:sp>
        <p:nvSpPr>
          <p:cNvPr id="8" name="Title 1"/>
          <p:cNvSpPr>
            <a:spLocks noGrp="1"/>
          </p:cNvSpPr>
          <p:nvPr>
            <p:ph type="title" hasCustomPrompt="1"/>
          </p:nvPr>
        </p:nvSpPr>
        <p:spPr>
          <a:xfrm>
            <a:off x="274703" y="2125677"/>
            <a:ext cx="5187450" cy="1828800"/>
          </a:xfrm>
          <a:noFill/>
        </p:spPr>
        <p:txBody>
          <a:bodyPr lIns="146304" tIns="91440" rIns="146304" bIns="91440" anchor="t" anchorCtr="0"/>
          <a:lstStyle>
            <a:lvl1pPr>
              <a:defRPr sz="5999" spc="-100" baseline="0">
                <a:gradFill>
                  <a:gsLst>
                    <a:gs pos="7965">
                      <a:schemeClr val="tx1"/>
                    </a:gs>
                    <a:gs pos="8000">
                      <a:schemeClr val="tx1"/>
                    </a:gs>
                  </a:gsLst>
                  <a:lin ang="5400000" scaled="0"/>
                </a:gradFill>
              </a:defRPr>
            </a:lvl1pPr>
          </a:lstStyle>
          <a:p>
            <a:r>
              <a:rPr lang="en-US"/>
              <a:t>Presentation title</a:t>
            </a:r>
          </a:p>
        </p:txBody>
      </p:sp>
    </p:spTree>
    <p:extLst>
      <p:ext uri="{BB962C8B-B14F-4D97-AF65-F5344CB8AC3E}">
        <p14:creationId xmlns:p14="http://schemas.microsoft.com/office/powerpoint/2010/main" val="22320716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Slide 4">
    <p:bg bwMode="gray">
      <p:bgPr>
        <a:solidFill>
          <a:schemeClr val="bg1"/>
        </a:solid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3"/>
          </p:nvPr>
        </p:nvSpPr>
        <p:spPr>
          <a:xfrm>
            <a:off x="0" y="0"/>
            <a:ext cx="12436475" cy="742187"/>
          </a:xfrm>
        </p:spPr>
        <p:txBody>
          <a:bodyPr/>
          <a:lstStyle>
            <a:lvl1pPr marL="0" indent="0">
              <a:buNone/>
              <a:defRPr/>
            </a:lvl1pPr>
          </a:lstStyle>
          <a:p>
            <a:r>
              <a:rPr lang="en-US"/>
              <a:t>Click icon to add picture</a:t>
            </a:r>
          </a:p>
        </p:txBody>
      </p:sp>
      <p:sp>
        <p:nvSpPr>
          <p:cNvPr id="5" name="Text Placeholder 4"/>
          <p:cNvSpPr>
            <a:spLocks noGrp="1"/>
          </p:cNvSpPr>
          <p:nvPr>
            <p:ph type="body" sz="quarter" idx="12" hasCustomPrompt="1"/>
          </p:nvPr>
        </p:nvSpPr>
        <p:spPr>
          <a:xfrm>
            <a:off x="276541" y="2125663"/>
            <a:ext cx="5484498" cy="1828806"/>
          </a:xfrm>
          <a:noFill/>
        </p:spPr>
        <p:txBody>
          <a:bodyPr lIns="182880" tIns="146304" rIns="182880" bIns="146304">
            <a:noAutofit/>
          </a:bodyPr>
          <a:lstStyle>
            <a:lvl1pPr marL="0" indent="0">
              <a:spcBef>
                <a:spcPts val="0"/>
              </a:spcBef>
              <a:buNone/>
              <a:defRPr sz="3599" spc="0" baseline="0">
                <a:gradFill>
                  <a:gsLst>
                    <a:gs pos="46903">
                      <a:srgbClr val="FFFFFF"/>
                    </a:gs>
                    <a:gs pos="83000">
                      <a:srgbClr val="FFFFFF"/>
                    </a:gs>
                  </a:gsLst>
                  <a:lin ang="5400000" scaled="1"/>
                </a:gradFill>
                <a:latin typeface="+mj-lt"/>
              </a:defRPr>
            </a:lvl1pPr>
          </a:lstStyle>
          <a:p>
            <a:pPr lvl="0"/>
            <a:r>
              <a:rPr lang="en-US"/>
              <a:t>Speaker Name</a:t>
            </a:r>
          </a:p>
        </p:txBody>
      </p:sp>
      <p:sp>
        <p:nvSpPr>
          <p:cNvPr id="9" name="Title 1"/>
          <p:cNvSpPr>
            <a:spLocks noGrp="1"/>
          </p:cNvSpPr>
          <p:nvPr>
            <p:ph type="title" hasCustomPrompt="1"/>
          </p:nvPr>
        </p:nvSpPr>
        <p:spPr>
          <a:xfrm>
            <a:off x="274704" y="296863"/>
            <a:ext cx="5486335" cy="1828800"/>
          </a:xfrm>
          <a:noFill/>
        </p:spPr>
        <p:txBody>
          <a:bodyPr lIns="146304" tIns="91440" rIns="146304" bIns="91440" anchor="t" anchorCtr="0"/>
          <a:lstStyle>
            <a:lvl1pPr>
              <a:defRPr sz="5999" spc="-100" baseline="0">
                <a:gradFill>
                  <a:gsLst>
                    <a:gs pos="46903">
                      <a:srgbClr val="FFFFFF"/>
                    </a:gs>
                    <a:gs pos="83000">
                      <a:srgbClr val="FFFFFF"/>
                    </a:gs>
                  </a:gsLst>
                  <a:lin ang="5400000" scaled="1"/>
                </a:gradFill>
              </a:defRPr>
            </a:lvl1pPr>
          </a:lstStyle>
          <a:p>
            <a:r>
              <a:rPr lang="en-US"/>
              <a:t>Presentation title</a:t>
            </a:r>
          </a:p>
        </p:txBody>
      </p:sp>
    </p:spTree>
    <p:extLst>
      <p:ext uri="{BB962C8B-B14F-4D97-AF65-F5344CB8AC3E}">
        <p14:creationId xmlns:p14="http://schemas.microsoft.com/office/powerpoint/2010/main" val="2420044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2794178"/>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ull Quote 1">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436475" cy="742187"/>
          </a:xfrm>
        </p:spPr>
        <p:txBody>
          <a:bodyPr/>
          <a:lstStyle>
            <a:lvl1pPr marL="0" indent="0">
              <a:buNone/>
              <a:defRPr/>
            </a:lvl1pPr>
          </a:lstStyle>
          <a:p>
            <a:r>
              <a:rPr lang="en-US"/>
              <a:t>Click icon to add picture</a:t>
            </a:r>
          </a:p>
        </p:txBody>
      </p:sp>
      <p:sp>
        <p:nvSpPr>
          <p:cNvPr id="9" name="Title 1"/>
          <p:cNvSpPr>
            <a:spLocks noGrp="1"/>
          </p:cNvSpPr>
          <p:nvPr>
            <p:ph type="title" hasCustomPrompt="1"/>
          </p:nvPr>
        </p:nvSpPr>
        <p:spPr>
          <a:xfrm>
            <a:off x="274704" y="2125663"/>
            <a:ext cx="5486335" cy="3657600"/>
          </a:xfrm>
          <a:noFill/>
        </p:spPr>
        <p:txBody>
          <a:bodyPr lIns="146304" tIns="91440" rIns="146304" bIns="91440" anchor="t" anchorCtr="0"/>
          <a:lstStyle>
            <a:lvl1pPr>
              <a:defRPr sz="5999" spc="-100" baseline="0">
                <a:gradFill>
                  <a:gsLst>
                    <a:gs pos="46903">
                      <a:schemeClr val="tx1"/>
                    </a:gs>
                    <a:gs pos="83000">
                      <a:schemeClr val="tx1"/>
                    </a:gs>
                  </a:gsLst>
                  <a:lin ang="5400000" scaled="1"/>
                </a:gradFill>
              </a:defRPr>
            </a:lvl1pPr>
          </a:lstStyle>
          <a:p>
            <a:r>
              <a:rPr lang="en-US"/>
              <a:t>Pull quote</a:t>
            </a:r>
          </a:p>
        </p:txBody>
      </p:sp>
    </p:spTree>
    <p:extLst>
      <p:ext uri="{BB962C8B-B14F-4D97-AF65-F5344CB8AC3E}">
        <p14:creationId xmlns:p14="http://schemas.microsoft.com/office/powerpoint/2010/main" val="213473250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ull Quote 2">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8"/>
          </p:nvPr>
        </p:nvSpPr>
        <p:spPr>
          <a:xfrm>
            <a:off x="0" y="0"/>
            <a:ext cx="12436475" cy="742187"/>
          </a:xfrm>
        </p:spPr>
        <p:txBody>
          <a:bodyPr/>
          <a:lstStyle>
            <a:lvl1pPr marL="0" indent="0">
              <a:buNone/>
              <a:defRPr/>
            </a:lvl1pPr>
          </a:lstStyle>
          <a:p>
            <a:r>
              <a:rPr lang="en-US"/>
              <a:t>Click icon to add picture</a:t>
            </a:r>
          </a:p>
        </p:txBody>
      </p:sp>
      <p:sp>
        <p:nvSpPr>
          <p:cNvPr id="13" name="Text Placeholder 5"/>
          <p:cNvSpPr>
            <a:spLocks noGrp="1"/>
          </p:cNvSpPr>
          <p:nvPr>
            <p:ph type="body" sz="quarter" idx="15" hasCustomPrompt="1"/>
          </p:nvPr>
        </p:nvSpPr>
        <p:spPr>
          <a:xfrm>
            <a:off x="6033080" y="723012"/>
            <a:ext cx="640080" cy="640080"/>
          </a:xfrm>
          <a:solidFill>
            <a:srgbClr val="68217A"/>
          </a:solidFill>
        </p:spPr>
        <p:txBody>
          <a:bodyPr anchor="ctr">
            <a:noAutofit/>
          </a:bodyP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4" name="Text Placeholder 5"/>
          <p:cNvSpPr>
            <a:spLocks noGrp="1"/>
          </p:cNvSpPr>
          <p:nvPr>
            <p:ph type="body" sz="quarter" idx="16" hasCustomPrompt="1"/>
          </p:nvPr>
        </p:nvSpPr>
        <p:spPr>
          <a:xfrm>
            <a:off x="9418639" y="909643"/>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5" name="Text Placeholder 5"/>
          <p:cNvSpPr>
            <a:spLocks noGrp="1"/>
          </p:cNvSpPr>
          <p:nvPr>
            <p:ph type="body" sz="quarter" idx="17" hasCustomPrompt="1"/>
          </p:nvPr>
        </p:nvSpPr>
        <p:spPr>
          <a:xfrm>
            <a:off x="9418639" y="3818464"/>
            <a:ext cx="640080" cy="266818"/>
          </a:xfrm>
          <a:solidFill>
            <a:srgbClr val="68217A"/>
          </a:solidFill>
        </p:spPr>
        <p:txBody>
          <a:bodyPr anchor="ctr"/>
          <a:lstStyle>
            <a:lvl1pPr marL="0" indent="0">
              <a:lnSpc>
                <a:spcPts val="600"/>
              </a:lnSpc>
              <a:spcBef>
                <a:spcPts val="0"/>
              </a:spcBef>
              <a:buNone/>
              <a:defRPr sz="600">
                <a:solidFill>
                  <a:schemeClr val="bg1"/>
                </a:solidFill>
              </a:defRPr>
            </a:lvl1pPr>
            <a:lvl2pPr marL="342834" indent="0">
              <a:buNone/>
              <a:defRPr sz="3199"/>
            </a:lvl2pPr>
            <a:lvl3pPr marL="571390" indent="0">
              <a:buNone/>
              <a:defRPr sz="3199"/>
            </a:lvl3pPr>
            <a:lvl4pPr marL="799946" indent="0">
              <a:buNone/>
              <a:defRPr sz="3199"/>
            </a:lvl4pPr>
            <a:lvl5pPr marL="1028503" indent="0">
              <a:buNone/>
              <a:defRPr sz="3199"/>
            </a:lvl5pPr>
          </a:lstStyle>
          <a:p>
            <a:pPr lvl="0"/>
            <a:r>
              <a:rPr lang="en-US"/>
              <a:t> </a:t>
            </a:r>
          </a:p>
        </p:txBody>
      </p:sp>
      <p:sp>
        <p:nvSpPr>
          <p:cNvPr id="17" name="Title 16"/>
          <p:cNvSpPr>
            <a:spLocks noGrp="1"/>
          </p:cNvSpPr>
          <p:nvPr>
            <p:ph type="title"/>
          </p:nvPr>
        </p:nvSpPr>
        <p:spPr>
          <a:xfrm>
            <a:off x="4394200" y="3628285"/>
            <a:ext cx="2278960" cy="2272453"/>
          </a:xfrm>
          <a:solidFill>
            <a:srgbClr val="68217A"/>
          </a:solidFill>
        </p:spPr>
        <p:txBody>
          <a:bodyPr lIns="182880" tIns="146304" rIns="182880" bIns="146304"/>
          <a:lstStyle>
            <a:lvl1pPr>
              <a:defRPr sz="3199">
                <a:gradFill>
                  <a:gsLst>
                    <a:gs pos="14159">
                      <a:schemeClr val="bg1"/>
                    </a:gs>
                    <a:gs pos="37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759809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grpId="0" nodeType="withEffect">
                                  <p:stCondLst>
                                    <p:cond delay="0"/>
                                  </p:stCondLst>
                                  <p:childTnLst>
                                    <p:set>
                                      <p:cBhvr>
                                        <p:cTn id="6" dur="1" fill="hold">
                                          <p:stCondLst>
                                            <p:cond delay="0"/>
                                          </p:stCondLst>
                                        </p:cTn>
                                        <p:tgtEl>
                                          <p:spTgt spid="13">
                                            <p:bg/>
                                          </p:spTgt>
                                        </p:tgtEl>
                                        <p:attrNameLst>
                                          <p:attrName>style.visibility</p:attrName>
                                        </p:attrNameLst>
                                      </p:cBhvr>
                                      <p:to>
                                        <p:strVal val="visible"/>
                                      </p:to>
                                    </p:set>
                                    <p:anim calcmode="lin" valueType="num">
                                      <p:cBhvr>
                                        <p:cTn id="7" dur="500" fill="hold"/>
                                        <p:tgtEl>
                                          <p:spTgt spid="13">
                                            <p:bg/>
                                          </p:spTgt>
                                        </p:tgtEl>
                                        <p:attrNameLst>
                                          <p:attrName>ppt_w</p:attrName>
                                        </p:attrNameLst>
                                      </p:cBhvr>
                                      <p:tavLst>
                                        <p:tav tm="0">
                                          <p:val>
                                            <p:fltVal val="0"/>
                                          </p:val>
                                        </p:tav>
                                        <p:tav tm="100000">
                                          <p:val>
                                            <p:strVal val="#ppt_w"/>
                                          </p:val>
                                        </p:tav>
                                      </p:tavLst>
                                    </p:anim>
                                    <p:anim calcmode="lin" valueType="num">
                                      <p:cBhvr>
                                        <p:cTn id="8" dur="500" fill="hold"/>
                                        <p:tgtEl>
                                          <p:spTgt spid="13">
                                            <p:bg/>
                                          </p:spTgt>
                                        </p:tgtEl>
                                        <p:attrNameLst>
                                          <p:attrName>ppt_h</p:attrName>
                                        </p:attrNameLst>
                                      </p:cBhvr>
                                      <p:tavLst>
                                        <p:tav tm="0">
                                          <p:val>
                                            <p:fltVal val="0"/>
                                          </p:val>
                                        </p:tav>
                                        <p:tav tm="100000">
                                          <p:val>
                                            <p:strVal val="#ppt_h"/>
                                          </p:val>
                                        </p:tav>
                                      </p:tavLst>
                                    </p:anim>
                                    <p:animEffect transition="in" filter="fade">
                                      <p:cBhvr>
                                        <p:cTn id="9" dur="500"/>
                                        <p:tgtEl>
                                          <p:spTgt spid="13">
                                            <p:bg/>
                                          </p:spTgt>
                                        </p:tgtEl>
                                      </p:cBhvr>
                                    </p:animEffect>
                                    <p:anim calcmode="lin" valueType="num">
                                      <p:cBhvr>
                                        <p:cTn id="10" dur="500" fill="hold"/>
                                        <p:tgtEl>
                                          <p:spTgt spid="13">
                                            <p:bg/>
                                          </p:spTgt>
                                        </p:tgtEl>
                                        <p:attrNameLst>
                                          <p:attrName>ppt_x</p:attrName>
                                        </p:attrNameLst>
                                      </p:cBhvr>
                                      <p:tavLst>
                                        <p:tav tm="0">
                                          <p:val>
                                            <p:fltVal val="0.5"/>
                                          </p:val>
                                        </p:tav>
                                        <p:tav tm="100000">
                                          <p:val>
                                            <p:strVal val="#ppt_x"/>
                                          </p:val>
                                        </p:tav>
                                      </p:tavLst>
                                    </p:anim>
                                    <p:anim calcmode="lin" valueType="num">
                                      <p:cBhvr>
                                        <p:cTn id="11" dur="500" fill="hold"/>
                                        <p:tgtEl>
                                          <p:spTgt spid="13">
                                            <p:bg/>
                                          </p:spTgt>
                                        </p:tgtEl>
                                        <p:attrNameLst>
                                          <p:attrName>ppt_y</p:attrName>
                                        </p:attrNameLst>
                                      </p:cBhvr>
                                      <p:tavLst>
                                        <p:tav tm="0">
                                          <p:val>
                                            <p:fltVal val="0.5"/>
                                          </p:val>
                                        </p:tav>
                                        <p:tav tm="100000">
                                          <p:val>
                                            <p:strVal val="#ppt_y"/>
                                          </p:val>
                                        </p:tav>
                                      </p:tavLst>
                                    </p:anim>
                                  </p:childTnLst>
                                </p:cTn>
                              </p:par>
                              <p:par>
                                <p:cTn id="12" presetID="53" presetClass="entr" presetSubtype="528" fill="hold" grpId="0" nodeType="withEffect">
                                  <p:stCondLst>
                                    <p:cond delay="0"/>
                                  </p:stCondLst>
                                  <p:childTnLst>
                                    <p:set>
                                      <p:cBhvr>
                                        <p:cTn id="13" dur="1" fill="hold">
                                          <p:stCondLst>
                                            <p:cond delay="0"/>
                                          </p:stCondLst>
                                        </p:cTn>
                                        <p:tgtEl>
                                          <p:spTgt spid="13">
                                            <p:txEl>
                                              <p:pRg st="0" end="0"/>
                                            </p:txEl>
                                          </p:spTgt>
                                        </p:tgtEl>
                                        <p:attrNameLst>
                                          <p:attrName>style.visibility</p:attrName>
                                        </p:attrNameLst>
                                      </p:cBhvr>
                                      <p:to>
                                        <p:strVal val="visible"/>
                                      </p:to>
                                    </p:set>
                                    <p:anim calcmode="lin" valueType="num">
                                      <p:cBhvr>
                                        <p:cTn id="14" dur="5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15" dur="500" fill="hold"/>
                                        <p:tgtEl>
                                          <p:spTgt spid="13">
                                            <p:txEl>
                                              <p:pRg st="0" end="0"/>
                                            </p:txEl>
                                          </p:spTgt>
                                        </p:tgtEl>
                                        <p:attrNameLst>
                                          <p:attrName>ppt_h</p:attrName>
                                        </p:attrNameLst>
                                      </p:cBhvr>
                                      <p:tavLst>
                                        <p:tav tm="0">
                                          <p:val>
                                            <p:fltVal val="0"/>
                                          </p:val>
                                        </p:tav>
                                        <p:tav tm="100000">
                                          <p:val>
                                            <p:strVal val="#ppt_h"/>
                                          </p:val>
                                        </p:tav>
                                      </p:tavLst>
                                    </p:anim>
                                    <p:animEffect transition="in" filter="fade">
                                      <p:cBhvr>
                                        <p:cTn id="16" dur="500"/>
                                        <p:tgtEl>
                                          <p:spTgt spid="13">
                                            <p:txEl>
                                              <p:pRg st="0" end="0"/>
                                            </p:txEl>
                                          </p:spTgt>
                                        </p:tgtEl>
                                      </p:cBhvr>
                                    </p:animEffect>
                                    <p:anim calcmode="lin" valueType="num">
                                      <p:cBhvr>
                                        <p:cTn id="17" dur="500" fill="hold"/>
                                        <p:tgtEl>
                                          <p:spTgt spid="13">
                                            <p:txEl>
                                              <p:pRg st="0" end="0"/>
                                            </p:txEl>
                                          </p:spTgt>
                                        </p:tgtEl>
                                        <p:attrNameLst>
                                          <p:attrName>ppt_x</p:attrName>
                                        </p:attrNameLst>
                                      </p:cBhvr>
                                      <p:tavLst>
                                        <p:tav tm="0">
                                          <p:val>
                                            <p:fltVal val="0.5"/>
                                          </p:val>
                                        </p:tav>
                                        <p:tav tm="100000">
                                          <p:val>
                                            <p:strVal val="#ppt_x"/>
                                          </p:val>
                                        </p:tav>
                                      </p:tavLst>
                                    </p:anim>
                                    <p:anim calcmode="lin" valueType="num">
                                      <p:cBhvr>
                                        <p:cTn id="18" dur="500" fill="hold"/>
                                        <p:tgtEl>
                                          <p:spTgt spid="13">
                                            <p:txEl>
                                              <p:pRg st="0" end="0"/>
                                            </p:txEl>
                                          </p:spTgt>
                                        </p:tgtEl>
                                        <p:attrNameLst>
                                          <p:attrName>ppt_y</p:attrName>
                                        </p:attrNameLst>
                                      </p:cBhvr>
                                      <p:tavLst>
                                        <p:tav tm="0">
                                          <p:val>
                                            <p:fltVal val="0.5"/>
                                          </p:val>
                                        </p:tav>
                                        <p:tav tm="100000">
                                          <p:val>
                                            <p:strVal val="#ppt_y"/>
                                          </p:val>
                                        </p:tav>
                                      </p:tavLst>
                                    </p:anim>
                                  </p:childTnLst>
                                </p:cTn>
                              </p:par>
                              <p:par>
                                <p:cTn id="19" presetID="53" presetClass="entr" presetSubtype="528" fill="hold" grpId="0" nodeType="withEffect">
                                  <p:stCondLst>
                                    <p:cond delay="0"/>
                                  </p:stCondLst>
                                  <p:childTnLst>
                                    <p:set>
                                      <p:cBhvr>
                                        <p:cTn id="20" dur="1" fill="hold">
                                          <p:stCondLst>
                                            <p:cond delay="0"/>
                                          </p:stCondLst>
                                        </p:cTn>
                                        <p:tgtEl>
                                          <p:spTgt spid="14">
                                            <p:bg/>
                                          </p:spTgt>
                                        </p:tgtEl>
                                        <p:attrNameLst>
                                          <p:attrName>style.visibility</p:attrName>
                                        </p:attrNameLst>
                                      </p:cBhvr>
                                      <p:to>
                                        <p:strVal val="visible"/>
                                      </p:to>
                                    </p:set>
                                    <p:anim calcmode="lin" valueType="num">
                                      <p:cBhvr>
                                        <p:cTn id="21" dur="500" fill="hold"/>
                                        <p:tgtEl>
                                          <p:spTgt spid="14">
                                            <p:bg/>
                                          </p:spTgt>
                                        </p:tgtEl>
                                        <p:attrNameLst>
                                          <p:attrName>ppt_w</p:attrName>
                                        </p:attrNameLst>
                                      </p:cBhvr>
                                      <p:tavLst>
                                        <p:tav tm="0">
                                          <p:val>
                                            <p:fltVal val="0"/>
                                          </p:val>
                                        </p:tav>
                                        <p:tav tm="100000">
                                          <p:val>
                                            <p:strVal val="#ppt_w"/>
                                          </p:val>
                                        </p:tav>
                                      </p:tavLst>
                                    </p:anim>
                                    <p:anim calcmode="lin" valueType="num">
                                      <p:cBhvr>
                                        <p:cTn id="22" dur="500" fill="hold"/>
                                        <p:tgtEl>
                                          <p:spTgt spid="14">
                                            <p:bg/>
                                          </p:spTgt>
                                        </p:tgtEl>
                                        <p:attrNameLst>
                                          <p:attrName>ppt_h</p:attrName>
                                        </p:attrNameLst>
                                      </p:cBhvr>
                                      <p:tavLst>
                                        <p:tav tm="0">
                                          <p:val>
                                            <p:fltVal val="0"/>
                                          </p:val>
                                        </p:tav>
                                        <p:tav tm="100000">
                                          <p:val>
                                            <p:strVal val="#ppt_h"/>
                                          </p:val>
                                        </p:tav>
                                      </p:tavLst>
                                    </p:anim>
                                    <p:animEffect transition="in" filter="fade">
                                      <p:cBhvr>
                                        <p:cTn id="23" dur="500"/>
                                        <p:tgtEl>
                                          <p:spTgt spid="14">
                                            <p:bg/>
                                          </p:spTgt>
                                        </p:tgtEl>
                                      </p:cBhvr>
                                    </p:animEffect>
                                    <p:anim calcmode="lin" valueType="num">
                                      <p:cBhvr>
                                        <p:cTn id="24" dur="500" fill="hold"/>
                                        <p:tgtEl>
                                          <p:spTgt spid="14">
                                            <p:bg/>
                                          </p:spTgt>
                                        </p:tgtEl>
                                        <p:attrNameLst>
                                          <p:attrName>ppt_x</p:attrName>
                                        </p:attrNameLst>
                                      </p:cBhvr>
                                      <p:tavLst>
                                        <p:tav tm="0">
                                          <p:val>
                                            <p:fltVal val="0.5"/>
                                          </p:val>
                                        </p:tav>
                                        <p:tav tm="100000">
                                          <p:val>
                                            <p:strVal val="#ppt_x"/>
                                          </p:val>
                                        </p:tav>
                                      </p:tavLst>
                                    </p:anim>
                                    <p:anim calcmode="lin" valueType="num">
                                      <p:cBhvr>
                                        <p:cTn id="25" dur="500" fill="hold"/>
                                        <p:tgtEl>
                                          <p:spTgt spid="14">
                                            <p:bg/>
                                          </p:spTgt>
                                        </p:tgtEl>
                                        <p:attrNameLst>
                                          <p:attrName>ppt_y</p:attrName>
                                        </p:attrNameLst>
                                      </p:cBhvr>
                                      <p:tavLst>
                                        <p:tav tm="0">
                                          <p:val>
                                            <p:fltVal val="0.5"/>
                                          </p:val>
                                        </p:tav>
                                        <p:tav tm="100000">
                                          <p:val>
                                            <p:strVal val="#ppt_y"/>
                                          </p:val>
                                        </p:tav>
                                      </p:tavLst>
                                    </p:anim>
                                  </p:childTnLst>
                                </p:cTn>
                              </p:par>
                              <p:par>
                                <p:cTn id="26" presetID="53" presetClass="entr" presetSubtype="528" fill="hold" grpId="0" nodeType="withEffect">
                                  <p:stCondLst>
                                    <p:cond delay="0"/>
                                  </p:stCondLst>
                                  <p:childTnLst>
                                    <p:set>
                                      <p:cBhvr>
                                        <p:cTn id="27" dur="1" fill="hold">
                                          <p:stCondLst>
                                            <p:cond delay="0"/>
                                          </p:stCondLst>
                                        </p:cTn>
                                        <p:tgtEl>
                                          <p:spTgt spid="14">
                                            <p:txEl>
                                              <p:pRg st="0" end="0"/>
                                            </p:txEl>
                                          </p:spTgt>
                                        </p:tgtEl>
                                        <p:attrNameLst>
                                          <p:attrName>style.visibility</p:attrName>
                                        </p:attrNameLst>
                                      </p:cBhvr>
                                      <p:to>
                                        <p:strVal val="visible"/>
                                      </p:to>
                                    </p:set>
                                    <p:anim calcmode="lin" valueType="num">
                                      <p:cBhvr>
                                        <p:cTn id="28" dur="500" fill="hold"/>
                                        <p:tgtEl>
                                          <p:spTgt spid="14">
                                            <p:txEl>
                                              <p:pRg st="0" end="0"/>
                                            </p:txEl>
                                          </p:spTgt>
                                        </p:tgtEl>
                                        <p:attrNameLst>
                                          <p:attrName>ppt_w</p:attrName>
                                        </p:attrNameLst>
                                      </p:cBhvr>
                                      <p:tavLst>
                                        <p:tav tm="0">
                                          <p:val>
                                            <p:fltVal val="0"/>
                                          </p:val>
                                        </p:tav>
                                        <p:tav tm="100000">
                                          <p:val>
                                            <p:strVal val="#ppt_w"/>
                                          </p:val>
                                        </p:tav>
                                      </p:tavLst>
                                    </p:anim>
                                    <p:anim calcmode="lin" valueType="num">
                                      <p:cBhvr>
                                        <p:cTn id="29" dur="500" fill="hold"/>
                                        <p:tgtEl>
                                          <p:spTgt spid="14">
                                            <p:txEl>
                                              <p:pRg st="0" end="0"/>
                                            </p:txEl>
                                          </p:spTgt>
                                        </p:tgtEl>
                                        <p:attrNameLst>
                                          <p:attrName>ppt_h</p:attrName>
                                        </p:attrNameLst>
                                      </p:cBhvr>
                                      <p:tavLst>
                                        <p:tav tm="0">
                                          <p:val>
                                            <p:fltVal val="0"/>
                                          </p:val>
                                        </p:tav>
                                        <p:tav tm="100000">
                                          <p:val>
                                            <p:strVal val="#ppt_h"/>
                                          </p:val>
                                        </p:tav>
                                      </p:tavLst>
                                    </p:anim>
                                    <p:animEffect transition="in" filter="fade">
                                      <p:cBhvr>
                                        <p:cTn id="30" dur="500"/>
                                        <p:tgtEl>
                                          <p:spTgt spid="14">
                                            <p:txEl>
                                              <p:pRg st="0" end="0"/>
                                            </p:txEl>
                                          </p:spTgt>
                                        </p:tgtEl>
                                      </p:cBhvr>
                                    </p:animEffect>
                                    <p:anim calcmode="lin" valueType="num">
                                      <p:cBhvr>
                                        <p:cTn id="31" dur="500" fill="hold"/>
                                        <p:tgtEl>
                                          <p:spTgt spid="14">
                                            <p:txEl>
                                              <p:pRg st="0" end="0"/>
                                            </p:txEl>
                                          </p:spTgt>
                                        </p:tgtEl>
                                        <p:attrNameLst>
                                          <p:attrName>ppt_x</p:attrName>
                                        </p:attrNameLst>
                                      </p:cBhvr>
                                      <p:tavLst>
                                        <p:tav tm="0">
                                          <p:val>
                                            <p:fltVal val="0.5"/>
                                          </p:val>
                                        </p:tav>
                                        <p:tav tm="100000">
                                          <p:val>
                                            <p:strVal val="#ppt_x"/>
                                          </p:val>
                                        </p:tav>
                                      </p:tavLst>
                                    </p:anim>
                                    <p:anim calcmode="lin" valueType="num">
                                      <p:cBhvr>
                                        <p:cTn id="32" dur="500" fill="hold"/>
                                        <p:tgtEl>
                                          <p:spTgt spid="14">
                                            <p:txEl>
                                              <p:pRg st="0" end="0"/>
                                            </p:txEl>
                                          </p:spTgt>
                                        </p:tgtEl>
                                        <p:attrNameLst>
                                          <p:attrName>ppt_y</p:attrName>
                                        </p:attrNameLst>
                                      </p:cBhvr>
                                      <p:tavLst>
                                        <p:tav tm="0">
                                          <p:val>
                                            <p:fltVal val="0.5"/>
                                          </p:val>
                                        </p:tav>
                                        <p:tav tm="100000">
                                          <p:val>
                                            <p:strVal val="#ppt_y"/>
                                          </p:val>
                                        </p:tav>
                                      </p:tavLst>
                                    </p:anim>
                                  </p:childTnLst>
                                </p:cTn>
                              </p:par>
                              <p:par>
                                <p:cTn id="33" presetID="53" presetClass="entr" presetSubtype="528" fill="hold" grpId="0" nodeType="withEffect">
                                  <p:stCondLst>
                                    <p:cond delay="0"/>
                                  </p:stCondLst>
                                  <p:childTnLst>
                                    <p:set>
                                      <p:cBhvr>
                                        <p:cTn id="34" dur="1" fill="hold">
                                          <p:stCondLst>
                                            <p:cond delay="0"/>
                                          </p:stCondLst>
                                        </p:cTn>
                                        <p:tgtEl>
                                          <p:spTgt spid="15">
                                            <p:bg/>
                                          </p:spTgt>
                                        </p:tgtEl>
                                        <p:attrNameLst>
                                          <p:attrName>style.visibility</p:attrName>
                                        </p:attrNameLst>
                                      </p:cBhvr>
                                      <p:to>
                                        <p:strVal val="visible"/>
                                      </p:to>
                                    </p:set>
                                    <p:anim calcmode="lin" valueType="num">
                                      <p:cBhvr>
                                        <p:cTn id="35" dur="500" fill="hold"/>
                                        <p:tgtEl>
                                          <p:spTgt spid="15">
                                            <p:bg/>
                                          </p:spTgt>
                                        </p:tgtEl>
                                        <p:attrNameLst>
                                          <p:attrName>ppt_w</p:attrName>
                                        </p:attrNameLst>
                                      </p:cBhvr>
                                      <p:tavLst>
                                        <p:tav tm="0">
                                          <p:val>
                                            <p:fltVal val="0"/>
                                          </p:val>
                                        </p:tav>
                                        <p:tav tm="100000">
                                          <p:val>
                                            <p:strVal val="#ppt_w"/>
                                          </p:val>
                                        </p:tav>
                                      </p:tavLst>
                                    </p:anim>
                                    <p:anim calcmode="lin" valueType="num">
                                      <p:cBhvr>
                                        <p:cTn id="36" dur="500" fill="hold"/>
                                        <p:tgtEl>
                                          <p:spTgt spid="15">
                                            <p:bg/>
                                          </p:spTgt>
                                        </p:tgtEl>
                                        <p:attrNameLst>
                                          <p:attrName>ppt_h</p:attrName>
                                        </p:attrNameLst>
                                      </p:cBhvr>
                                      <p:tavLst>
                                        <p:tav tm="0">
                                          <p:val>
                                            <p:fltVal val="0"/>
                                          </p:val>
                                        </p:tav>
                                        <p:tav tm="100000">
                                          <p:val>
                                            <p:strVal val="#ppt_h"/>
                                          </p:val>
                                        </p:tav>
                                      </p:tavLst>
                                    </p:anim>
                                    <p:animEffect transition="in" filter="fade">
                                      <p:cBhvr>
                                        <p:cTn id="37" dur="500"/>
                                        <p:tgtEl>
                                          <p:spTgt spid="15">
                                            <p:bg/>
                                          </p:spTgt>
                                        </p:tgtEl>
                                      </p:cBhvr>
                                    </p:animEffect>
                                    <p:anim calcmode="lin" valueType="num">
                                      <p:cBhvr>
                                        <p:cTn id="38" dur="500" fill="hold"/>
                                        <p:tgtEl>
                                          <p:spTgt spid="15">
                                            <p:bg/>
                                          </p:spTgt>
                                        </p:tgtEl>
                                        <p:attrNameLst>
                                          <p:attrName>ppt_x</p:attrName>
                                        </p:attrNameLst>
                                      </p:cBhvr>
                                      <p:tavLst>
                                        <p:tav tm="0">
                                          <p:val>
                                            <p:fltVal val="0.5"/>
                                          </p:val>
                                        </p:tav>
                                        <p:tav tm="100000">
                                          <p:val>
                                            <p:strVal val="#ppt_x"/>
                                          </p:val>
                                        </p:tav>
                                      </p:tavLst>
                                    </p:anim>
                                    <p:anim calcmode="lin" valueType="num">
                                      <p:cBhvr>
                                        <p:cTn id="39" dur="500" fill="hold"/>
                                        <p:tgtEl>
                                          <p:spTgt spid="15">
                                            <p:bg/>
                                          </p:spTgt>
                                        </p:tgtEl>
                                        <p:attrNameLst>
                                          <p:attrName>ppt_y</p:attrName>
                                        </p:attrNameLst>
                                      </p:cBhvr>
                                      <p:tavLst>
                                        <p:tav tm="0">
                                          <p:val>
                                            <p:fltVal val="0.5"/>
                                          </p:val>
                                        </p:tav>
                                        <p:tav tm="100000">
                                          <p:val>
                                            <p:strVal val="#ppt_y"/>
                                          </p:val>
                                        </p:tav>
                                      </p:tavLst>
                                    </p:anim>
                                  </p:childTnLst>
                                </p:cTn>
                              </p:par>
                              <p:par>
                                <p:cTn id="40" presetID="53" presetClass="entr" presetSubtype="528" fill="hold" grpId="0" nodeType="withEffect">
                                  <p:stCondLst>
                                    <p:cond delay="0"/>
                                  </p:stCondLst>
                                  <p:childTnLst>
                                    <p:set>
                                      <p:cBhvr>
                                        <p:cTn id="41" dur="1" fill="hold">
                                          <p:stCondLst>
                                            <p:cond delay="0"/>
                                          </p:stCondLst>
                                        </p:cTn>
                                        <p:tgtEl>
                                          <p:spTgt spid="15">
                                            <p:txEl>
                                              <p:pRg st="0" end="0"/>
                                            </p:txEl>
                                          </p:spTgt>
                                        </p:tgtEl>
                                        <p:attrNameLst>
                                          <p:attrName>style.visibility</p:attrName>
                                        </p:attrNameLst>
                                      </p:cBhvr>
                                      <p:to>
                                        <p:strVal val="visible"/>
                                      </p:to>
                                    </p:set>
                                    <p:anim calcmode="lin" valueType="num">
                                      <p:cBhvr>
                                        <p:cTn id="42" dur="500" fill="hold"/>
                                        <p:tgtEl>
                                          <p:spTgt spid="15">
                                            <p:txEl>
                                              <p:pRg st="0" end="0"/>
                                            </p:txEl>
                                          </p:spTgt>
                                        </p:tgtEl>
                                        <p:attrNameLst>
                                          <p:attrName>ppt_w</p:attrName>
                                        </p:attrNameLst>
                                      </p:cBhvr>
                                      <p:tavLst>
                                        <p:tav tm="0">
                                          <p:val>
                                            <p:fltVal val="0"/>
                                          </p:val>
                                        </p:tav>
                                        <p:tav tm="100000">
                                          <p:val>
                                            <p:strVal val="#ppt_w"/>
                                          </p:val>
                                        </p:tav>
                                      </p:tavLst>
                                    </p:anim>
                                    <p:anim calcmode="lin" valueType="num">
                                      <p:cBhvr>
                                        <p:cTn id="43" dur="500" fill="hold"/>
                                        <p:tgtEl>
                                          <p:spTgt spid="15">
                                            <p:txEl>
                                              <p:pRg st="0" end="0"/>
                                            </p:txEl>
                                          </p:spTgt>
                                        </p:tgtEl>
                                        <p:attrNameLst>
                                          <p:attrName>ppt_h</p:attrName>
                                        </p:attrNameLst>
                                      </p:cBhvr>
                                      <p:tavLst>
                                        <p:tav tm="0">
                                          <p:val>
                                            <p:fltVal val="0"/>
                                          </p:val>
                                        </p:tav>
                                        <p:tav tm="100000">
                                          <p:val>
                                            <p:strVal val="#ppt_h"/>
                                          </p:val>
                                        </p:tav>
                                      </p:tavLst>
                                    </p:anim>
                                    <p:animEffect transition="in" filter="fade">
                                      <p:cBhvr>
                                        <p:cTn id="44" dur="500"/>
                                        <p:tgtEl>
                                          <p:spTgt spid="15">
                                            <p:txEl>
                                              <p:pRg st="0" end="0"/>
                                            </p:txEl>
                                          </p:spTgt>
                                        </p:tgtEl>
                                      </p:cBhvr>
                                    </p:animEffect>
                                    <p:anim calcmode="lin" valueType="num">
                                      <p:cBhvr>
                                        <p:cTn id="45" dur="500" fill="hold"/>
                                        <p:tgtEl>
                                          <p:spTgt spid="15">
                                            <p:txEl>
                                              <p:pRg st="0" end="0"/>
                                            </p:txEl>
                                          </p:spTgt>
                                        </p:tgtEl>
                                        <p:attrNameLst>
                                          <p:attrName>ppt_x</p:attrName>
                                        </p:attrNameLst>
                                      </p:cBhvr>
                                      <p:tavLst>
                                        <p:tav tm="0">
                                          <p:val>
                                            <p:fltVal val="0.5"/>
                                          </p:val>
                                        </p:tav>
                                        <p:tav tm="100000">
                                          <p:val>
                                            <p:strVal val="#ppt_x"/>
                                          </p:val>
                                        </p:tav>
                                      </p:tavLst>
                                    </p:anim>
                                    <p:anim calcmode="lin" valueType="num">
                                      <p:cBhvr>
                                        <p:cTn id="46" dur="500" fill="hold"/>
                                        <p:tgtEl>
                                          <p:spTgt spid="15">
                                            <p:txEl>
                                              <p:pRg st="0" end="0"/>
                                            </p:txEl>
                                          </p:spTgt>
                                        </p:tgtEl>
                                        <p:attrNameLst>
                                          <p:attrName>ppt_y</p:attrName>
                                        </p:attrNameLst>
                                      </p:cBhvr>
                                      <p:tavLst>
                                        <p:tav tm="0">
                                          <p:val>
                                            <p:fltVal val="0.5"/>
                                          </p:val>
                                        </p:tav>
                                        <p:tav tm="100000">
                                          <p:val>
                                            <p:strVal val="#ppt_y"/>
                                          </p:val>
                                        </p:tav>
                                      </p:tavLst>
                                    </p:anim>
                                  </p:childTnLst>
                                </p:cTn>
                              </p:par>
                              <p:par>
                                <p:cTn id="47" presetID="53" presetClass="entr" presetSubtype="528"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p:cTn id="49" dur="500" fill="hold"/>
                                        <p:tgtEl>
                                          <p:spTgt spid="17"/>
                                        </p:tgtEl>
                                        <p:attrNameLst>
                                          <p:attrName>ppt_w</p:attrName>
                                        </p:attrNameLst>
                                      </p:cBhvr>
                                      <p:tavLst>
                                        <p:tav tm="0">
                                          <p:val>
                                            <p:fltVal val="0"/>
                                          </p:val>
                                        </p:tav>
                                        <p:tav tm="100000">
                                          <p:val>
                                            <p:strVal val="#ppt_w"/>
                                          </p:val>
                                        </p:tav>
                                      </p:tavLst>
                                    </p:anim>
                                    <p:anim calcmode="lin" valueType="num">
                                      <p:cBhvr>
                                        <p:cTn id="50" dur="500" fill="hold"/>
                                        <p:tgtEl>
                                          <p:spTgt spid="17"/>
                                        </p:tgtEl>
                                        <p:attrNameLst>
                                          <p:attrName>ppt_h</p:attrName>
                                        </p:attrNameLst>
                                      </p:cBhvr>
                                      <p:tavLst>
                                        <p:tav tm="0">
                                          <p:val>
                                            <p:fltVal val="0"/>
                                          </p:val>
                                        </p:tav>
                                        <p:tav tm="100000">
                                          <p:val>
                                            <p:strVal val="#ppt_h"/>
                                          </p:val>
                                        </p:tav>
                                      </p:tavLst>
                                    </p:anim>
                                    <p:animEffect transition="in" filter="fade">
                                      <p:cBhvr>
                                        <p:cTn id="51" dur="500"/>
                                        <p:tgtEl>
                                          <p:spTgt spid="17"/>
                                        </p:tgtEl>
                                      </p:cBhvr>
                                    </p:animEffect>
                                    <p:anim calcmode="lin" valueType="num">
                                      <p:cBhvr>
                                        <p:cTn id="52" dur="500" fill="hold"/>
                                        <p:tgtEl>
                                          <p:spTgt spid="17"/>
                                        </p:tgtEl>
                                        <p:attrNameLst>
                                          <p:attrName>ppt_x</p:attrName>
                                        </p:attrNameLst>
                                      </p:cBhvr>
                                      <p:tavLst>
                                        <p:tav tm="0">
                                          <p:val>
                                            <p:fltVal val="0.5"/>
                                          </p:val>
                                        </p:tav>
                                        <p:tav tm="100000">
                                          <p:val>
                                            <p:strVal val="#ppt_x"/>
                                          </p:val>
                                        </p:tav>
                                      </p:tavLst>
                                    </p:anim>
                                    <p:anim calcmode="lin" valueType="num">
                                      <p:cBhvr>
                                        <p:cTn id="53" dur="500" fill="hold"/>
                                        <p:tgtEl>
                                          <p:spTgt spid="1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animBg="1">
        <p:tmplLst>
          <p:tmpl>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3"/>
                        </p:tgtEl>
                        <p:attrNameLst>
                          <p:attrName>style.visibility</p:attrName>
                        </p:attrNameLst>
                      </p:cBhvr>
                      <p:to>
                        <p:strVal val="visible"/>
                      </p:to>
                    </p:set>
                    <p:anim calcmode="lin" valueType="num">
                      <p:cBhvr>
                        <p:cTn dur="500" fill="hold"/>
                        <p:tgtEl>
                          <p:spTgt spid="13"/>
                        </p:tgtEl>
                        <p:attrNameLst>
                          <p:attrName>ppt_w</p:attrName>
                        </p:attrNameLst>
                      </p:cBhvr>
                      <p:tavLst>
                        <p:tav tm="0">
                          <p:val>
                            <p:fltVal val="0"/>
                          </p:val>
                        </p:tav>
                        <p:tav tm="100000">
                          <p:val>
                            <p:strVal val="#ppt_w"/>
                          </p:val>
                        </p:tav>
                      </p:tavLst>
                    </p:anim>
                    <p:anim calcmode="lin" valueType="num">
                      <p:cBhvr>
                        <p:cTn dur="500" fill="hold"/>
                        <p:tgtEl>
                          <p:spTgt spid="13"/>
                        </p:tgtEl>
                        <p:attrNameLst>
                          <p:attrName>ppt_h</p:attrName>
                        </p:attrNameLst>
                      </p:cBhvr>
                      <p:tavLst>
                        <p:tav tm="0">
                          <p:val>
                            <p:fltVal val="0"/>
                          </p:val>
                        </p:tav>
                        <p:tav tm="100000">
                          <p:val>
                            <p:strVal val="#ppt_h"/>
                          </p:val>
                        </p:tav>
                      </p:tavLst>
                    </p:anim>
                    <p:animEffect transition="in" filter="fade">
                      <p:cBhvr>
                        <p:cTn dur="500"/>
                        <p:tgtEl>
                          <p:spTgt spid="13"/>
                        </p:tgtEl>
                      </p:cBhvr>
                    </p:animEffect>
                    <p:anim calcmode="lin" valueType="num">
                      <p:cBhvr>
                        <p:cTn dur="500" fill="hold"/>
                        <p:tgtEl>
                          <p:spTgt spid="13"/>
                        </p:tgtEl>
                        <p:attrNameLst>
                          <p:attrName>ppt_x</p:attrName>
                        </p:attrNameLst>
                      </p:cBhvr>
                      <p:tavLst>
                        <p:tav tm="0">
                          <p:val>
                            <p:fltVal val="0.5"/>
                          </p:val>
                        </p:tav>
                        <p:tav tm="100000">
                          <p:val>
                            <p:strVal val="#ppt_x"/>
                          </p:val>
                        </p:tav>
                      </p:tavLst>
                    </p:anim>
                    <p:anim calcmode="lin" valueType="num">
                      <p:cBhvr>
                        <p:cTn dur="500" fill="hold"/>
                        <p:tgtEl>
                          <p:spTgt spid="13"/>
                        </p:tgtEl>
                        <p:attrNameLst>
                          <p:attrName>ppt_y</p:attrName>
                        </p:attrNameLst>
                      </p:cBhvr>
                      <p:tavLst>
                        <p:tav tm="0">
                          <p:val>
                            <p:fltVal val="0.5"/>
                          </p:val>
                        </p:tav>
                        <p:tav tm="100000">
                          <p:val>
                            <p:strVal val="#ppt_y"/>
                          </p:val>
                        </p:tav>
                      </p:tavLst>
                    </p:anim>
                  </p:childTnLst>
                </p:cTn>
              </p:par>
            </p:tnLst>
          </p:tmpl>
        </p:tmplLst>
      </p:bldP>
      <p:bldP spid="14" grpId="0" build="p" animBg="1">
        <p:tmplLst>
          <p:tmpl>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4"/>
                        </p:tgtEl>
                        <p:attrNameLst>
                          <p:attrName>style.visibility</p:attrName>
                        </p:attrNameLst>
                      </p:cBhvr>
                      <p:to>
                        <p:strVal val="visible"/>
                      </p:to>
                    </p:set>
                    <p:anim calcmode="lin" valueType="num">
                      <p:cBhvr>
                        <p:cTn dur="500" fill="hold"/>
                        <p:tgtEl>
                          <p:spTgt spid="14"/>
                        </p:tgtEl>
                        <p:attrNameLst>
                          <p:attrName>ppt_w</p:attrName>
                        </p:attrNameLst>
                      </p:cBhvr>
                      <p:tavLst>
                        <p:tav tm="0">
                          <p:val>
                            <p:fltVal val="0"/>
                          </p:val>
                        </p:tav>
                        <p:tav tm="100000">
                          <p:val>
                            <p:strVal val="#ppt_w"/>
                          </p:val>
                        </p:tav>
                      </p:tavLst>
                    </p:anim>
                    <p:anim calcmode="lin" valueType="num">
                      <p:cBhvr>
                        <p:cTn dur="500" fill="hold"/>
                        <p:tgtEl>
                          <p:spTgt spid="14"/>
                        </p:tgtEl>
                        <p:attrNameLst>
                          <p:attrName>ppt_h</p:attrName>
                        </p:attrNameLst>
                      </p:cBhvr>
                      <p:tavLst>
                        <p:tav tm="0">
                          <p:val>
                            <p:fltVal val="0"/>
                          </p:val>
                        </p:tav>
                        <p:tav tm="100000">
                          <p:val>
                            <p:strVal val="#ppt_h"/>
                          </p:val>
                        </p:tav>
                      </p:tavLst>
                    </p:anim>
                    <p:animEffect transition="in" filter="fade">
                      <p:cBhvr>
                        <p:cTn dur="500"/>
                        <p:tgtEl>
                          <p:spTgt spid="14"/>
                        </p:tgtEl>
                      </p:cBhvr>
                    </p:animEffect>
                    <p:anim calcmode="lin" valueType="num">
                      <p:cBhvr>
                        <p:cTn dur="500" fill="hold"/>
                        <p:tgtEl>
                          <p:spTgt spid="14"/>
                        </p:tgtEl>
                        <p:attrNameLst>
                          <p:attrName>ppt_x</p:attrName>
                        </p:attrNameLst>
                      </p:cBhvr>
                      <p:tavLst>
                        <p:tav tm="0">
                          <p:val>
                            <p:fltVal val="0.5"/>
                          </p:val>
                        </p:tav>
                        <p:tav tm="100000">
                          <p:val>
                            <p:strVal val="#ppt_x"/>
                          </p:val>
                        </p:tav>
                      </p:tavLst>
                    </p:anim>
                    <p:anim calcmode="lin" valueType="num">
                      <p:cBhvr>
                        <p:cTn dur="500" fill="hold"/>
                        <p:tgtEl>
                          <p:spTgt spid="14"/>
                        </p:tgtEl>
                        <p:attrNameLst>
                          <p:attrName>ppt_y</p:attrName>
                        </p:attrNameLst>
                      </p:cBhvr>
                      <p:tavLst>
                        <p:tav tm="0">
                          <p:val>
                            <p:fltVal val="0.5"/>
                          </p:val>
                        </p:tav>
                        <p:tav tm="100000">
                          <p:val>
                            <p:strVal val="#ppt_y"/>
                          </p:val>
                        </p:tav>
                      </p:tavLst>
                    </p:anim>
                  </p:childTnLst>
                </p:cTn>
              </p:par>
            </p:tnLst>
          </p:tmpl>
        </p:tmplLst>
      </p:bldP>
      <p:bldP spid="15" grpId="0" build="p" animBg="1">
        <p:tmplLst>
          <p:tmpl>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 lvl="1">
            <p:tnLst>
              <p:par>
                <p:cTn presetID="53" presetClass="entr" presetSubtype="528" fill="hold" nodeType="withEffect">
                  <p:stCondLst>
                    <p:cond delay="0"/>
                  </p:stCondLst>
                  <p:childTnLst>
                    <p:set>
                      <p:cBhvr>
                        <p:cTn dur="1" fill="hold">
                          <p:stCondLst>
                            <p:cond delay="0"/>
                          </p:stCondLst>
                        </p:cTn>
                        <p:tgtEl>
                          <p:spTgt spid="15"/>
                        </p:tgtEl>
                        <p:attrNameLst>
                          <p:attrName>style.visibility</p:attrName>
                        </p:attrNameLst>
                      </p:cBhvr>
                      <p:to>
                        <p:strVal val="visible"/>
                      </p:to>
                    </p:set>
                    <p:anim calcmode="lin" valueType="num">
                      <p:cBhvr>
                        <p:cTn dur="500" fill="hold"/>
                        <p:tgtEl>
                          <p:spTgt spid="15"/>
                        </p:tgtEl>
                        <p:attrNameLst>
                          <p:attrName>ppt_w</p:attrName>
                        </p:attrNameLst>
                      </p:cBhvr>
                      <p:tavLst>
                        <p:tav tm="0">
                          <p:val>
                            <p:fltVal val="0"/>
                          </p:val>
                        </p:tav>
                        <p:tav tm="100000">
                          <p:val>
                            <p:strVal val="#ppt_w"/>
                          </p:val>
                        </p:tav>
                      </p:tavLst>
                    </p:anim>
                    <p:anim calcmode="lin" valueType="num">
                      <p:cBhvr>
                        <p:cTn dur="500" fill="hold"/>
                        <p:tgtEl>
                          <p:spTgt spid="15"/>
                        </p:tgtEl>
                        <p:attrNameLst>
                          <p:attrName>ppt_h</p:attrName>
                        </p:attrNameLst>
                      </p:cBhvr>
                      <p:tavLst>
                        <p:tav tm="0">
                          <p:val>
                            <p:fltVal val="0"/>
                          </p:val>
                        </p:tav>
                        <p:tav tm="100000">
                          <p:val>
                            <p:strVal val="#ppt_h"/>
                          </p:val>
                        </p:tav>
                      </p:tavLst>
                    </p:anim>
                    <p:animEffect transition="in" filter="fade">
                      <p:cBhvr>
                        <p:cTn dur="500"/>
                        <p:tgtEl>
                          <p:spTgt spid="15"/>
                        </p:tgtEl>
                      </p:cBhvr>
                    </p:animEffect>
                    <p:anim calcmode="lin" valueType="num">
                      <p:cBhvr>
                        <p:cTn dur="500" fill="hold"/>
                        <p:tgtEl>
                          <p:spTgt spid="15"/>
                        </p:tgtEl>
                        <p:attrNameLst>
                          <p:attrName>ppt_x</p:attrName>
                        </p:attrNameLst>
                      </p:cBhvr>
                      <p:tavLst>
                        <p:tav tm="0">
                          <p:val>
                            <p:fltVal val="0.5"/>
                          </p:val>
                        </p:tav>
                        <p:tav tm="100000">
                          <p:val>
                            <p:strVal val="#ppt_x"/>
                          </p:val>
                        </p:tav>
                      </p:tavLst>
                    </p:anim>
                    <p:anim calcmode="lin" valueType="num">
                      <p:cBhvr>
                        <p:cTn dur="500" fill="hold"/>
                        <p:tgtEl>
                          <p:spTgt spid="15"/>
                        </p:tgtEl>
                        <p:attrNameLst>
                          <p:attrName>ppt_y</p:attrName>
                        </p:attrNameLst>
                      </p:cBhvr>
                      <p:tavLst>
                        <p:tav tm="0">
                          <p:val>
                            <p:fltVal val="0.5"/>
                          </p:val>
                        </p:tav>
                        <p:tav tm="100000">
                          <p:val>
                            <p:strVal val="#ppt_y"/>
                          </p:val>
                        </p:tav>
                      </p:tavLst>
                    </p:anim>
                  </p:childTnLst>
                </p:cTn>
              </p:par>
            </p:tnLst>
          </p:tmpl>
        </p:tmplLst>
      </p:bldP>
      <p:bldP spid="17" grpId="0" animBg="1"/>
    </p:bldLst>
  </p:timing>
  <p:extLst mod="1">
    <p:ext uri="{DCECCB84-F9BA-43D5-87BE-67443E8EF086}">
      <p15:sldGuideLst xmlns:p15="http://schemas.microsoft.com/office/powerpoint/2012/main">
        <p15:guide id="1" orient="horz" pos="302">
          <p15:clr>
            <a:srgbClr val="C35EA4"/>
          </p15:clr>
        </p15:guide>
        <p15:guide id="2" orient="horz" pos="4104">
          <p15:clr>
            <a:srgbClr val="C35EA4"/>
          </p15:clr>
        </p15:guide>
        <p15:guide id="3" pos="288">
          <p15:clr>
            <a:srgbClr val="C35EA4"/>
          </p15:clr>
        </p15:guide>
        <p15:guide id="4" pos="7546">
          <p15:clr>
            <a:srgbClr val="C35EA4"/>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39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1250">
                      <a:schemeClr val="tx1"/>
                    </a:gs>
                    <a:gs pos="100000">
                      <a:schemeClr val="tx1"/>
                    </a:gs>
                  </a:gsLst>
                  <a:lin ang="5400000" scaled="0"/>
                </a:gradFill>
                <a:latin typeface="+mn-lt"/>
              </a:defRPr>
            </a:lvl1pPr>
            <a:lvl2pPr>
              <a:defRPr sz="1599"/>
            </a:lvl2pPr>
            <a:lvl3pPr>
              <a:defRPr sz="1599"/>
            </a:lvl3pPr>
            <a:lvl4pPr>
              <a:defRPr sz="1599"/>
            </a:lvl4pPr>
            <a:lvl5pPr marL="1028503" indent="0">
              <a:buNone/>
              <a:defRPr sz="1599"/>
            </a:lvl5pPr>
          </a:lstStyle>
          <a:p>
            <a:pPr lvl="0"/>
            <a:r>
              <a:rPr lang="en-US"/>
              <a:t>Click to edit Master text styles</a:t>
            </a:r>
          </a:p>
        </p:txBody>
      </p:sp>
    </p:spTree>
    <p:extLst>
      <p:ext uri="{BB962C8B-B14F-4D97-AF65-F5344CB8AC3E}">
        <p14:creationId xmlns:p14="http://schemas.microsoft.com/office/powerpoint/2010/main" val="3653606901"/>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and Content Blue">
    <p:bg bwMode="lt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4"/>
            <a:ext cx="5486400" cy="406265"/>
          </a:xfrm>
        </p:spPr>
        <p:txBody>
          <a:bodyPr/>
          <a:lstStyle>
            <a:lvl1pPr marL="0" indent="0">
              <a:buNone/>
              <a:defRPr sz="1599">
                <a:gradFill>
                  <a:gsLst>
                    <a:gs pos="92035">
                      <a:schemeClr val="tx1"/>
                    </a:gs>
                    <a:gs pos="84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843137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and Content Purple">
    <p:bg bwMode="lt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7"/>
            <a:ext cx="11887518" cy="3200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3954463"/>
            <a:ext cx="5486400" cy="409841"/>
          </a:xfrm>
        </p:spPr>
        <p:txBody>
          <a:bodyPr/>
          <a:lstStyle>
            <a:lvl1pPr marL="0" indent="0">
              <a:buNone/>
              <a:defRPr sz="1599">
                <a:gradFill>
                  <a:gsLst>
                    <a:gs pos="94690">
                      <a:schemeClr val="tx1"/>
                    </a:gs>
                    <a:gs pos="86000">
                      <a:schemeClr val="tx1"/>
                    </a:gs>
                  </a:gsLst>
                  <a:lin ang="5400000" scaled="0"/>
                </a:gradFill>
                <a:latin typeface="+mn-lt"/>
              </a:defRPr>
            </a:lvl1pPr>
            <a:lvl2pPr>
              <a:defRPr sz="1599">
                <a:gradFill>
                  <a:gsLst>
                    <a:gs pos="94030">
                      <a:srgbClr val="FFFFFF"/>
                    </a:gs>
                    <a:gs pos="68000">
                      <a:srgbClr val="FFFFFF"/>
                    </a:gs>
                  </a:gsLst>
                  <a:lin ang="5400000" scaled="0"/>
                </a:gradFill>
              </a:defRPr>
            </a:lvl2pPr>
            <a:lvl3pPr>
              <a:defRPr sz="1599">
                <a:gradFill>
                  <a:gsLst>
                    <a:gs pos="94030">
                      <a:srgbClr val="FFFFFF"/>
                    </a:gs>
                    <a:gs pos="68000">
                      <a:srgbClr val="FFFFFF"/>
                    </a:gs>
                  </a:gsLst>
                  <a:lin ang="5400000" scaled="0"/>
                </a:gradFill>
              </a:defRPr>
            </a:lvl3pPr>
            <a:lvl4pPr>
              <a:defRPr sz="1599">
                <a:gradFill>
                  <a:gsLst>
                    <a:gs pos="94030">
                      <a:srgbClr val="FFFFFF"/>
                    </a:gs>
                    <a:gs pos="68000">
                      <a:srgbClr val="FFFFFF"/>
                    </a:gs>
                  </a:gsLst>
                  <a:lin ang="5400000" scaled="0"/>
                </a:gradFill>
              </a:defRPr>
            </a:lvl4pPr>
            <a:lvl5pPr>
              <a:defRPr sz="1599">
                <a:gradFill>
                  <a:gsLst>
                    <a:gs pos="94030">
                      <a:srgbClr val="FFFFFF"/>
                    </a:gs>
                    <a:gs pos="68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20885058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56637">
                      <a:schemeClr val="tx1"/>
                    </a:gs>
                    <a:gs pos="33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564487158"/>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2 Gray">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99115">
                      <a:schemeClr val="tx1"/>
                    </a:gs>
                    <a:gs pos="87611">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14159">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37015373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2 Orang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9"/>
            <a:ext cx="11887518" cy="1828766"/>
          </a:xfrm>
        </p:spPr>
        <p:txBody>
          <a:bodyPr/>
          <a:lstStyle>
            <a:lvl1pPr>
              <a:defRPr sz="5799">
                <a:gradFill>
                  <a:gsLst>
                    <a:gs pos="85821">
                      <a:schemeClr val="tx1"/>
                    </a:gs>
                    <a:gs pos="61194">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9" y="2597163"/>
            <a:ext cx="7315200" cy="517064"/>
          </a:xfrm>
        </p:spPr>
        <p:txBody>
          <a:bodyPr/>
          <a:lstStyle>
            <a:lvl1pPr marL="0" indent="0">
              <a:buNone/>
              <a:defRPr sz="2400">
                <a:gradFill>
                  <a:gsLst>
                    <a:gs pos="54867">
                      <a:schemeClr val="tx1"/>
                    </a:gs>
                    <a:gs pos="31000">
                      <a:schemeClr val="tx1"/>
                    </a:gs>
                  </a:gsLst>
                  <a:lin ang="5400000" scaled="0"/>
                </a:gradFill>
                <a:latin typeface="+mn-lt"/>
              </a:defRPr>
            </a:lvl1pPr>
            <a:lvl2pPr>
              <a:defRPr sz="2400">
                <a:gradFill>
                  <a:gsLst>
                    <a:gs pos="5224">
                      <a:srgbClr val="FFFFFF"/>
                    </a:gs>
                    <a:gs pos="31000">
                      <a:srgbClr val="FFFFFF"/>
                    </a:gs>
                  </a:gsLst>
                  <a:lin ang="5400000" scaled="0"/>
                </a:gradFill>
              </a:defRPr>
            </a:lvl2pPr>
            <a:lvl3pPr>
              <a:defRPr sz="2400">
                <a:gradFill>
                  <a:gsLst>
                    <a:gs pos="5224">
                      <a:srgbClr val="FFFFFF"/>
                    </a:gs>
                    <a:gs pos="31000">
                      <a:srgbClr val="FFFFFF"/>
                    </a:gs>
                  </a:gsLst>
                  <a:lin ang="5400000" scaled="0"/>
                </a:gradFill>
              </a:defRPr>
            </a:lvl3pPr>
            <a:lvl4pPr>
              <a:defRPr sz="2400">
                <a:gradFill>
                  <a:gsLst>
                    <a:gs pos="5224">
                      <a:srgbClr val="FFFFFF"/>
                    </a:gs>
                    <a:gs pos="31000">
                      <a:srgbClr val="FFFFFF"/>
                    </a:gs>
                  </a:gsLst>
                  <a:lin ang="5400000" scaled="0"/>
                </a:gradFill>
              </a:defRPr>
            </a:lvl4pPr>
            <a:lvl5pPr>
              <a:defRPr sz="2400">
                <a:gradFill>
                  <a:gsLst>
                    <a:gs pos="5224">
                      <a:srgbClr val="FFFFFF"/>
                    </a:gs>
                    <a:gs pos="31000">
                      <a:srgbClr val="FFFFFF"/>
                    </a:gs>
                  </a:gsLst>
                  <a:lin ang="5400000" scaled="0"/>
                </a:gradFill>
              </a:defRPr>
            </a:lvl5pPr>
          </a:lstStyle>
          <a:p>
            <a:pPr lvl="0"/>
            <a:r>
              <a:rPr lang="en-US"/>
              <a:t>Click to edit Master text styles</a:t>
            </a:r>
          </a:p>
        </p:txBody>
      </p:sp>
    </p:spTree>
    <p:extLst>
      <p:ext uri="{BB962C8B-B14F-4D97-AF65-F5344CB8AC3E}">
        <p14:creationId xmlns:p14="http://schemas.microsoft.com/office/powerpoint/2010/main" val="42434057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Content Bulleted Tex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5799">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74638" y="1697063"/>
            <a:ext cx="10972800" cy="1902453"/>
          </a:xfrm>
        </p:spPr>
        <p:txBody>
          <a:bodyPr/>
          <a:lstStyle>
            <a:lvl1pPr>
              <a:defRPr sz="2600">
                <a:gradFill>
                  <a:gsLst>
                    <a:gs pos="1250">
                      <a:schemeClr val="tx1"/>
                    </a:gs>
                    <a:gs pos="100000">
                      <a:schemeClr val="tx1"/>
                    </a:gs>
                  </a:gsLst>
                  <a:lin ang="5400000" scaled="0"/>
                </a:gradFill>
                <a:latin typeface="+mn-lt"/>
              </a:defRPr>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7149594"/>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amp; Content Only">
    <p:bg bwMode="gray">
      <p:bgPr>
        <a:solidFill>
          <a:schemeClr val="bg1"/>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1" y="0"/>
            <a:ext cx="6002338" cy="742187"/>
          </a:xfrm>
        </p:spPr>
        <p:txBody>
          <a:bodyPr/>
          <a:lstStyle>
            <a:lvl1pPr marL="0" indent="0">
              <a:buNone/>
              <a:defRPr/>
            </a:lvl1pPr>
          </a:lstStyle>
          <a:p>
            <a:r>
              <a:rPr lang="en-US"/>
              <a:t>Click icon to add picture</a:t>
            </a:r>
          </a:p>
        </p:txBody>
      </p:sp>
      <p:sp>
        <p:nvSpPr>
          <p:cNvPr id="6" name="Content Placeholder 5"/>
          <p:cNvSpPr>
            <a:spLocks noGrp="1"/>
          </p:cNvSpPr>
          <p:nvPr>
            <p:ph sz="quarter" idx="10"/>
          </p:nvPr>
        </p:nvSpPr>
        <p:spPr>
          <a:xfrm>
            <a:off x="5761038" y="1211264"/>
            <a:ext cx="6400800" cy="600163"/>
          </a:xfrm>
        </p:spPr>
        <p:txBody>
          <a:bodyPr/>
          <a:lstStyle>
            <a:lvl1pPr marL="0" indent="0">
              <a:buNone/>
              <a:defRPr sz="3000"/>
            </a:lvl1pPr>
          </a:lstStyle>
          <a:p>
            <a:pPr lvl="0"/>
            <a:r>
              <a:rPr lang="en-US"/>
              <a:t>Click to edit Master text styles</a:t>
            </a:r>
          </a:p>
        </p:txBody>
      </p:sp>
    </p:spTree>
    <p:extLst>
      <p:ext uri="{BB962C8B-B14F-4D97-AF65-F5344CB8AC3E}">
        <p14:creationId xmlns:p14="http://schemas.microsoft.com/office/powerpoint/2010/main" val="1359163100"/>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Tree>
    <p:extLst>
      <p:ext uri="{BB962C8B-B14F-4D97-AF65-F5344CB8AC3E}">
        <p14:creationId xmlns:p14="http://schemas.microsoft.com/office/powerpoint/2010/main" val="614794884"/>
      </p:ext>
    </p:extLst>
  </p:cSld>
  <p:clrMapOvr>
    <a:masterClrMapping/>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3908817311"/>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mall Title &amp; Content">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4" name="Content Placeholder 3"/>
          <p:cNvSpPr>
            <a:spLocks noGrp="1"/>
          </p:cNvSpPr>
          <p:nvPr>
            <p:ph sz="quarter" idx="10"/>
          </p:nvPr>
        </p:nvSpPr>
        <p:spPr>
          <a:xfrm>
            <a:off x="274638" y="1697038"/>
            <a:ext cx="9144000" cy="683264"/>
          </a:xfrm>
        </p:spPr>
        <p:txBody>
          <a:bodyPr/>
          <a:lstStyle>
            <a:lvl1pPr marL="0" indent="0">
              <a:buNone/>
              <a:defRPr sz="3599"/>
            </a:lvl1pPr>
            <a:lvl2pPr>
              <a:defRPr sz="3599"/>
            </a:lvl2pPr>
            <a:lvl3pPr>
              <a:defRPr sz="3599"/>
            </a:lvl3pPr>
            <a:lvl4pPr>
              <a:defRPr sz="3599"/>
            </a:lvl4pPr>
            <a:lvl5pPr>
              <a:defRPr sz="3599"/>
            </a:lvl5pPr>
          </a:lstStyle>
          <a:p>
            <a:pPr lvl="0"/>
            <a:r>
              <a:rPr lang="en-US"/>
              <a:t>Click to edit Master text styles</a:t>
            </a:r>
          </a:p>
        </p:txBody>
      </p:sp>
    </p:spTree>
    <p:extLst>
      <p:ext uri="{BB962C8B-B14F-4D97-AF65-F5344CB8AC3E}">
        <p14:creationId xmlns:p14="http://schemas.microsoft.com/office/powerpoint/2010/main" val="491281992"/>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63"/>
            <a:ext cx="3657600" cy="433966"/>
          </a:xfrm>
        </p:spPr>
        <p:txBody>
          <a:bodyPr/>
          <a:lstStyle>
            <a:lvl1pPr marL="0" indent="0">
              <a:buNone/>
              <a:defRPr sz="1800">
                <a:latin typeface="+mn-lt"/>
              </a:defRPr>
            </a:lvl1pPr>
            <a:lvl2pPr>
              <a:defRPr sz="1800"/>
            </a:lvl2pPr>
            <a:lvl3pPr>
              <a:defRPr sz="18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1997278804"/>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mp; photo">
    <p:bg bwMode="ltGray">
      <p:bgRef idx="1001">
        <a:schemeClr val="bg1"/>
      </p:bgRef>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2436475" cy="742187"/>
          </a:xfrm>
        </p:spPr>
        <p:txBody>
          <a:bodyPr/>
          <a:lstStyle/>
          <a:p>
            <a:r>
              <a:rPr lang="en-US"/>
              <a:t>Click icon to add picture</a:t>
            </a:r>
          </a:p>
        </p:txBody>
      </p:sp>
      <p:sp>
        <p:nvSpPr>
          <p:cNvPr id="2" name="Title 1"/>
          <p:cNvSpPr>
            <a:spLocks noGrp="1"/>
          </p:cNvSpPr>
          <p:nvPr>
            <p:ph type="title"/>
          </p:nvPr>
        </p:nvSpPr>
        <p:spPr/>
        <p:txBody>
          <a:bodyPr/>
          <a:lstStyle>
            <a:lvl1pPr>
              <a:defRPr sz="4799">
                <a:gradFill>
                  <a:gsLst>
                    <a:gs pos="69027">
                      <a:schemeClr val="tx1"/>
                    </a:gs>
                    <a:gs pos="22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92335233"/>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amp; 4 Categories">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98"/>
            <a:ext cx="11889564" cy="752093"/>
          </a:xfrm>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9" y="3040064"/>
            <a:ext cx="11887200" cy="517064"/>
          </a:xfrm>
        </p:spPr>
        <p:txBody>
          <a:bodyPr/>
          <a:lstStyle>
            <a:lvl1pPr marL="0" indent="0">
              <a:buNone/>
              <a:defRPr sz="2400"/>
            </a:lvl1pPr>
          </a:lstStyle>
          <a:p>
            <a:pPr lvl="0"/>
            <a:r>
              <a:rPr lang="en-US"/>
              <a:t>Click to edit Master text styles</a:t>
            </a:r>
          </a:p>
        </p:txBody>
      </p:sp>
      <p:sp>
        <p:nvSpPr>
          <p:cNvPr id="6" name="Content Placeholder 5"/>
          <p:cNvSpPr>
            <a:spLocks noGrp="1"/>
          </p:cNvSpPr>
          <p:nvPr>
            <p:ph sz="quarter" idx="11"/>
          </p:nvPr>
        </p:nvSpPr>
        <p:spPr>
          <a:xfrm>
            <a:off x="274638"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7" name="Content Placeholder 5"/>
          <p:cNvSpPr>
            <a:spLocks noGrp="1"/>
          </p:cNvSpPr>
          <p:nvPr>
            <p:ph sz="quarter" idx="12"/>
          </p:nvPr>
        </p:nvSpPr>
        <p:spPr>
          <a:xfrm>
            <a:off x="3321740"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8" name="Content Placeholder 5"/>
          <p:cNvSpPr>
            <a:spLocks noGrp="1"/>
          </p:cNvSpPr>
          <p:nvPr>
            <p:ph sz="quarter" idx="13"/>
          </p:nvPr>
        </p:nvSpPr>
        <p:spPr>
          <a:xfrm>
            <a:off x="6368842"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
        <p:nvSpPr>
          <p:cNvPr id="9" name="Content Placeholder 5"/>
          <p:cNvSpPr>
            <a:spLocks noGrp="1"/>
          </p:cNvSpPr>
          <p:nvPr>
            <p:ph sz="quarter" idx="14"/>
          </p:nvPr>
        </p:nvSpPr>
        <p:spPr>
          <a:xfrm>
            <a:off x="9415946" y="3954463"/>
            <a:ext cx="2743200" cy="2743200"/>
          </a:xfrm>
          <a:solidFill>
            <a:schemeClr val="accent1"/>
          </a:solidFill>
        </p:spPr>
        <p:txBody>
          <a:bodyPr lIns="182880" tIns="146304" rIns="182880" bIns="146304">
            <a:noAutofit/>
          </a:bodyPr>
          <a:lstStyle>
            <a:lvl1pPr marL="0" indent="0">
              <a:buNone/>
              <a:defRPr sz="2400">
                <a:gradFill>
                  <a:gsLst>
                    <a:gs pos="2655">
                      <a:schemeClr val="bg1"/>
                    </a:gs>
                    <a:gs pos="29000">
                      <a:schemeClr val="bg1"/>
                    </a:gs>
                  </a:gsLst>
                  <a:lin ang="5400000" scaled="0"/>
                </a:gradFill>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1567281624"/>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mp; Dark Content Box">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99"/>
            </a:lvl1pPr>
          </a:lstStyle>
          <a:p>
            <a:r>
              <a:rPr lang="en-US"/>
              <a:t>Click to edit Master title style</a:t>
            </a:r>
          </a:p>
        </p:txBody>
      </p:sp>
      <p:sp>
        <p:nvSpPr>
          <p:cNvPr id="4" name="Content Placeholder 3"/>
          <p:cNvSpPr>
            <a:spLocks noGrp="1"/>
          </p:cNvSpPr>
          <p:nvPr>
            <p:ph sz="quarter" idx="10"/>
          </p:nvPr>
        </p:nvSpPr>
        <p:spPr>
          <a:xfrm>
            <a:off x="274638" y="1697037"/>
            <a:ext cx="5486400" cy="5000626"/>
          </a:xfrm>
          <a:solidFill>
            <a:schemeClr val="accent1">
              <a:alpha val="90000"/>
            </a:schemeClr>
          </a:solidFill>
        </p:spPr>
        <p:txBody>
          <a:bodyPr lIns="182880" tIns="146304" rIns="182880" bIns="146304">
            <a:noAutofit/>
          </a:bodyPr>
          <a:lstStyle>
            <a:lvl1pPr marL="0" indent="0">
              <a:buNone/>
              <a:defRPr sz="2400">
                <a:gradFill>
                  <a:gsLst>
                    <a:gs pos="10619">
                      <a:schemeClr val="bg1"/>
                    </a:gs>
                    <a:gs pos="33000">
                      <a:schemeClr val="bg1"/>
                    </a:gs>
                  </a:gsLst>
                  <a:lin ang="5400000" scaled="0"/>
                </a:gradFill>
              </a:defRPr>
            </a:lvl1pPr>
            <a:lvl2pPr>
              <a:defRPr sz="2000"/>
            </a:lvl2pPr>
            <a:lvl3pPr>
              <a:defRPr sz="2000"/>
            </a:lvl3pPr>
            <a:lvl4pPr>
              <a:defRPr sz="1800"/>
            </a:lvl4pPr>
            <a:lvl5pPr>
              <a:defRPr sz="1800"/>
            </a:lvl5pPr>
          </a:lstStyle>
          <a:p>
            <a:pPr lvl="0"/>
            <a:r>
              <a:rPr lang="en-US"/>
              <a:t>Click to edit Master text styles</a:t>
            </a:r>
          </a:p>
        </p:txBody>
      </p:sp>
    </p:spTree>
    <p:extLst>
      <p:ext uri="{BB962C8B-B14F-4D97-AF65-F5344CB8AC3E}">
        <p14:creationId xmlns:p14="http://schemas.microsoft.com/office/powerpoint/2010/main" val="2187210853"/>
      </p:ext>
    </p:extLst>
  </p:cSld>
  <p:clrMapOvr>
    <a:masterClrMapping/>
  </p:clrMapOvr>
  <p:transition>
    <p:fade/>
  </p:transition>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mall 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Tree>
    <p:extLst>
      <p:ext uri="{BB962C8B-B14F-4D97-AF65-F5344CB8AC3E}">
        <p14:creationId xmlns:p14="http://schemas.microsoft.com/office/powerpoint/2010/main" val="1245528945"/>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2982995"/>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Title 1">
    <p:bg bwMode="ltGray">
      <p:bgRef idx="1001">
        <a:schemeClr val="bg1"/>
      </p:bgRef>
    </p:bg>
    <p:spTree>
      <p:nvGrpSpPr>
        <p:cNvPr id="1" name=""/>
        <p:cNvGrpSpPr/>
        <p:nvPr/>
      </p:nvGrpSpPr>
      <p:grpSpPr>
        <a:xfrm>
          <a:off x="0" y="0"/>
          <a:ext cx="0" cy="0"/>
          <a:chOff x="0" y="0"/>
          <a:chExt cx="0" cy="0"/>
        </a:xfrm>
      </p:grpSpPr>
      <p:grpSp>
        <p:nvGrpSpPr>
          <p:cNvPr id="3" name="Group 2"/>
          <p:cNvGrpSpPr/>
          <p:nvPr userDrawn="1"/>
        </p:nvGrpSpPr>
        <p:grpSpPr>
          <a:xfrm>
            <a:off x="278609" y="296864"/>
            <a:ext cx="11887200" cy="6247693"/>
            <a:chOff x="274638" y="297107"/>
            <a:chExt cx="11887200" cy="6247693"/>
          </a:xfrm>
        </p:grpSpPr>
        <p:pic>
          <p:nvPicPr>
            <p:cNvPr id="4" name="Picture 3"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74638" y="298483"/>
              <a:ext cx="3657356" cy="3657356"/>
            </a:xfrm>
            <a:prstGeom prst="rect">
              <a:avLst/>
            </a:prstGeom>
          </p:spPr>
        </p:pic>
        <p:pic>
          <p:nvPicPr>
            <p:cNvPr id="5" name="Picture 4"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589838" y="298727"/>
              <a:ext cx="3657356" cy="3657356"/>
            </a:xfrm>
            <a:prstGeom prst="rect">
              <a:avLst/>
            </a:prstGeom>
          </p:spPr>
        </p:pic>
        <p:pic>
          <p:nvPicPr>
            <p:cNvPr id="6" name="Picture 5" descr="NewGridTile_8x8.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32482" y="298483"/>
              <a:ext cx="3657356" cy="3657356"/>
            </a:xfrm>
            <a:prstGeom prst="rect">
              <a:avLst/>
            </a:prstGeom>
          </p:spPr>
        </p:pic>
        <p:pic>
          <p:nvPicPr>
            <p:cNvPr id="7" name="Picture 6" descr="NewGridTile_8x8.pn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274882" y="3954584"/>
              <a:ext cx="3657356" cy="2583015"/>
            </a:xfrm>
            <a:prstGeom prst="rect">
              <a:avLst/>
            </a:prstGeom>
          </p:spPr>
        </p:pic>
        <p:pic>
          <p:nvPicPr>
            <p:cNvPr id="8" name="Picture 7"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589838" y="3954707"/>
              <a:ext cx="3657356" cy="2590093"/>
            </a:xfrm>
            <a:prstGeom prst="rect">
              <a:avLst/>
            </a:prstGeom>
          </p:spPr>
        </p:pic>
        <p:pic>
          <p:nvPicPr>
            <p:cNvPr id="9" name="Picture 8" descr="NewGridTile_8x8.png"/>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3932482" y="3954463"/>
              <a:ext cx="3657356" cy="2590337"/>
            </a:xfrm>
            <a:prstGeom prst="rect">
              <a:avLst/>
            </a:prstGeom>
          </p:spPr>
        </p:pic>
        <p:pic>
          <p:nvPicPr>
            <p:cNvPr id="10" name="Picture 9" descr="NewGridTile_8x8.png"/>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1247438" y="297107"/>
              <a:ext cx="914400" cy="3657356"/>
            </a:xfrm>
            <a:prstGeom prst="rect">
              <a:avLst/>
            </a:prstGeom>
          </p:spPr>
        </p:pic>
        <p:pic>
          <p:nvPicPr>
            <p:cNvPr id="11" name="Picture 10" descr="NewGridTile_8x8.png"/>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1247438" y="3952515"/>
              <a:ext cx="914400" cy="2590093"/>
            </a:xfrm>
            <a:prstGeom prst="rect">
              <a:avLst/>
            </a:prstGeom>
          </p:spPr>
        </p:pic>
      </p:grpSp>
      <p:sp>
        <p:nvSpPr>
          <p:cNvPr id="2" name="Title 1"/>
          <p:cNvSpPr>
            <a:spLocks noGrp="1"/>
          </p:cNvSpPr>
          <p:nvPr>
            <p:ph type="title"/>
          </p:nvPr>
        </p:nvSpPr>
        <p:spPr>
          <a:xfrm>
            <a:off x="274321" y="2122489"/>
            <a:ext cx="11889564" cy="2746375"/>
          </a:xfrm>
        </p:spPr>
        <p:txBody>
          <a:bodyPr/>
          <a:lstStyle>
            <a:lvl1pPr>
              <a:defRPr sz="87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5317848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Title 3">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1" y="296864"/>
            <a:ext cx="11889564" cy="1828800"/>
          </a:xfrm>
        </p:spPr>
        <p:txBody>
          <a:bodyPr/>
          <a:lstStyle>
            <a:lvl1pPr>
              <a:defRPr sz="5399">
                <a:gradFill>
                  <a:gsLst>
                    <a:gs pos="885">
                      <a:schemeClr val="tx1"/>
                    </a:gs>
                    <a:gs pos="11194">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323012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3211F9C-A205-4104-AE99-2A14097EBB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552"/>
            <a:ext cx="12436475" cy="6988308"/>
          </a:xfrm>
          <a:prstGeom prst="rect">
            <a:avLst/>
          </a:prstGeom>
        </p:spPr>
      </p:pic>
      <p:sp>
        <p:nvSpPr>
          <p:cNvPr id="2" name="Rectangle 1">
            <a:extLst>
              <a:ext uri="{FF2B5EF4-FFF2-40B4-BE49-F238E27FC236}">
                <a16:creationId xmlns:a16="http://schemas.microsoft.com/office/drawing/2014/main" id="{5483036C-04DA-4D77-90FB-FAFB62B9338B}"/>
              </a:ext>
            </a:extLst>
          </p:cNvPr>
          <p:cNvSpPr/>
          <p:nvPr userDrawn="1"/>
        </p:nvSpPr>
        <p:spPr>
          <a:xfrm>
            <a:off x="0" y="2012651"/>
            <a:ext cx="7373053" cy="4115884"/>
          </a:xfrm>
          <a:prstGeom prst="rect">
            <a:avLst/>
          </a:prstGeom>
          <a:solidFill>
            <a:srgbClr val="00B0F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7" name="MS logo white - EMF">
            <a:extLst>
              <a:ext uri="{FF2B5EF4-FFF2-40B4-BE49-F238E27FC236}">
                <a16:creationId xmlns:a16="http://schemas.microsoft.com/office/drawing/2014/main" id="{03D041C5-F44A-4B64-92E5-30756C2D9BC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9171901" y="5529041"/>
            <a:ext cx="3270121" cy="1465484"/>
          </a:xfrm>
          <a:prstGeom prst="rect">
            <a:avLst/>
          </a:prstGeom>
          <a:effectLst/>
        </p:spPr>
      </p:pic>
      <p:sp>
        <p:nvSpPr>
          <p:cNvPr id="10" name="Title 1">
            <a:extLst>
              <a:ext uri="{FF2B5EF4-FFF2-40B4-BE49-F238E27FC236}">
                <a16:creationId xmlns:a16="http://schemas.microsoft.com/office/drawing/2014/main" id="{13081411-9851-4D8B-8B56-CFBEC80ECD66}"/>
              </a:ext>
            </a:extLst>
          </p:cNvPr>
          <p:cNvSpPr>
            <a:spLocks noGrp="1"/>
          </p:cNvSpPr>
          <p:nvPr>
            <p:ph type="title" hasCustomPrompt="1"/>
          </p:nvPr>
        </p:nvSpPr>
        <p:spPr>
          <a:xfrm>
            <a:off x="274703" y="2488203"/>
            <a:ext cx="6935492" cy="1140436"/>
          </a:xfrm>
          <a:noFill/>
        </p:spPr>
        <p:txBody>
          <a:bodyPr lIns="146304" tIns="91440" rIns="146304" bIns="91440" anchor="t" anchorCtr="0">
            <a:normAutofit/>
          </a:bodyPr>
          <a:lstStyle>
            <a:lvl1pPr>
              <a:defRPr sz="6119" spc="-100" baseline="0">
                <a:gradFill>
                  <a:gsLst>
                    <a:gs pos="62564">
                      <a:schemeClr val="tx1"/>
                    </a:gs>
                    <a:gs pos="55000">
                      <a:schemeClr val="tx1"/>
                    </a:gs>
                  </a:gsLst>
                  <a:lin ang="5400000" scaled="0"/>
                </a:gradFill>
              </a:defRPr>
            </a:lvl1pPr>
          </a:lstStyle>
          <a:p>
            <a:r>
              <a:rPr lang="en-US"/>
              <a:t>Presentation title</a:t>
            </a:r>
          </a:p>
        </p:txBody>
      </p:sp>
      <p:sp>
        <p:nvSpPr>
          <p:cNvPr id="11" name="Text Placeholder 4">
            <a:extLst>
              <a:ext uri="{FF2B5EF4-FFF2-40B4-BE49-F238E27FC236}">
                <a16:creationId xmlns:a16="http://schemas.microsoft.com/office/drawing/2014/main" id="{8A4F25C0-BB9F-4613-9A50-2F1D7FE179AA}"/>
              </a:ext>
            </a:extLst>
          </p:cNvPr>
          <p:cNvSpPr>
            <a:spLocks noGrp="1"/>
          </p:cNvSpPr>
          <p:nvPr>
            <p:ph type="body" sz="quarter" idx="12" hasCustomPrompt="1"/>
          </p:nvPr>
        </p:nvSpPr>
        <p:spPr>
          <a:xfrm>
            <a:off x="274702" y="5103413"/>
            <a:ext cx="6298864" cy="680380"/>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
        <p:nvSpPr>
          <p:cNvPr id="9" name="Rectangle 8">
            <a:extLst>
              <a:ext uri="{FF2B5EF4-FFF2-40B4-BE49-F238E27FC236}">
                <a16:creationId xmlns:a16="http://schemas.microsoft.com/office/drawing/2014/main" id="{A2EE41AE-C011-4156-BA57-734BCCCF95C2}"/>
              </a:ext>
            </a:extLst>
          </p:cNvPr>
          <p:cNvSpPr/>
          <p:nvPr userDrawn="1"/>
        </p:nvSpPr>
        <p:spPr>
          <a:xfrm>
            <a:off x="0" y="0"/>
            <a:ext cx="8070754" cy="2012651"/>
          </a:xfrm>
          <a:prstGeom prst="rect">
            <a:avLst/>
          </a:prstGeom>
          <a:gradFill>
            <a:gsLst>
              <a:gs pos="68000">
                <a:srgbClr val="FFFFFF">
                  <a:alpha val="53000"/>
                </a:srgbClr>
              </a:gs>
              <a:gs pos="40000">
                <a:schemeClr val="tx1"/>
              </a:gs>
              <a:gs pos="77000">
                <a:schemeClr val="tx1">
                  <a:alpha val="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2" name="Picture 11">
            <a:extLst>
              <a:ext uri="{FF2B5EF4-FFF2-40B4-BE49-F238E27FC236}">
                <a16:creationId xmlns:a16="http://schemas.microsoft.com/office/drawing/2014/main" id="{9A5BB455-85CD-4750-8CA4-C8D244F03184}"/>
              </a:ext>
            </a:extLst>
          </p:cNvPr>
          <p:cNvPicPr/>
          <p:nvPr userDrawn="1"/>
        </p:nvPicPr>
        <p:blipFill>
          <a:blip r:embed="rId4" cstate="email">
            <a:extLst>
              <a:ext uri="{28A0092B-C50C-407E-A947-70E740481C1C}">
                <a14:useLocalDpi xmlns:a14="http://schemas.microsoft.com/office/drawing/2010/main"/>
              </a:ext>
            </a:extLst>
          </a:blip>
          <a:stretch>
            <a:fillRect/>
          </a:stretch>
        </p:blipFill>
        <p:spPr bwMode="auto">
          <a:xfrm>
            <a:off x="99945" y="0"/>
            <a:ext cx="5259809" cy="1853914"/>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746935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hank You">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129450"/>
            <a:ext cx="11889564" cy="917575"/>
          </a:xfrm>
        </p:spPr>
        <p:txBody>
          <a:bodyPr/>
          <a:lstStyle>
            <a:lvl1pPr>
              <a:defRPr sz="5999"/>
            </a:lvl1pPr>
          </a:lstStyle>
          <a:p>
            <a:r>
              <a:rPr lang="en-US"/>
              <a:t>Thank you</a:t>
            </a:r>
          </a:p>
        </p:txBody>
      </p:sp>
    </p:spTree>
    <p:extLst>
      <p:ext uri="{BB962C8B-B14F-4D97-AF65-F5344CB8AC3E}">
        <p14:creationId xmlns:p14="http://schemas.microsoft.com/office/powerpoint/2010/main" val="278793850"/>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1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sz="47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932573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274638" y="3040063"/>
            <a:ext cx="3646979" cy="781235"/>
          </a:xfrm>
          <a:prstGeom prst="rect">
            <a:avLst/>
          </a:prstGeom>
        </p:spPr>
      </p:pic>
      <p:sp>
        <p:nvSpPr>
          <p:cNvPr id="3" name="Text Box 3"/>
          <p:cNvSpPr txBox="1">
            <a:spLocks noChangeArrowheads="1"/>
          </p:cNvSpPr>
          <p:nvPr userDrawn="1"/>
        </p:nvSpPr>
        <p:spPr bwMode="blackWhite">
          <a:xfrm>
            <a:off x="256666" y="6274018"/>
            <a:ext cx="10592346" cy="415452"/>
          </a:xfrm>
          <a:prstGeom prst="rect">
            <a:avLst/>
          </a:prstGeom>
          <a:noFill/>
          <a:ln w="12700">
            <a:noFill/>
            <a:miter lim="800000"/>
            <a:headEnd type="none" w="sm" len="sm"/>
            <a:tailEnd type="none" w="sm" len="sm"/>
          </a:ln>
          <a:effectLst/>
        </p:spPr>
        <p:txBody>
          <a:bodyPr vert="horz" wrap="square" lIns="91391" tIns="45697" rIns="91391" bIns="45697" numCol="1" anchor="t" anchorCtr="0" compatLnSpc="1">
            <a:prstTxWarp prst="textNoShape">
              <a:avLst/>
            </a:prstTxWarp>
            <a:spAutoFit/>
          </a:bodyPr>
          <a:lstStyle/>
          <a:p>
            <a:pPr defTabSz="913716" eaLnBrk="0" hangingPunct="0"/>
            <a:r>
              <a:rPr lang="en-US" sz="700">
                <a:gradFill>
                  <a:gsLst>
                    <a:gs pos="11940">
                      <a:srgbClr val="FFFFFF"/>
                    </a:gs>
                    <a:gs pos="24000">
                      <a:srgbClr val="FFFFFF"/>
                    </a:gs>
                  </a:gsLst>
                  <a:lin ang="5400000" scaled="0"/>
                </a:gradFill>
                <a:cs typeface="Arial" charset="0"/>
              </a:rPr>
              <a:t>© 2013 Microsoft Corporation. All rights reserved. Microsoft, Windows, Windows Vista and other product names are or may be registered trademarks and/or trademarks in the U.S. and/or other countries.</a:t>
            </a:r>
          </a:p>
          <a:p>
            <a:pPr defTabSz="913716" eaLnBrk="0" hangingPunct="0"/>
            <a:r>
              <a:rPr lang="en-US" sz="700">
                <a:gradFill>
                  <a:gsLst>
                    <a:gs pos="11940">
                      <a:srgbClr val="FFFFFF"/>
                    </a:gs>
                    <a:gs pos="24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66654194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_3">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2C376265-F4E6-47CB-AA70-4B4601A97D8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1"/>
            <a:ext cx="12436474" cy="6994526"/>
          </a:xfrm>
          <a:prstGeom prst="rect">
            <a:avLst/>
          </a:prstGeom>
        </p:spPr>
      </p:pic>
      <p:sp>
        <p:nvSpPr>
          <p:cNvPr id="15" name="Rectangle 14">
            <a:extLst>
              <a:ext uri="{FF2B5EF4-FFF2-40B4-BE49-F238E27FC236}">
                <a16:creationId xmlns:a16="http://schemas.microsoft.com/office/drawing/2014/main" id="{52EEF977-2D5B-4EA6-98E8-C7711CDB6114}"/>
              </a:ext>
            </a:extLst>
          </p:cNvPr>
          <p:cNvSpPr/>
          <p:nvPr userDrawn="1"/>
        </p:nvSpPr>
        <p:spPr bwMode="auto">
          <a:xfrm>
            <a:off x="-1" y="0"/>
            <a:ext cx="12436474" cy="6994525"/>
          </a:xfrm>
          <a:prstGeom prst="rect">
            <a:avLst/>
          </a:prstGeom>
          <a:gradFill flip="none" rotWithShape="1">
            <a:gsLst>
              <a:gs pos="71000">
                <a:srgbClr val="000000">
                  <a:alpha val="64000"/>
                </a:srgbClr>
              </a:gs>
              <a:gs pos="0">
                <a:srgbClr val="000000">
                  <a:alpha val="72000"/>
                </a:srgb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4" rIns="182780" bIns="146224" numCol="1" spcCol="0" rtlCol="0" fromWordArt="0" anchor="t" anchorCtr="0" forceAA="0" compatLnSpc="1">
            <a:prstTxWarp prst="textNoShape">
              <a:avLst/>
            </a:prstTxWarp>
            <a:noAutofit/>
          </a:bodyPr>
          <a:lstStyle/>
          <a:p>
            <a:pPr algn="ctr" defTabSz="931835" fontAlgn="base">
              <a:lnSpc>
                <a:spcPct val="90000"/>
              </a:lnSpc>
              <a:spcBef>
                <a:spcPct val="0"/>
              </a:spcBef>
              <a:spcAft>
                <a:spcPct val="0"/>
              </a:spcAft>
            </a:pPr>
            <a:endParaRPr lang="en-US" sz="2399"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0" y="5968662"/>
            <a:ext cx="2289138" cy="1025862"/>
          </a:xfrm>
          <a:prstGeom prst="rect">
            <a:avLst/>
          </a:prstGeom>
          <a:effectLst/>
        </p:spPr>
      </p:pic>
      <p:sp>
        <p:nvSpPr>
          <p:cNvPr id="4" name="TextBox 3">
            <a:extLst>
              <a:ext uri="{FF2B5EF4-FFF2-40B4-BE49-F238E27FC236}">
                <a16:creationId xmlns:a16="http://schemas.microsoft.com/office/drawing/2014/main" id="{A0780E2E-CFDF-47B6-852C-C72B2FF03E5F}"/>
              </a:ext>
            </a:extLst>
          </p:cNvPr>
          <p:cNvSpPr txBox="1"/>
          <p:nvPr userDrawn="1"/>
        </p:nvSpPr>
        <p:spPr>
          <a:xfrm>
            <a:off x="9873302" y="6516571"/>
            <a:ext cx="2267066" cy="270285"/>
          </a:xfrm>
          <a:prstGeom prst="rect">
            <a:avLst/>
          </a:prstGeom>
          <a:noFill/>
        </p:spPr>
        <p:txBody>
          <a:bodyPr wrap="square" rtlCol="0">
            <a:spAutoFit/>
          </a:bodyPr>
          <a:lstStyle/>
          <a:p>
            <a:pPr algn="r"/>
            <a:fld id="{55A54258-3FBC-4C56-8FE4-B12C5EA1D0B3}" type="slidenum">
              <a:rPr lang="en-US" sz="1122" smtClean="0">
                <a:solidFill>
                  <a:schemeClr val="bg1"/>
                </a:solidFill>
              </a:rPr>
              <a:pPr algn="r"/>
              <a:t>‹#›</a:t>
            </a:fld>
            <a:endParaRPr lang="en-US" sz="1122">
              <a:solidFill>
                <a:schemeClr val="bg1"/>
              </a:solidFill>
            </a:endParaRPr>
          </a:p>
        </p:txBody>
      </p:sp>
      <p:sp>
        <p:nvSpPr>
          <p:cNvPr id="9" name="Title 21">
            <a:extLst>
              <a:ext uri="{FF2B5EF4-FFF2-40B4-BE49-F238E27FC236}">
                <a16:creationId xmlns:a16="http://schemas.microsoft.com/office/drawing/2014/main" id="{669FD5CE-7E5C-4A79-9E90-27BD8B18A973}"/>
              </a:ext>
            </a:extLst>
          </p:cNvPr>
          <p:cNvSpPr>
            <a:spLocks noGrp="1"/>
          </p:cNvSpPr>
          <p:nvPr>
            <p:ph type="title"/>
          </p:nvPr>
        </p:nvSpPr>
        <p:spPr>
          <a:xfrm>
            <a:off x="313989" y="312486"/>
            <a:ext cx="11808336" cy="699453"/>
          </a:xfrm>
        </p:spPr>
        <p:txBody>
          <a:bodyPr>
            <a:noAutofit/>
          </a:bodyPr>
          <a:lstStyle>
            <a:lvl1pPr>
              <a:defRPr sz="4284" b="0">
                <a:solidFill>
                  <a:schemeClr val="bg1"/>
                </a:solidFill>
                <a:latin typeface="Segoe UI Light" panose="020B0502040204020203" pitchFamily="34" charset="0"/>
                <a:cs typeface="Segoe UI Light" panose="020B0502040204020203" pitchFamily="34" charset="0"/>
              </a:defRPr>
            </a:lvl1pPr>
          </a:lstStyle>
          <a:p>
            <a:r>
              <a:rPr lang="en-US"/>
              <a:t>Click to edit Master title style</a:t>
            </a:r>
          </a:p>
        </p:txBody>
      </p:sp>
      <p:pic>
        <p:nvPicPr>
          <p:cNvPr id="16" name="Picture 15">
            <a:extLst>
              <a:ext uri="{FF2B5EF4-FFF2-40B4-BE49-F238E27FC236}">
                <a16:creationId xmlns:a16="http://schemas.microsoft.com/office/drawing/2014/main" id="{7C6A7145-30E4-4244-8D14-0921871F5422}"/>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13238" y="369009"/>
            <a:ext cx="1623053" cy="572074"/>
          </a:xfrm>
          <a:prstGeom prst="rect">
            <a:avLst/>
          </a:prstGeom>
        </p:spPr>
      </p:pic>
    </p:spTree>
    <p:extLst>
      <p:ext uri="{BB962C8B-B14F-4D97-AF65-F5344CB8AC3E}">
        <p14:creationId xmlns:p14="http://schemas.microsoft.com/office/powerpoint/2010/main" val="1601913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4" name="Picture 3" descr="A picture containing building, standing, person, man&#10;&#10;Description generated with very high confidence"/>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10" name="Rectangle 9"/>
          <p:cNvSpPr/>
          <p:nvPr userDrawn="1"/>
        </p:nvSpPr>
        <p:spPr bwMode="auto">
          <a:xfrm>
            <a:off x="1" y="0"/>
            <a:ext cx="8369642" cy="6994525"/>
          </a:xfrm>
          <a:prstGeom prst="rect">
            <a:avLst/>
          </a:prstGeom>
          <a:gradFill flip="none" rotWithShape="1">
            <a:gsLst>
              <a:gs pos="22000">
                <a:srgbClr val="000000">
                  <a:alpha val="49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701179"/>
            <a:ext cx="6400736" cy="1828800"/>
          </a:xfrm>
          <a:noFill/>
        </p:spPr>
        <p:txBody>
          <a:bodyPr lIns="146304" tIns="91440" rIns="146304" bIns="91440" anchor="t" anchorCtr="0"/>
          <a:lstStyle>
            <a:lvl1pPr>
              <a:defRPr sz="4800"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868863"/>
            <a:ext cx="6402388"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60688" y="6233445"/>
            <a:ext cx="1451843" cy="310896"/>
          </a:xfrm>
          <a:prstGeom prst="rect">
            <a:avLst/>
          </a:prstGeom>
        </p:spPr>
      </p:pic>
    </p:spTree>
    <p:extLst>
      <p:ext uri="{BB962C8B-B14F-4D97-AF65-F5344CB8AC3E}">
        <p14:creationId xmlns:p14="http://schemas.microsoft.com/office/powerpoint/2010/main" val="3613113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_3">
    <p:bg>
      <p:bgPr>
        <a:solidFill>
          <a:schemeClr val="bg1"/>
        </a:solidFill>
        <a:effectLst/>
      </p:bgPr>
    </p:bg>
    <p:spTree>
      <p:nvGrpSpPr>
        <p:cNvPr id="1" name=""/>
        <p:cNvGrpSpPr/>
        <p:nvPr/>
      </p:nvGrpSpPr>
      <p:grpSpPr>
        <a:xfrm>
          <a:off x="0" y="0"/>
          <a:ext cx="0" cy="0"/>
          <a:chOff x="0" y="0"/>
          <a:chExt cx="0" cy="0"/>
        </a:xfrm>
      </p:grpSpPr>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 y="5968662"/>
            <a:ext cx="2289135" cy="1025862"/>
          </a:xfrm>
          <a:prstGeom prst="rect">
            <a:avLst/>
          </a:prstGeom>
          <a:effectLst/>
        </p:spPr>
      </p:pic>
      <p:sp>
        <p:nvSpPr>
          <p:cNvPr id="4" name="TextBox 3">
            <a:extLst>
              <a:ext uri="{FF2B5EF4-FFF2-40B4-BE49-F238E27FC236}">
                <a16:creationId xmlns:a16="http://schemas.microsoft.com/office/drawing/2014/main" id="{A0780E2E-CFDF-47B6-852C-C72B2FF03E5F}"/>
              </a:ext>
            </a:extLst>
          </p:cNvPr>
          <p:cNvSpPr txBox="1"/>
          <p:nvPr userDrawn="1"/>
        </p:nvSpPr>
        <p:spPr>
          <a:xfrm>
            <a:off x="9873302" y="6516571"/>
            <a:ext cx="2267066" cy="270285"/>
          </a:xfrm>
          <a:prstGeom prst="rect">
            <a:avLst/>
          </a:prstGeom>
          <a:noFill/>
        </p:spPr>
        <p:txBody>
          <a:bodyPr wrap="square" rtlCol="0">
            <a:spAutoFit/>
          </a:bodyPr>
          <a:lstStyle/>
          <a:p>
            <a:pPr algn="r"/>
            <a:fld id="{55A54258-3FBC-4C56-8FE4-B12C5EA1D0B3}" type="slidenum">
              <a:rPr lang="en-US" sz="1122" smtClean="0">
                <a:solidFill>
                  <a:schemeClr val="tx1"/>
                </a:solidFill>
              </a:rPr>
              <a:pPr algn="r"/>
              <a:t>‹#›</a:t>
            </a:fld>
            <a:endParaRPr lang="en-US" sz="1122">
              <a:solidFill>
                <a:schemeClr val="tx1"/>
              </a:solidFill>
            </a:endParaRPr>
          </a:p>
        </p:txBody>
      </p:sp>
      <p:sp>
        <p:nvSpPr>
          <p:cNvPr id="9" name="Title 21">
            <a:extLst>
              <a:ext uri="{FF2B5EF4-FFF2-40B4-BE49-F238E27FC236}">
                <a16:creationId xmlns:a16="http://schemas.microsoft.com/office/drawing/2014/main" id="{669FD5CE-7E5C-4A79-9E90-27BD8B18A973}"/>
              </a:ext>
            </a:extLst>
          </p:cNvPr>
          <p:cNvSpPr>
            <a:spLocks noGrp="1"/>
          </p:cNvSpPr>
          <p:nvPr>
            <p:ph type="title"/>
          </p:nvPr>
        </p:nvSpPr>
        <p:spPr>
          <a:xfrm>
            <a:off x="313989" y="312486"/>
            <a:ext cx="11808336" cy="699453"/>
          </a:xfrm>
        </p:spPr>
        <p:txBody>
          <a:bodyPr>
            <a:noAutofit/>
          </a:bodyPr>
          <a:lstStyle>
            <a:lvl1pPr>
              <a:defRPr sz="3060" b="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F96B3679-3610-40C6-B5E2-BF07724ABC1A}"/>
              </a:ext>
            </a:extLst>
          </p:cNvPr>
          <p:cNvSpPr/>
          <p:nvPr userDrawn="1"/>
        </p:nvSpPr>
        <p:spPr>
          <a:xfrm>
            <a:off x="4959806" y="6452955"/>
            <a:ext cx="2283777" cy="286306"/>
          </a:xfrm>
          <a:prstGeom prst="rect">
            <a:avLst/>
          </a:prstGeom>
        </p:spPr>
        <p:txBody>
          <a:bodyPr wrap="none">
            <a:spAutoFit/>
          </a:bodyPr>
          <a:lstStyle/>
          <a:p>
            <a:pPr defTabSz="932563"/>
            <a:r>
              <a:rPr lang="tr-TR" sz="1224" err="1">
                <a:solidFill>
                  <a:schemeClr val="tx1"/>
                </a:solidFill>
              </a:rPr>
              <a:t>Draft</a:t>
            </a:r>
            <a:r>
              <a:rPr lang="tr-TR" sz="1224">
                <a:solidFill>
                  <a:schemeClr val="tx1"/>
                </a:solidFill>
              </a:rPr>
              <a:t> – Microsoft </a:t>
            </a:r>
            <a:r>
              <a:rPr lang="tr-TR" sz="1224" err="1">
                <a:solidFill>
                  <a:schemeClr val="tx1"/>
                </a:solidFill>
              </a:rPr>
              <a:t>Confidential</a:t>
            </a:r>
            <a:endParaRPr lang="en-US" sz="1224">
              <a:solidFill>
                <a:schemeClr val="tx1"/>
              </a:solidFill>
            </a:endParaRPr>
          </a:p>
        </p:txBody>
      </p:sp>
      <p:pic>
        <p:nvPicPr>
          <p:cNvPr id="7" name="Picture 6">
            <a:extLst>
              <a:ext uri="{FF2B5EF4-FFF2-40B4-BE49-F238E27FC236}">
                <a16:creationId xmlns:a16="http://schemas.microsoft.com/office/drawing/2014/main" id="{AFD62310-F5A9-4C3B-A7A3-DA9582FAF54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584090" y="320436"/>
            <a:ext cx="1623053" cy="572073"/>
          </a:xfrm>
          <a:prstGeom prst="rect">
            <a:avLst/>
          </a:prstGeom>
        </p:spPr>
      </p:pic>
    </p:spTree>
    <p:extLst>
      <p:ext uri="{BB962C8B-B14F-4D97-AF65-F5344CB8AC3E}">
        <p14:creationId xmlns:p14="http://schemas.microsoft.com/office/powerpoint/2010/main" val="16966947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Title Only_3">
    <p:bg>
      <p:bgPr>
        <a:solidFill>
          <a:schemeClr val="bg1"/>
        </a:solidFill>
        <a:effectLst/>
      </p:bgPr>
    </p:bg>
    <p:spTree>
      <p:nvGrpSpPr>
        <p:cNvPr id="1" name=""/>
        <p:cNvGrpSpPr/>
        <p:nvPr/>
      </p:nvGrpSpPr>
      <p:grpSpPr>
        <a:xfrm>
          <a:off x="0" y="0"/>
          <a:ext cx="0" cy="0"/>
          <a:chOff x="0" y="0"/>
          <a:chExt cx="0" cy="0"/>
        </a:xfrm>
      </p:grpSpPr>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1" y="5968662"/>
            <a:ext cx="2289135" cy="1025862"/>
          </a:xfrm>
          <a:prstGeom prst="rect">
            <a:avLst/>
          </a:prstGeom>
          <a:effectLst/>
        </p:spPr>
      </p:pic>
      <p:sp>
        <p:nvSpPr>
          <p:cNvPr id="4" name="TextBox 3">
            <a:extLst>
              <a:ext uri="{FF2B5EF4-FFF2-40B4-BE49-F238E27FC236}">
                <a16:creationId xmlns:a16="http://schemas.microsoft.com/office/drawing/2014/main" id="{A0780E2E-CFDF-47B6-852C-C72B2FF03E5F}"/>
              </a:ext>
            </a:extLst>
          </p:cNvPr>
          <p:cNvSpPr txBox="1"/>
          <p:nvPr userDrawn="1"/>
        </p:nvSpPr>
        <p:spPr>
          <a:xfrm>
            <a:off x="9873302" y="6516571"/>
            <a:ext cx="2267066" cy="270285"/>
          </a:xfrm>
          <a:prstGeom prst="rect">
            <a:avLst/>
          </a:prstGeom>
          <a:noFill/>
        </p:spPr>
        <p:txBody>
          <a:bodyPr wrap="square" rtlCol="0">
            <a:spAutoFit/>
          </a:bodyPr>
          <a:lstStyle/>
          <a:p>
            <a:pPr algn="r"/>
            <a:fld id="{55A54258-3FBC-4C56-8FE4-B12C5EA1D0B3}" type="slidenum">
              <a:rPr lang="en-US" sz="1122" smtClean="0">
                <a:solidFill>
                  <a:schemeClr val="tx1"/>
                </a:solidFill>
              </a:rPr>
              <a:pPr algn="r"/>
              <a:t>‹#›</a:t>
            </a:fld>
            <a:endParaRPr lang="en-US" sz="1122">
              <a:solidFill>
                <a:schemeClr val="tx1"/>
              </a:solidFill>
            </a:endParaRPr>
          </a:p>
        </p:txBody>
      </p:sp>
      <p:sp>
        <p:nvSpPr>
          <p:cNvPr id="9" name="Title 21">
            <a:extLst>
              <a:ext uri="{FF2B5EF4-FFF2-40B4-BE49-F238E27FC236}">
                <a16:creationId xmlns:a16="http://schemas.microsoft.com/office/drawing/2014/main" id="{669FD5CE-7E5C-4A79-9E90-27BD8B18A973}"/>
              </a:ext>
            </a:extLst>
          </p:cNvPr>
          <p:cNvSpPr>
            <a:spLocks noGrp="1"/>
          </p:cNvSpPr>
          <p:nvPr>
            <p:ph type="title"/>
          </p:nvPr>
        </p:nvSpPr>
        <p:spPr>
          <a:xfrm>
            <a:off x="313989" y="312486"/>
            <a:ext cx="11808336" cy="699453"/>
          </a:xfrm>
        </p:spPr>
        <p:txBody>
          <a:bodyPr>
            <a:noAutofit/>
          </a:bodyPr>
          <a:lstStyle>
            <a:lvl1pPr>
              <a:defRPr sz="3060" b="0">
                <a:solidFill>
                  <a:schemeClr val="tx1"/>
                </a:solidFill>
                <a:latin typeface="Segoe UI Light" panose="020B0502040204020203" pitchFamily="34" charset="0"/>
                <a:cs typeface="Segoe UI Light"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7595830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Only_3">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A9B038-D834-4C83-BB52-5822A15335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flipH="1">
            <a:off x="0" y="4709"/>
            <a:ext cx="9506885" cy="7011276"/>
          </a:xfrm>
          <a:prstGeom prst="rect">
            <a:avLst/>
          </a:prstGeom>
        </p:spPr>
      </p:pic>
      <p:sp>
        <p:nvSpPr>
          <p:cNvPr id="11" name="Rectangle 3">
            <a:extLst>
              <a:ext uri="{FF2B5EF4-FFF2-40B4-BE49-F238E27FC236}">
                <a16:creationId xmlns:a16="http://schemas.microsoft.com/office/drawing/2014/main" id="{70DE48EA-FFA7-4365-8F74-634ABF0BABBF}"/>
              </a:ext>
            </a:extLst>
          </p:cNvPr>
          <p:cNvSpPr/>
          <p:nvPr userDrawn="1"/>
        </p:nvSpPr>
        <p:spPr bwMode="auto">
          <a:xfrm>
            <a:off x="5583459" y="0"/>
            <a:ext cx="6853016" cy="7025832"/>
          </a:xfrm>
          <a:custGeom>
            <a:avLst/>
            <a:gdLst>
              <a:gd name="connsiteX0" fmla="*/ 0 w 6997700"/>
              <a:gd name="connsiteY0" fmla="*/ 0 h 6857999"/>
              <a:gd name="connsiteX1" fmla="*/ 6997700 w 6997700"/>
              <a:gd name="connsiteY1" fmla="*/ 0 h 6857999"/>
              <a:gd name="connsiteX2" fmla="*/ 6997700 w 6997700"/>
              <a:gd name="connsiteY2" fmla="*/ 6857999 h 6857999"/>
              <a:gd name="connsiteX3" fmla="*/ 0 w 6997700"/>
              <a:gd name="connsiteY3" fmla="*/ 6857999 h 6857999"/>
              <a:gd name="connsiteX4" fmla="*/ 0 w 6997700"/>
              <a:gd name="connsiteY4" fmla="*/ 0 h 6857999"/>
              <a:gd name="connsiteX0" fmla="*/ 2755900 w 9753600"/>
              <a:gd name="connsiteY0" fmla="*/ 0 h 6857999"/>
              <a:gd name="connsiteX1" fmla="*/ 9753600 w 9753600"/>
              <a:gd name="connsiteY1" fmla="*/ 0 h 6857999"/>
              <a:gd name="connsiteX2" fmla="*/ 9753600 w 9753600"/>
              <a:gd name="connsiteY2" fmla="*/ 6857999 h 6857999"/>
              <a:gd name="connsiteX3" fmla="*/ 0 w 9753600"/>
              <a:gd name="connsiteY3" fmla="*/ 6845299 h 6857999"/>
              <a:gd name="connsiteX4" fmla="*/ 2755900 w 9753600"/>
              <a:gd name="connsiteY4" fmla="*/ 0 h 6857999"/>
              <a:gd name="connsiteX0" fmla="*/ 1447800 w 8445500"/>
              <a:gd name="connsiteY0" fmla="*/ 0 h 6857999"/>
              <a:gd name="connsiteX1" fmla="*/ 8445500 w 8445500"/>
              <a:gd name="connsiteY1" fmla="*/ 0 h 6857999"/>
              <a:gd name="connsiteX2" fmla="*/ 8445500 w 8445500"/>
              <a:gd name="connsiteY2" fmla="*/ 6857999 h 6857999"/>
              <a:gd name="connsiteX3" fmla="*/ 0 w 8445500"/>
              <a:gd name="connsiteY3" fmla="*/ 6857999 h 6857999"/>
              <a:gd name="connsiteX4" fmla="*/ 1447800 w 8445500"/>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5500" h="6857999">
                <a:moveTo>
                  <a:pt x="1447800" y="0"/>
                </a:moveTo>
                <a:lnTo>
                  <a:pt x="8445500" y="0"/>
                </a:lnTo>
                <a:lnTo>
                  <a:pt x="8445500" y="6857999"/>
                </a:lnTo>
                <a:lnTo>
                  <a:pt x="0" y="6857999"/>
                </a:lnTo>
                <a:lnTo>
                  <a:pt x="144780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1" y="5968663"/>
            <a:ext cx="2289135" cy="1025861"/>
          </a:xfrm>
          <a:prstGeom prst="rect">
            <a:avLst/>
          </a:prstGeom>
          <a:effectLst/>
        </p:spPr>
      </p:pic>
      <p:pic>
        <p:nvPicPr>
          <p:cNvPr id="13" name="Picture 12">
            <a:extLst>
              <a:ext uri="{FF2B5EF4-FFF2-40B4-BE49-F238E27FC236}">
                <a16:creationId xmlns:a16="http://schemas.microsoft.com/office/drawing/2014/main" id="{A3513913-0014-4DEE-BBDE-576D6D122A4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897360" y="157053"/>
            <a:ext cx="2381330" cy="839342"/>
          </a:xfrm>
          <a:prstGeom prst="rect">
            <a:avLst/>
          </a:prstGeom>
        </p:spPr>
      </p:pic>
      <p:sp>
        <p:nvSpPr>
          <p:cNvPr id="12" name="Title 1">
            <a:extLst>
              <a:ext uri="{FF2B5EF4-FFF2-40B4-BE49-F238E27FC236}">
                <a16:creationId xmlns:a16="http://schemas.microsoft.com/office/drawing/2014/main" id="{7496B139-BB34-438C-8756-0E99E6477D33}"/>
              </a:ext>
            </a:extLst>
          </p:cNvPr>
          <p:cNvSpPr>
            <a:spLocks noGrp="1"/>
          </p:cNvSpPr>
          <p:nvPr>
            <p:ph type="title" hasCustomPrompt="1"/>
          </p:nvPr>
        </p:nvSpPr>
        <p:spPr>
          <a:xfrm>
            <a:off x="7008472" y="3152435"/>
            <a:ext cx="5124400" cy="1181862"/>
          </a:xfrm>
          <a:noFill/>
        </p:spPr>
        <p:txBody>
          <a:bodyPr wrap="square" tIns="91440" bIns="91440" anchor="t" anchorCtr="0">
            <a:noAutofit/>
          </a:bodyPr>
          <a:lstStyle>
            <a:lvl1pPr>
              <a:defRPr sz="7198" spc="-100" baseline="0">
                <a:solidFill>
                  <a:schemeClr val="tx1"/>
                </a:solidFill>
              </a:defRPr>
            </a:lvl1pPr>
          </a:lstStyle>
          <a:p>
            <a:r>
              <a:rPr lang="en-US"/>
              <a:t>Section title</a:t>
            </a:r>
          </a:p>
        </p:txBody>
      </p:sp>
    </p:spTree>
    <p:extLst>
      <p:ext uri="{BB962C8B-B14F-4D97-AF65-F5344CB8AC3E}">
        <p14:creationId xmlns:p14="http://schemas.microsoft.com/office/powerpoint/2010/main" val="4445126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Title Only_3">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A9B038-D834-4C83-BB52-5822A153357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 y="0"/>
            <a:ext cx="10018534" cy="6994522"/>
          </a:xfrm>
          <a:prstGeom prst="rect">
            <a:avLst/>
          </a:prstGeom>
        </p:spPr>
      </p:pic>
      <p:sp>
        <p:nvSpPr>
          <p:cNvPr id="11" name="Rectangle 3">
            <a:extLst>
              <a:ext uri="{FF2B5EF4-FFF2-40B4-BE49-F238E27FC236}">
                <a16:creationId xmlns:a16="http://schemas.microsoft.com/office/drawing/2014/main" id="{70DE48EA-FFA7-4365-8F74-634ABF0BABBF}"/>
              </a:ext>
            </a:extLst>
          </p:cNvPr>
          <p:cNvSpPr/>
          <p:nvPr userDrawn="1"/>
        </p:nvSpPr>
        <p:spPr bwMode="auto">
          <a:xfrm>
            <a:off x="5583459" y="0"/>
            <a:ext cx="6853016" cy="7025832"/>
          </a:xfrm>
          <a:custGeom>
            <a:avLst/>
            <a:gdLst>
              <a:gd name="connsiteX0" fmla="*/ 0 w 6997700"/>
              <a:gd name="connsiteY0" fmla="*/ 0 h 6857999"/>
              <a:gd name="connsiteX1" fmla="*/ 6997700 w 6997700"/>
              <a:gd name="connsiteY1" fmla="*/ 0 h 6857999"/>
              <a:gd name="connsiteX2" fmla="*/ 6997700 w 6997700"/>
              <a:gd name="connsiteY2" fmla="*/ 6857999 h 6857999"/>
              <a:gd name="connsiteX3" fmla="*/ 0 w 6997700"/>
              <a:gd name="connsiteY3" fmla="*/ 6857999 h 6857999"/>
              <a:gd name="connsiteX4" fmla="*/ 0 w 6997700"/>
              <a:gd name="connsiteY4" fmla="*/ 0 h 6857999"/>
              <a:gd name="connsiteX0" fmla="*/ 2755900 w 9753600"/>
              <a:gd name="connsiteY0" fmla="*/ 0 h 6857999"/>
              <a:gd name="connsiteX1" fmla="*/ 9753600 w 9753600"/>
              <a:gd name="connsiteY1" fmla="*/ 0 h 6857999"/>
              <a:gd name="connsiteX2" fmla="*/ 9753600 w 9753600"/>
              <a:gd name="connsiteY2" fmla="*/ 6857999 h 6857999"/>
              <a:gd name="connsiteX3" fmla="*/ 0 w 9753600"/>
              <a:gd name="connsiteY3" fmla="*/ 6845299 h 6857999"/>
              <a:gd name="connsiteX4" fmla="*/ 2755900 w 9753600"/>
              <a:gd name="connsiteY4" fmla="*/ 0 h 6857999"/>
              <a:gd name="connsiteX0" fmla="*/ 1447800 w 8445500"/>
              <a:gd name="connsiteY0" fmla="*/ 0 h 6857999"/>
              <a:gd name="connsiteX1" fmla="*/ 8445500 w 8445500"/>
              <a:gd name="connsiteY1" fmla="*/ 0 h 6857999"/>
              <a:gd name="connsiteX2" fmla="*/ 8445500 w 8445500"/>
              <a:gd name="connsiteY2" fmla="*/ 6857999 h 6857999"/>
              <a:gd name="connsiteX3" fmla="*/ 0 w 8445500"/>
              <a:gd name="connsiteY3" fmla="*/ 6857999 h 6857999"/>
              <a:gd name="connsiteX4" fmla="*/ 1447800 w 8445500"/>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5500" h="6857999">
                <a:moveTo>
                  <a:pt x="1447800" y="0"/>
                </a:moveTo>
                <a:lnTo>
                  <a:pt x="8445500" y="0"/>
                </a:lnTo>
                <a:lnTo>
                  <a:pt x="8445500" y="6857999"/>
                </a:lnTo>
                <a:lnTo>
                  <a:pt x="0" y="6857999"/>
                </a:lnTo>
                <a:lnTo>
                  <a:pt x="144780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1" y="5968663"/>
            <a:ext cx="2289135" cy="1025861"/>
          </a:xfrm>
          <a:prstGeom prst="rect">
            <a:avLst/>
          </a:prstGeom>
          <a:effectLst/>
        </p:spPr>
      </p:pic>
      <p:pic>
        <p:nvPicPr>
          <p:cNvPr id="13" name="Picture 12">
            <a:extLst>
              <a:ext uri="{FF2B5EF4-FFF2-40B4-BE49-F238E27FC236}">
                <a16:creationId xmlns:a16="http://schemas.microsoft.com/office/drawing/2014/main" id="{A3513913-0014-4DEE-BBDE-576D6D122A4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897360" y="157053"/>
            <a:ext cx="2381330" cy="839342"/>
          </a:xfrm>
          <a:prstGeom prst="rect">
            <a:avLst/>
          </a:prstGeom>
        </p:spPr>
      </p:pic>
      <p:sp>
        <p:nvSpPr>
          <p:cNvPr id="12" name="Title 1">
            <a:extLst>
              <a:ext uri="{FF2B5EF4-FFF2-40B4-BE49-F238E27FC236}">
                <a16:creationId xmlns:a16="http://schemas.microsoft.com/office/drawing/2014/main" id="{7496B139-BB34-438C-8756-0E99E6477D33}"/>
              </a:ext>
            </a:extLst>
          </p:cNvPr>
          <p:cNvSpPr>
            <a:spLocks noGrp="1"/>
          </p:cNvSpPr>
          <p:nvPr>
            <p:ph type="title" hasCustomPrompt="1"/>
          </p:nvPr>
        </p:nvSpPr>
        <p:spPr>
          <a:xfrm>
            <a:off x="7008472" y="3152435"/>
            <a:ext cx="5124400" cy="1181862"/>
          </a:xfrm>
          <a:noFill/>
        </p:spPr>
        <p:txBody>
          <a:bodyPr wrap="square" tIns="91440" bIns="91440" anchor="t" anchorCtr="0">
            <a:noAutofit/>
          </a:bodyPr>
          <a:lstStyle>
            <a:lvl1pPr>
              <a:defRPr sz="7198" spc="-100" baseline="0">
                <a:solidFill>
                  <a:schemeClr val="tx1"/>
                </a:solidFill>
              </a:defRPr>
            </a:lvl1pPr>
          </a:lstStyle>
          <a:p>
            <a:r>
              <a:rPr lang="en-US"/>
              <a:t>Section title</a:t>
            </a:r>
          </a:p>
        </p:txBody>
      </p:sp>
    </p:spTree>
    <p:extLst>
      <p:ext uri="{BB962C8B-B14F-4D97-AF65-F5344CB8AC3E}">
        <p14:creationId xmlns:p14="http://schemas.microsoft.com/office/powerpoint/2010/main" val="30267428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Title Only_3">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A9B038-D834-4C83-BB52-5822A153357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362"/>
            <a:ext cx="8290983" cy="6994524"/>
          </a:xfrm>
          <a:prstGeom prst="rect">
            <a:avLst/>
          </a:prstGeom>
        </p:spPr>
      </p:pic>
      <p:sp>
        <p:nvSpPr>
          <p:cNvPr id="11" name="Rectangle 3">
            <a:extLst>
              <a:ext uri="{FF2B5EF4-FFF2-40B4-BE49-F238E27FC236}">
                <a16:creationId xmlns:a16="http://schemas.microsoft.com/office/drawing/2014/main" id="{70DE48EA-FFA7-4365-8F74-634ABF0BABBF}"/>
              </a:ext>
            </a:extLst>
          </p:cNvPr>
          <p:cNvSpPr/>
          <p:nvPr userDrawn="1"/>
        </p:nvSpPr>
        <p:spPr bwMode="auto">
          <a:xfrm>
            <a:off x="5583459" y="0"/>
            <a:ext cx="6853016" cy="7025832"/>
          </a:xfrm>
          <a:custGeom>
            <a:avLst/>
            <a:gdLst>
              <a:gd name="connsiteX0" fmla="*/ 0 w 6997700"/>
              <a:gd name="connsiteY0" fmla="*/ 0 h 6857999"/>
              <a:gd name="connsiteX1" fmla="*/ 6997700 w 6997700"/>
              <a:gd name="connsiteY1" fmla="*/ 0 h 6857999"/>
              <a:gd name="connsiteX2" fmla="*/ 6997700 w 6997700"/>
              <a:gd name="connsiteY2" fmla="*/ 6857999 h 6857999"/>
              <a:gd name="connsiteX3" fmla="*/ 0 w 6997700"/>
              <a:gd name="connsiteY3" fmla="*/ 6857999 h 6857999"/>
              <a:gd name="connsiteX4" fmla="*/ 0 w 6997700"/>
              <a:gd name="connsiteY4" fmla="*/ 0 h 6857999"/>
              <a:gd name="connsiteX0" fmla="*/ 2755900 w 9753600"/>
              <a:gd name="connsiteY0" fmla="*/ 0 h 6857999"/>
              <a:gd name="connsiteX1" fmla="*/ 9753600 w 9753600"/>
              <a:gd name="connsiteY1" fmla="*/ 0 h 6857999"/>
              <a:gd name="connsiteX2" fmla="*/ 9753600 w 9753600"/>
              <a:gd name="connsiteY2" fmla="*/ 6857999 h 6857999"/>
              <a:gd name="connsiteX3" fmla="*/ 0 w 9753600"/>
              <a:gd name="connsiteY3" fmla="*/ 6845299 h 6857999"/>
              <a:gd name="connsiteX4" fmla="*/ 2755900 w 9753600"/>
              <a:gd name="connsiteY4" fmla="*/ 0 h 6857999"/>
              <a:gd name="connsiteX0" fmla="*/ 1447800 w 8445500"/>
              <a:gd name="connsiteY0" fmla="*/ 0 h 6857999"/>
              <a:gd name="connsiteX1" fmla="*/ 8445500 w 8445500"/>
              <a:gd name="connsiteY1" fmla="*/ 0 h 6857999"/>
              <a:gd name="connsiteX2" fmla="*/ 8445500 w 8445500"/>
              <a:gd name="connsiteY2" fmla="*/ 6857999 h 6857999"/>
              <a:gd name="connsiteX3" fmla="*/ 0 w 8445500"/>
              <a:gd name="connsiteY3" fmla="*/ 6857999 h 6857999"/>
              <a:gd name="connsiteX4" fmla="*/ 1447800 w 8445500"/>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5500" h="6857999">
                <a:moveTo>
                  <a:pt x="1447800" y="0"/>
                </a:moveTo>
                <a:lnTo>
                  <a:pt x="8445500" y="0"/>
                </a:lnTo>
                <a:lnTo>
                  <a:pt x="8445500" y="6857999"/>
                </a:lnTo>
                <a:lnTo>
                  <a:pt x="0" y="6857999"/>
                </a:lnTo>
                <a:lnTo>
                  <a:pt x="144780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1" y="5968663"/>
            <a:ext cx="2289135" cy="1025861"/>
          </a:xfrm>
          <a:prstGeom prst="rect">
            <a:avLst/>
          </a:prstGeom>
          <a:effectLst/>
        </p:spPr>
      </p:pic>
      <p:pic>
        <p:nvPicPr>
          <p:cNvPr id="13" name="Picture 12">
            <a:extLst>
              <a:ext uri="{FF2B5EF4-FFF2-40B4-BE49-F238E27FC236}">
                <a16:creationId xmlns:a16="http://schemas.microsoft.com/office/drawing/2014/main" id="{A3513913-0014-4DEE-BBDE-576D6D122A4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897360" y="157053"/>
            <a:ext cx="2381330" cy="839342"/>
          </a:xfrm>
          <a:prstGeom prst="rect">
            <a:avLst/>
          </a:prstGeom>
        </p:spPr>
      </p:pic>
      <p:sp>
        <p:nvSpPr>
          <p:cNvPr id="12" name="Title 1">
            <a:extLst>
              <a:ext uri="{FF2B5EF4-FFF2-40B4-BE49-F238E27FC236}">
                <a16:creationId xmlns:a16="http://schemas.microsoft.com/office/drawing/2014/main" id="{7496B139-BB34-438C-8756-0E99E6477D33}"/>
              </a:ext>
            </a:extLst>
          </p:cNvPr>
          <p:cNvSpPr>
            <a:spLocks noGrp="1"/>
          </p:cNvSpPr>
          <p:nvPr>
            <p:ph type="title" hasCustomPrompt="1"/>
          </p:nvPr>
        </p:nvSpPr>
        <p:spPr>
          <a:xfrm>
            <a:off x="7008472" y="3152435"/>
            <a:ext cx="5124400" cy="1181862"/>
          </a:xfrm>
          <a:noFill/>
        </p:spPr>
        <p:txBody>
          <a:bodyPr wrap="square" tIns="91440" bIns="91440" anchor="t" anchorCtr="0">
            <a:noAutofit/>
          </a:bodyPr>
          <a:lstStyle>
            <a:lvl1pPr>
              <a:defRPr sz="7198" spc="-100" baseline="0">
                <a:solidFill>
                  <a:schemeClr val="tx1"/>
                </a:solidFill>
              </a:defRPr>
            </a:lvl1pPr>
          </a:lstStyle>
          <a:p>
            <a:r>
              <a:rPr lang="en-US"/>
              <a:t>Section title</a:t>
            </a:r>
          </a:p>
        </p:txBody>
      </p:sp>
    </p:spTree>
    <p:extLst>
      <p:ext uri="{BB962C8B-B14F-4D97-AF65-F5344CB8AC3E}">
        <p14:creationId xmlns:p14="http://schemas.microsoft.com/office/powerpoint/2010/main" val="27094271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0_Title Only_3">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A9B038-D834-4C83-BB52-5822A153357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6274"/>
            <a:ext cx="9405084" cy="7011794"/>
          </a:xfrm>
          <a:prstGeom prst="rect">
            <a:avLst/>
          </a:prstGeom>
        </p:spPr>
      </p:pic>
      <p:sp>
        <p:nvSpPr>
          <p:cNvPr id="11" name="Rectangle 3">
            <a:extLst>
              <a:ext uri="{FF2B5EF4-FFF2-40B4-BE49-F238E27FC236}">
                <a16:creationId xmlns:a16="http://schemas.microsoft.com/office/drawing/2014/main" id="{70DE48EA-FFA7-4365-8F74-634ABF0BABBF}"/>
              </a:ext>
            </a:extLst>
          </p:cNvPr>
          <p:cNvSpPr/>
          <p:nvPr userDrawn="1"/>
        </p:nvSpPr>
        <p:spPr bwMode="auto">
          <a:xfrm>
            <a:off x="5583459" y="0"/>
            <a:ext cx="6853016" cy="7025832"/>
          </a:xfrm>
          <a:custGeom>
            <a:avLst/>
            <a:gdLst>
              <a:gd name="connsiteX0" fmla="*/ 0 w 6997700"/>
              <a:gd name="connsiteY0" fmla="*/ 0 h 6857999"/>
              <a:gd name="connsiteX1" fmla="*/ 6997700 w 6997700"/>
              <a:gd name="connsiteY1" fmla="*/ 0 h 6857999"/>
              <a:gd name="connsiteX2" fmla="*/ 6997700 w 6997700"/>
              <a:gd name="connsiteY2" fmla="*/ 6857999 h 6857999"/>
              <a:gd name="connsiteX3" fmla="*/ 0 w 6997700"/>
              <a:gd name="connsiteY3" fmla="*/ 6857999 h 6857999"/>
              <a:gd name="connsiteX4" fmla="*/ 0 w 6997700"/>
              <a:gd name="connsiteY4" fmla="*/ 0 h 6857999"/>
              <a:gd name="connsiteX0" fmla="*/ 2755900 w 9753600"/>
              <a:gd name="connsiteY0" fmla="*/ 0 h 6857999"/>
              <a:gd name="connsiteX1" fmla="*/ 9753600 w 9753600"/>
              <a:gd name="connsiteY1" fmla="*/ 0 h 6857999"/>
              <a:gd name="connsiteX2" fmla="*/ 9753600 w 9753600"/>
              <a:gd name="connsiteY2" fmla="*/ 6857999 h 6857999"/>
              <a:gd name="connsiteX3" fmla="*/ 0 w 9753600"/>
              <a:gd name="connsiteY3" fmla="*/ 6845299 h 6857999"/>
              <a:gd name="connsiteX4" fmla="*/ 2755900 w 9753600"/>
              <a:gd name="connsiteY4" fmla="*/ 0 h 6857999"/>
              <a:gd name="connsiteX0" fmla="*/ 1447800 w 8445500"/>
              <a:gd name="connsiteY0" fmla="*/ 0 h 6857999"/>
              <a:gd name="connsiteX1" fmla="*/ 8445500 w 8445500"/>
              <a:gd name="connsiteY1" fmla="*/ 0 h 6857999"/>
              <a:gd name="connsiteX2" fmla="*/ 8445500 w 8445500"/>
              <a:gd name="connsiteY2" fmla="*/ 6857999 h 6857999"/>
              <a:gd name="connsiteX3" fmla="*/ 0 w 8445500"/>
              <a:gd name="connsiteY3" fmla="*/ 6857999 h 6857999"/>
              <a:gd name="connsiteX4" fmla="*/ 1447800 w 8445500"/>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5500" h="6857999">
                <a:moveTo>
                  <a:pt x="1447800" y="0"/>
                </a:moveTo>
                <a:lnTo>
                  <a:pt x="8445500" y="0"/>
                </a:lnTo>
                <a:lnTo>
                  <a:pt x="8445500" y="6857999"/>
                </a:lnTo>
                <a:lnTo>
                  <a:pt x="0" y="6857999"/>
                </a:lnTo>
                <a:lnTo>
                  <a:pt x="144780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1" y="5968663"/>
            <a:ext cx="2289135" cy="1025861"/>
          </a:xfrm>
          <a:prstGeom prst="rect">
            <a:avLst/>
          </a:prstGeom>
          <a:effectLst/>
        </p:spPr>
      </p:pic>
      <p:pic>
        <p:nvPicPr>
          <p:cNvPr id="13" name="Picture 12">
            <a:extLst>
              <a:ext uri="{FF2B5EF4-FFF2-40B4-BE49-F238E27FC236}">
                <a16:creationId xmlns:a16="http://schemas.microsoft.com/office/drawing/2014/main" id="{A3513913-0014-4DEE-BBDE-576D6D122A4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897360" y="157053"/>
            <a:ext cx="2381330" cy="839342"/>
          </a:xfrm>
          <a:prstGeom prst="rect">
            <a:avLst/>
          </a:prstGeom>
        </p:spPr>
      </p:pic>
      <p:sp>
        <p:nvSpPr>
          <p:cNvPr id="12" name="Title 1">
            <a:extLst>
              <a:ext uri="{FF2B5EF4-FFF2-40B4-BE49-F238E27FC236}">
                <a16:creationId xmlns:a16="http://schemas.microsoft.com/office/drawing/2014/main" id="{7496B139-BB34-438C-8756-0E99E6477D33}"/>
              </a:ext>
            </a:extLst>
          </p:cNvPr>
          <p:cNvSpPr>
            <a:spLocks noGrp="1"/>
          </p:cNvSpPr>
          <p:nvPr>
            <p:ph type="title" hasCustomPrompt="1"/>
          </p:nvPr>
        </p:nvSpPr>
        <p:spPr>
          <a:xfrm>
            <a:off x="7008472" y="3152435"/>
            <a:ext cx="5124400" cy="1181862"/>
          </a:xfrm>
          <a:noFill/>
        </p:spPr>
        <p:txBody>
          <a:bodyPr wrap="square" tIns="91440" bIns="91440" anchor="t" anchorCtr="0">
            <a:noAutofit/>
          </a:bodyPr>
          <a:lstStyle>
            <a:lvl1pPr>
              <a:defRPr sz="7198" spc="-100" baseline="0">
                <a:solidFill>
                  <a:schemeClr val="tx1"/>
                </a:solidFill>
              </a:defRPr>
            </a:lvl1pPr>
          </a:lstStyle>
          <a:p>
            <a:r>
              <a:rPr lang="en-US"/>
              <a:t>Section title</a:t>
            </a:r>
          </a:p>
        </p:txBody>
      </p:sp>
    </p:spTree>
    <p:extLst>
      <p:ext uri="{BB962C8B-B14F-4D97-AF65-F5344CB8AC3E}">
        <p14:creationId xmlns:p14="http://schemas.microsoft.com/office/powerpoint/2010/main" val="3808692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_Title Only_3">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A9B038-D834-4C83-BB52-5822A153357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4041"/>
            <a:ext cx="11218737" cy="6998565"/>
          </a:xfrm>
          <a:prstGeom prst="rect">
            <a:avLst/>
          </a:prstGeom>
        </p:spPr>
      </p:pic>
      <p:sp>
        <p:nvSpPr>
          <p:cNvPr id="11" name="Rectangle 3">
            <a:extLst>
              <a:ext uri="{FF2B5EF4-FFF2-40B4-BE49-F238E27FC236}">
                <a16:creationId xmlns:a16="http://schemas.microsoft.com/office/drawing/2014/main" id="{70DE48EA-FFA7-4365-8F74-634ABF0BABBF}"/>
              </a:ext>
            </a:extLst>
          </p:cNvPr>
          <p:cNvSpPr/>
          <p:nvPr userDrawn="1"/>
        </p:nvSpPr>
        <p:spPr bwMode="auto">
          <a:xfrm>
            <a:off x="5583459" y="0"/>
            <a:ext cx="6853016" cy="7025832"/>
          </a:xfrm>
          <a:custGeom>
            <a:avLst/>
            <a:gdLst>
              <a:gd name="connsiteX0" fmla="*/ 0 w 6997700"/>
              <a:gd name="connsiteY0" fmla="*/ 0 h 6857999"/>
              <a:gd name="connsiteX1" fmla="*/ 6997700 w 6997700"/>
              <a:gd name="connsiteY1" fmla="*/ 0 h 6857999"/>
              <a:gd name="connsiteX2" fmla="*/ 6997700 w 6997700"/>
              <a:gd name="connsiteY2" fmla="*/ 6857999 h 6857999"/>
              <a:gd name="connsiteX3" fmla="*/ 0 w 6997700"/>
              <a:gd name="connsiteY3" fmla="*/ 6857999 h 6857999"/>
              <a:gd name="connsiteX4" fmla="*/ 0 w 6997700"/>
              <a:gd name="connsiteY4" fmla="*/ 0 h 6857999"/>
              <a:gd name="connsiteX0" fmla="*/ 2755900 w 9753600"/>
              <a:gd name="connsiteY0" fmla="*/ 0 h 6857999"/>
              <a:gd name="connsiteX1" fmla="*/ 9753600 w 9753600"/>
              <a:gd name="connsiteY1" fmla="*/ 0 h 6857999"/>
              <a:gd name="connsiteX2" fmla="*/ 9753600 w 9753600"/>
              <a:gd name="connsiteY2" fmla="*/ 6857999 h 6857999"/>
              <a:gd name="connsiteX3" fmla="*/ 0 w 9753600"/>
              <a:gd name="connsiteY3" fmla="*/ 6845299 h 6857999"/>
              <a:gd name="connsiteX4" fmla="*/ 2755900 w 9753600"/>
              <a:gd name="connsiteY4" fmla="*/ 0 h 6857999"/>
              <a:gd name="connsiteX0" fmla="*/ 1447800 w 8445500"/>
              <a:gd name="connsiteY0" fmla="*/ 0 h 6857999"/>
              <a:gd name="connsiteX1" fmla="*/ 8445500 w 8445500"/>
              <a:gd name="connsiteY1" fmla="*/ 0 h 6857999"/>
              <a:gd name="connsiteX2" fmla="*/ 8445500 w 8445500"/>
              <a:gd name="connsiteY2" fmla="*/ 6857999 h 6857999"/>
              <a:gd name="connsiteX3" fmla="*/ 0 w 8445500"/>
              <a:gd name="connsiteY3" fmla="*/ 6857999 h 6857999"/>
              <a:gd name="connsiteX4" fmla="*/ 1447800 w 8445500"/>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5500" h="6857999">
                <a:moveTo>
                  <a:pt x="1447800" y="0"/>
                </a:moveTo>
                <a:lnTo>
                  <a:pt x="8445500" y="0"/>
                </a:lnTo>
                <a:lnTo>
                  <a:pt x="8445500" y="6857999"/>
                </a:lnTo>
                <a:lnTo>
                  <a:pt x="0" y="6857999"/>
                </a:lnTo>
                <a:lnTo>
                  <a:pt x="144780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1" y="5968663"/>
            <a:ext cx="2289135" cy="1025861"/>
          </a:xfrm>
          <a:prstGeom prst="rect">
            <a:avLst/>
          </a:prstGeom>
          <a:effectLst/>
        </p:spPr>
      </p:pic>
      <p:pic>
        <p:nvPicPr>
          <p:cNvPr id="13" name="Picture 12">
            <a:extLst>
              <a:ext uri="{FF2B5EF4-FFF2-40B4-BE49-F238E27FC236}">
                <a16:creationId xmlns:a16="http://schemas.microsoft.com/office/drawing/2014/main" id="{A3513913-0014-4DEE-BBDE-576D6D122A4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897360" y="157053"/>
            <a:ext cx="2381330" cy="839342"/>
          </a:xfrm>
          <a:prstGeom prst="rect">
            <a:avLst/>
          </a:prstGeom>
        </p:spPr>
      </p:pic>
      <p:sp>
        <p:nvSpPr>
          <p:cNvPr id="12" name="Title 1">
            <a:extLst>
              <a:ext uri="{FF2B5EF4-FFF2-40B4-BE49-F238E27FC236}">
                <a16:creationId xmlns:a16="http://schemas.microsoft.com/office/drawing/2014/main" id="{7496B139-BB34-438C-8756-0E99E6477D33}"/>
              </a:ext>
            </a:extLst>
          </p:cNvPr>
          <p:cNvSpPr>
            <a:spLocks noGrp="1"/>
          </p:cNvSpPr>
          <p:nvPr>
            <p:ph type="title" hasCustomPrompt="1"/>
          </p:nvPr>
        </p:nvSpPr>
        <p:spPr>
          <a:xfrm>
            <a:off x="7008472" y="3152435"/>
            <a:ext cx="5124400" cy="1181862"/>
          </a:xfrm>
          <a:noFill/>
        </p:spPr>
        <p:txBody>
          <a:bodyPr wrap="square" tIns="91440" bIns="91440" anchor="t" anchorCtr="0">
            <a:noAutofit/>
          </a:bodyPr>
          <a:lstStyle>
            <a:lvl1pPr>
              <a:defRPr sz="7198" spc="-100" baseline="0">
                <a:solidFill>
                  <a:schemeClr val="tx1"/>
                </a:solidFill>
              </a:defRPr>
            </a:lvl1pPr>
          </a:lstStyle>
          <a:p>
            <a:r>
              <a:rPr lang="en-US"/>
              <a:t>Section title</a:t>
            </a:r>
          </a:p>
        </p:txBody>
      </p:sp>
    </p:spTree>
    <p:extLst>
      <p:ext uri="{BB962C8B-B14F-4D97-AF65-F5344CB8AC3E}">
        <p14:creationId xmlns:p14="http://schemas.microsoft.com/office/powerpoint/2010/main" val="220178247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7_Title Only_3">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A9B038-D834-4C83-BB52-5822A153357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0533445" cy="7021302"/>
          </a:xfrm>
          <a:prstGeom prst="rect">
            <a:avLst/>
          </a:prstGeom>
        </p:spPr>
      </p:pic>
      <p:sp>
        <p:nvSpPr>
          <p:cNvPr id="11" name="Rectangle 3">
            <a:extLst>
              <a:ext uri="{FF2B5EF4-FFF2-40B4-BE49-F238E27FC236}">
                <a16:creationId xmlns:a16="http://schemas.microsoft.com/office/drawing/2014/main" id="{70DE48EA-FFA7-4365-8F74-634ABF0BABBF}"/>
              </a:ext>
            </a:extLst>
          </p:cNvPr>
          <p:cNvSpPr/>
          <p:nvPr userDrawn="1"/>
        </p:nvSpPr>
        <p:spPr bwMode="auto">
          <a:xfrm>
            <a:off x="5583459" y="0"/>
            <a:ext cx="6853016" cy="7025832"/>
          </a:xfrm>
          <a:custGeom>
            <a:avLst/>
            <a:gdLst>
              <a:gd name="connsiteX0" fmla="*/ 0 w 6997700"/>
              <a:gd name="connsiteY0" fmla="*/ 0 h 6857999"/>
              <a:gd name="connsiteX1" fmla="*/ 6997700 w 6997700"/>
              <a:gd name="connsiteY1" fmla="*/ 0 h 6857999"/>
              <a:gd name="connsiteX2" fmla="*/ 6997700 w 6997700"/>
              <a:gd name="connsiteY2" fmla="*/ 6857999 h 6857999"/>
              <a:gd name="connsiteX3" fmla="*/ 0 w 6997700"/>
              <a:gd name="connsiteY3" fmla="*/ 6857999 h 6857999"/>
              <a:gd name="connsiteX4" fmla="*/ 0 w 6997700"/>
              <a:gd name="connsiteY4" fmla="*/ 0 h 6857999"/>
              <a:gd name="connsiteX0" fmla="*/ 2755900 w 9753600"/>
              <a:gd name="connsiteY0" fmla="*/ 0 h 6857999"/>
              <a:gd name="connsiteX1" fmla="*/ 9753600 w 9753600"/>
              <a:gd name="connsiteY1" fmla="*/ 0 h 6857999"/>
              <a:gd name="connsiteX2" fmla="*/ 9753600 w 9753600"/>
              <a:gd name="connsiteY2" fmla="*/ 6857999 h 6857999"/>
              <a:gd name="connsiteX3" fmla="*/ 0 w 9753600"/>
              <a:gd name="connsiteY3" fmla="*/ 6845299 h 6857999"/>
              <a:gd name="connsiteX4" fmla="*/ 2755900 w 9753600"/>
              <a:gd name="connsiteY4" fmla="*/ 0 h 6857999"/>
              <a:gd name="connsiteX0" fmla="*/ 1447800 w 8445500"/>
              <a:gd name="connsiteY0" fmla="*/ 0 h 6857999"/>
              <a:gd name="connsiteX1" fmla="*/ 8445500 w 8445500"/>
              <a:gd name="connsiteY1" fmla="*/ 0 h 6857999"/>
              <a:gd name="connsiteX2" fmla="*/ 8445500 w 8445500"/>
              <a:gd name="connsiteY2" fmla="*/ 6857999 h 6857999"/>
              <a:gd name="connsiteX3" fmla="*/ 0 w 8445500"/>
              <a:gd name="connsiteY3" fmla="*/ 6857999 h 6857999"/>
              <a:gd name="connsiteX4" fmla="*/ 1447800 w 8445500"/>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5500" h="6857999">
                <a:moveTo>
                  <a:pt x="1447800" y="0"/>
                </a:moveTo>
                <a:lnTo>
                  <a:pt x="8445500" y="0"/>
                </a:lnTo>
                <a:lnTo>
                  <a:pt x="8445500" y="6857999"/>
                </a:lnTo>
                <a:lnTo>
                  <a:pt x="0" y="6857999"/>
                </a:lnTo>
                <a:lnTo>
                  <a:pt x="144780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1" y="5968663"/>
            <a:ext cx="2289135" cy="1025861"/>
          </a:xfrm>
          <a:prstGeom prst="rect">
            <a:avLst/>
          </a:prstGeom>
          <a:effectLst/>
        </p:spPr>
      </p:pic>
      <p:pic>
        <p:nvPicPr>
          <p:cNvPr id="13" name="Picture 12">
            <a:extLst>
              <a:ext uri="{FF2B5EF4-FFF2-40B4-BE49-F238E27FC236}">
                <a16:creationId xmlns:a16="http://schemas.microsoft.com/office/drawing/2014/main" id="{A3513913-0014-4DEE-BBDE-576D6D122A4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897360" y="157053"/>
            <a:ext cx="2381330" cy="839342"/>
          </a:xfrm>
          <a:prstGeom prst="rect">
            <a:avLst/>
          </a:prstGeom>
        </p:spPr>
      </p:pic>
      <p:sp>
        <p:nvSpPr>
          <p:cNvPr id="12" name="Title 1">
            <a:extLst>
              <a:ext uri="{FF2B5EF4-FFF2-40B4-BE49-F238E27FC236}">
                <a16:creationId xmlns:a16="http://schemas.microsoft.com/office/drawing/2014/main" id="{7496B139-BB34-438C-8756-0E99E6477D33}"/>
              </a:ext>
            </a:extLst>
          </p:cNvPr>
          <p:cNvSpPr>
            <a:spLocks noGrp="1"/>
          </p:cNvSpPr>
          <p:nvPr>
            <p:ph type="title" hasCustomPrompt="1"/>
          </p:nvPr>
        </p:nvSpPr>
        <p:spPr>
          <a:xfrm>
            <a:off x="7008472" y="3152435"/>
            <a:ext cx="5124400" cy="1181862"/>
          </a:xfrm>
          <a:noFill/>
        </p:spPr>
        <p:txBody>
          <a:bodyPr wrap="square" tIns="91440" bIns="91440" anchor="t" anchorCtr="0">
            <a:noAutofit/>
          </a:bodyPr>
          <a:lstStyle>
            <a:lvl1pPr>
              <a:defRPr sz="7198" spc="-100" baseline="0">
                <a:solidFill>
                  <a:schemeClr val="tx1"/>
                </a:solidFill>
              </a:defRPr>
            </a:lvl1pPr>
          </a:lstStyle>
          <a:p>
            <a:r>
              <a:rPr lang="en-US"/>
              <a:t>Section title</a:t>
            </a:r>
          </a:p>
        </p:txBody>
      </p:sp>
    </p:spTree>
    <p:extLst>
      <p:ext uri="{BB962C8B-B14F-4D97-AF65-F5344CB8AC3E}">
        <p14:creationId xmlns:p14="http://schemas.microsoft.com/office/powerpoint/2010/main" val="32134414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2_Title Only_3">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7A9B038-D834-4C83-BB52-5822A153357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1" y="-4545"/>
            <a:ext cx="7950795" cy="7007307"/>
          </a:xfrm>
          <a:prstGeom prst="rect">
            <a:avLst/>
          </a:prstGeom>
        </p:spPr>
      </p:pic>
      <p:sp>
        <p:nvSpPr>
          <p:cNvPr id="11" name="Rectangle 3">
            <a:extLst>
              <a:ext uri="{FF2B5EF4-FFF2-40B4-BE49-F238E27FC236}">
                <a16:creationId xmlns:a16="http://schemas.microsoft.com/office/drawing/2014/main" id="{70DE48EA-FFA7-4365-8F74-634ABF0BABBF}"/>
              </a:ext>
            </a:extLst>
          </p:cNvPr>
          <p:cNvSpPr/>
          <p:nvPr userDrawn="1"/>
        </p:nvSpPr>
        <p:spPr bwMode="auto">
          <a:xfrm>
            <a:off x="5583459" y="0"/>
            <a:ext cx="6853016" cy="7025832"/>
          </a:xfrm>
          <a:custGeom>
            <a:avLst/>
            <a:gdLst>
              <a:gd name="connsiteX0" fmla="*/ 0 w 6997700"/>
              <a:gd name="connsiteY0" fmla="*/ 0 h 6857999"/>
              <a:gd name="connsiteX1" fmla="*/ 6997700 w 6997700"/>
              <a:gd name="connsiteY1" fmla="*/ 0 h 6857999"/>
              <a:gd name="connsiteX2" fmla="*/ 6997700 w 6997700"/>
              <a:gd name="connsiteY2" fmla="*/ 6857999 h 6857999"/>
              <a:gd name="connsiteX3" fmla="*/ 0 w 6997700"/>
              <a:gd name="connsiteY3" fmla="*/ 6857999 h 6857999"/>
              <a:gd name="connsiteX4" fmla="*/ 0 w 6997700"/>
              <a:gd name="connsiteY4" fmla="*/ 0 h 6857999"/>
              <a:gd name="connsiteX0" fmla="*/ 2755900 w 9753600"/>
              <a:gd name="connsiteY0" fmla="*/ 0 h 6857999"/>
              <a:gd name="connsiteX1" fmla="*/ 9753600 w 9753600"/>
              <a:gd name="connsiteY1" fmla="*/ 0 h 6857999"/>
              <a:gd name="connsiteX2" fmla="*/ 9753600 w 9753600"/>
              <a:gd name="connsiteY2" fmla="*/ 6857999 h 6857999"/>
              <a:gd name="connsiteX3" fmla="*/ 0 w 9753600"/>
              <a:gd name="connsiteY3" fmla="*/ 6845299 h 6857999"/>
              <a:gd name="connsiteX4" fmla="*/ 2755900 w 9753600"/>
              <a:gd name="connsiteY4" fmla="*/ 0 h 6857999"/>
              <a:gd name="connsiteX0" fmla="*/ 1447800 w 8445500"/>
              <a:gd name="connsiteY0" fmla="*/ 0 h 6857999"/>
              <a:gd name="connsiteX1" fmla="*/ 8445500 w 8445500"/>
              <a:gd name="connsiteY1" fmla="*/ 0 h 6857999"/>
              <a:gd name="connsiteX2" fmla="*/ 8445500 w 8445500"/>
              <a:gd name="connsiteY2" fmla="*/ 6857999 h 6857999"/>
              <a:gd name="connsiteX3" fmla="*/ 0 w 8445500"/>
              <a:gd name="connsiteY3" fmla="*/ 6857999 h 6857999"/>
              <a:gd name="connsiteX4" fmla="*/ 1447800 w 8445500"/>
              <a:gd name="connsiteY4" fmla="*/ 0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45500" h="6857999">
                <a:moveTo>
                  <a:pt x="1447800" y="0"/>
                </a:moveTo>
                <a:lnTo>
                  <a:pt x="8445500" y="0"/>
                </a:lnTo>
                <a:lnTo>
                  <a:pt x="8445500" y="6857999"/>
                </a:lnTo>
                <a:lnTo>
                  <a:pt x="0" y="6857999"/>
                </a:lnTo>
                <a:lnTo>
                  <a:pt x="144780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pic>
        <p:nvPicPr>
          <p:cNvPr id="8" name="MS logo white - EMF">
            <a:extLst>
              <a:ext uri="{FF2B5EF4-FFF2-40B4-BE49-F238E27FC236}">
                <a16:creationId xmlns:a16="http://schemas.microsoft.com/office/drawing/2014/main" id="{E6DFAB15-7B30-441D-8922-CF63D012754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1" y="5968663"/>
            <a:ext cx="2289135" cy="1025861"/>
          </a:xfrm>
          <a:prstGeom prst="rect">
            <a:avLst/>
          </a:prstGeom>
          <a:effectLst/>
        </p:spPr>
      </p:pic>
      <p:pic>
        <p:nvPicPr>
          <p:cNvPr id="13" name="Picture 12">
            <a:extLst>
              <a:ext uri="{FF2B5EF4-FFF2-40B4-BE49-F238E27FC236}">
                <a16:creationId xmlns:a16="http://schemas.microsoft.com/office/drawing/2014/main" id="{A3513913-0014-4DEE-BBDE-576D6D122A46}"/>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897360" y="157053"/>
            <a:ext cx="2381330" cy="839342"/>
          </a:xfrm>
          <a:prstGeom prst="rect">
            <a:avLst/>
          </a:prstGeom>
        </p:spPr>
      </p:pic>
      <p:sp>
        <p:nvSpPr>
          <p:cNvPr id="12" name="Title 1">
            <a:extLst>
              <a:ext uri="{FF2B5EF4-FFF2-40B4-BE49-F238E27FC236}">
                <a16:creationId xmlns:a16="http://schemas.microsoft.com/office/drawing/2014/main" id="{7496B139-BB34-438C-8756-0E99E6477D33}"/>
              </a:ext>
            </a:extLst>
          </p:cNvPr>
          <p:cNvSpPr>
            <a:spLocks noGrp="1"/>
          </p:cNvSpPr>
          <p:nvPr>
            <p:ph type="title" hasCustomPrompt="1"/>
          </p:nvPr>
        </p:nvSpPr>
        <p:spPr>
          <a:xfrm>
            <a:off x="7008472" y="3152435"/>
            <a:ext cx="5124400" cy="1181862"/>
          </a:xfrm>
          <a:noFill/>
        </p:spPr>
        <p:txBody>
          <a:bodyPr wrap="square" tIns="91440" bIns="91440" anchor="t" anchorCtr="0">
            <a:noAutofit/>
          </a:bodyPr>
          <a:lstStyle>
            <a:lvl1pPr>
              <a:defRPr sz="7198" spc="-100" baseline="0">
                <a:solidFill>
                  <a:schemeClr val="tx1"/>
                </a:solidFill>
              </a:defRPr>
            </a:lvl1pPr>
          </a:lstStyle>
          <a:p>
            <a:r>
              <a:rPr lang="en-US"/>
              <a:t>Section title</a:t>
            </a:r>
          </a:p>
        </p:txBody>
      </p:sp>
    </p:spTree>
    <p:extLst>
      <p:ext uri="{BB962C8B-B14F-4D97-AF65-F5344CB8AC3E}">
        <p14:creationId xmlns:p14="http://schemas.microsoft.com/office/powerpoint/2010/main" val="4087200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63883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5" name="Picture 4" descr="A picture containing indoor, person, floor, building&#10;&#10;Description generated with very high confidence">
            <a:extLst>
              <a:ext uri="{FF2B5EF4-FFF2-40B4-BE49-F238E27FC236}">
                <a16:creationId xmlns:a16="http://schemas.microsoft.com/office/drawing/2014/main" id="{56AEA8EA-FFF8-4D86-BD1F-20DCCEB0E64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5" cy="6994525"/>
          </a:xfrm>
          <a:prstGeom prst="rect">
            <a:avLst/>
          </a:prstGeom>
        </p:spPr>
      </p:pic>
      <p:sp>
        <p:nvSpPr>
          <p:cNvPr id="10" name="Rectangle 9"/>
          <p:cNvSpPr/>
          <p:nvPr userDrawn="1"/>
        </p:nvSpPr>
        <p:spPr bwMode="auto">
          <a:xfrm>
            <a:off x="1" y="0"/>
            <a:ext cx="12436474" cy="6994525"/>
          </a:xfrm>
          <a:prstGeom prst="rect">
            <a:avLst/>
          </a:prstGeom>
          <a:gradFill flip="none" rotWithShape="1">
            <a:gsLst>
              <a:gs pos="22000">
                <a:srgbClr val="000000">
                  <a:alpha val="41000"/>
                </a:srgbClr>
              </a:gs>
              <a:gs pos="89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701179"/>
            <a:ext cx="6400736" cy="1828800"/>
          </a:xfrm>
          <a:noFill/>
        </p:spPr>
        <p:txBody>
          <a:bodyPr lIns="146304" tIns="91440" rIns="146304" bIns="91440" anchor="t" anchorCtr="0"/>
          <a:lstStyle>
            <a:lvl1pPr>
              <a:defRPr sz="4800" spc="-100"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73050" y="4868863"/>
            <a:ext cx="6402388" cy="553998"/>
          </a:xfrm>
        </p:spPr>
        <p:txBody>
          <a:bodyPr wrap="square" lIns="164592" tIns="109728" rIns="164592" bIns="109728">
            <a:spAutoFit/>
          </a:bodyPr>
          <a:lstStyle>
            <a:lvl1pPr marL="0" indent="0">
              <a:spcBef>
                <a:spcPts val="0"/>
              </a:spcBef>
              <a:buNone/>
              <a:defRPr sz="2400">
                <a:solidFill>
                  <a:schemeClr val="bg1"/>
                </a:solidFill>
                <a:latin typeface="+mn-lt"/>
              </a:defRPr>
            </a:lvl1pPr>
          </a:lstStyle>
          <a:p>
            <a:pPr lvl="0"/>
            <a:r>
              <a:rPr lang="en-US"/>
              <a:t>Speaker name</a:t>
            </a:r>
          </a:p>
        </p:txBody>
      </p:sp>
      <p:pic>
        <p:nvPicPr>
          <p:cNvPr id="8" name="MS logo white - EMF"/>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60688" y="6233445"/>
            <a:ext cx="1451843" cy="310896"/>
          </a:xfrm>
          <a:prstGeom prst="rect">
            <a:avLst/>
          </a:prstGeom>
        </p:spPr>
      </p:pic>
    </p:spTree>
    <p:extLst>
      <p:ext uri="{BB962C8B-B14F-4D97-AF65-F5344CB8AC3E}">
        <p14:creationId xmlns:p14="http://schemas.microsoft.com/office/powerpoint/2010/main" val="173820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S end card">
    <p:bg>
      <p:bgPr>
        <a:solidFill>
          <a:schemeClr val="accent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68439" y="3207650"/>
            <a:ext cx="3354447" cy="718469"/>
          </a:xfrm>
          <a:prstGeom prst="rect">
            <a:avLst/>
          </a:prstGeom>
        </p:spPr>
      </p:pic>
    </p:spTree>
    <p:extLst>
      <p:ext uri="{BB962C8B-B14F-4D97-AF65-F5344CB8AC3E}">
        <p14:creationId xmlns:p14="http://schemas.microsoft.com/office/powerpoint/2010/main" val="26810242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95466E1-8DB0-4514-AEFC-AA351834D75B}" type="datetimeFigureOut">
              <a:rPr lang="en-US" smtClean="0"/>
              <a:t>10/26/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41614B7-F506-4508-8C39-DD98EFC0EFEC}" type="slidenum">
              <a:rPr lang="en-US" smtClean="0"/>
              <a:t>‹#›</a:t>
            </a:fld>
            <a:endParaRPr lang="en-US"/>
          </a:p>
        </p:txBody>
      </p:sp>
    </p:spTree>
    <p:extLst>
      <p:ext uri="{BB962C8B-B14F-4D97-AF65-F5344CB8AC3E}">
        <p14:creationId xmlns:p14="http://schemas.microsoft.com/office/powerpoint/2010/main" val="44218132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2"/>
          </p:nvPr>
        </p:nvSpPr>
        <p:spPr/>
        <p:txBody>
          <a:bodyPr/>
          <a:lstStyle/>
          <a:p>
            <a:r>
              <a:t>Footer</a:t>
            </a:r>
          </a:p>
        </p:txBody>
      </p:sp>
    </p:spTree>
    <p:extLst>
      <p:ext uri="{BB962C8B-B14F-4D97-AF65-F5344CB8AC3E}">
        <p14:creationId xmlns:p14="http://schemas.microsoft.com/office/powerpoint/2010/main" val="3246908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87175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7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 y="585024"/>
            <a:ext cx="12436475" cy="380490"/>
          </a:xfrm>
          <a:prstGeom prst="rect">
            <a:avLst/>
          </a:prstGeom>
        </p:spPr>
        <p:txBody>
          <a:bodyPr lIns="320040" tIns="53325" rIns="53325" bIns="53325">
            <a:noAutofit/>
          </a:bodyPr>
          <a:lstStyle>
            <a:lvl1pPr marL="0" indent="0">
              <a:buNone/>
              <a:defRPr sz="2856">
                <a:solidFill>
                  <a:schemeClr val="tx1"/>
                </a:solidFill>
                <a:latin typeface="Segoe UI Light" pitchFamily="34" charset="0"/>
              </a:defRPr>
            </a:lvl1pPr>
            <a:lvl2pPr marL="287224" indent="0">
              <a:buNone/>
              <a:defRPr/>
            </a:lvl2pPr>
            <a:lvl3pPr marL="600071" indent="0">
              <a:buNone/>
              <a:defRPr/>
            </a:lvl3pPr>
            <a:lvl4pPr marL="887296" indent="0">
              <a:buNone/>
              <a:defRPr/>
            </a:lvl4pPr>
            <a:lvl5pPr marL="1127323" indent="0">
              <a:buNone/>
              <a:defRPr/>
            </a:lvl5pPr>
          </a:lstStyle>
          <a:p>
            <a:pPr lvl="0"/>
            <a:r>
              <a:rPr lang="en-US"/>
              <a:t>Click to add subtitle</a:t>
            </a:r>
          </a:p>
        </p:txBody>
      </p:sp>
      <p:sp>
        <p:nvSpPr>
          <p:cNvPr id="3" name="Footer Placeholder 2"/>
          <p:cNvSpPr>
            <a:spLocks noGrp="1"/>
          </p:cNvSpPr>
          <p:nvPr>
            <p:ph type="ftr" sz="quarter" idx="14"/>
          </p:nvPr>
        </p:nvSpPr>
        <p:spPr/>
        <p:txBody>
          <a:bodyPr/>
          <a:lstStyle/>
          <a:p>
            <a:pPr defTabSz="1109545"/>
            <a:endParaRPr lang="en-US">
              <a:solidFill>
                <a:srgbClr val="505050"/>
              </a:solidFill>
            </a:endParaRPr>
          </a:p>
        </p:txBody>
      </p:sp>
    </p:spTree>
    <p:extLst>
      <p:ext uri="{BB962C8B-B14F-4D97-AF65-F5344CB8AC3E}">
        <p14:creationId xmlns:p14="http://schemas.microsoft.com/office/powerpoint/2010/main" val="264809851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quare photo">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896" spc="-100" baseline="0">
                <a:solidFill>
                  <a:schemeClr val="tx1"/>
                </a:solidFill>
                <a:latin typeface="+mj-lt"/>
              </a:defRPr>
            </a:lvl1pPr>
          </a:lstStyle>
          <a:p>
            <a:r>
              <a:rPr lang="en-US"/>
              <a:t>Presentation title</a:t>
            </a:r>
          </a:p>
        </p:txBody>
      </p:sp>
      <p:sp>
        <p:nvSpPr>
          <p:cNvPr id="3" name="Text Placeholder 2"/>
          <p:cNvSpPr>
            <a:spLocks noGrp="1"/>
          </p:cNvSpPr>
          <p:nvPr>
            <p:ph type="body" sz="quarter" idx="14" hasCustomPrompt="1"/>
          </p:nvPr>
        </p:nvSpPr>
        <p:spPr bwMode="auto">
          <a:xfrm>
            <a:off x="273050" y="5052339"/>
            <a:ext cx="4937760" cy="731528"/>
          </a:xfrm>
        </p:spPr>
        <p:txBody>
          <a:bodyPr lIns="164592" tIns="109728" rIns="164592" bIns="109728">
            <a:noAutofit/>
          </a:bodyPr>
          <a:lstStyle>
            <a:lvl1pPr marL="0" indent="0">
              <a:spcBef>
                <a:spcPts val="0"/>
              </a:spcBef>
              <a:buNone/>
              <a:defRPr lang="en-US" sz="3264" kern="1200" spc="0" baseline="0" dirty="0">
                <a:solidFill>
                  <a:schemeClr val="tx1"/>
                </a:solidFill>
                <a:latin typeface="+mj-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Tree>
    <p:extLst>
      <p:ext uri="{BB962C8B-B14F-4D97-AF65-F5344CB8AC3E}">
        <p14:creationId xmlns:p14="http://schemas.microsoft.com/office/powerpoint/2010/main" val="14390542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11265"/>
            <a:ext cx="9143936" cy="1828800"/>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74702" y="3040064"/>
            <a:ext cx="9143937" cy="730183"/>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74639" y="3770247"/>
            <a:ext cx="9144000" cy="461665"/>
          </a:xfrm>
        </p:spPr>
        <p:txBody>
          <a:bodyPr/>
          <a:lstStyle>
            <a:lvl1pPr marL="0" indent="0">
              <a:buNone/>
              <a:defRPr lang="en-US" sz="200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2361408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4709" cy="6994524"/>
          </a:xfrm>
          <a:prstGeom prst="rect">
            <a:avLst/>
          </a:prstGeom>
        </p:spPr>
      </p:pic>
      <p:sp>
        <p:nvSpPr>
          <p:cNvPr id="2" name="Rectangle 1"/>
          <p:cNvSpPr/>
          <p:nvPr userDrawn="1"/>
        </p:nvSpPr>
        <p:spPr bwMode="auto">
          <a:xfrm>
            <a:off x="273050" y="2125663"/>
            <a:ext cx="6400800" cy="3657600"/>
          </a:xfrm>
          <a:prstGeom prst="rect">
            <a:avLst/>
          </a:prstGeom>
          <a:solidFill>
            <a:srgbClr val="FFFFFF">
              <a:alpha val="8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3" y="2119178"/>
            <a:ext cx="6400736" cy="1828800"/>
          </a:xfrm>
          <a:noFill/>
        </p:spPr>
        <p:txBody>
          <a:bodyPr lIns="146304" tIns="91440" rIns="146304" bIns="91440" anchor="t" anchorCtr="0"/>
          <a:lstStyle>
            <a:lvl1pPr>
              <a:defRPr sz="4799" spc="-100" baseline="0">
                <a:gradFill>
                  <a:gsLst>
                    <a:gs pos="1307">
                      <a:srgbClr val="353535"/>
                    </a:gs>
                    <a:gs pos="30000">
                      <a:srgbClr val="353535"/>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4"/>
            <a:ext cx="6402388" cy="664797"/>
          </a:xfrm>
        </p:spPr>
        <p:txBody>
          <a:bodyPr wrap="square" lIns="164592" tIns="109728" rIns="164592" bIns="109728">
            <a:spAutoFit/>
          </a:bodyPr>
          <a:lstStyle>
            <a:lvl1pPr marL="0" indent="0">
              <a:spcBef>
                <a:spcPts val="0"/>
              </a:spcBef>
              <a:buNone/>
              <a:defRPr sz="3199">
                <a:gradFill>
                  <a:gsLst>
                    <a:gs pos="1307">
                      <a:srgbClr val="353535"/>
                    </a:gs>
                    <a:gs pos="30000">
                      <a:srgbClr val="353535"/>
                    </a:gs>
                  </a:gsLst>
                  <a:lin ang="5400000" scaled="0"/>
                </a:gradFill>
                <a:latin typeface="+mn-lt"/>
              </a:defRPr>
            </a:lvl1pPr>
          </a:lstStyle>
          <a:p>
            <a:pPr lvl="0"/>
            <a:r>
              <a:rPr lang="en-US"/>
              <a:t>Speaker name</a:t>
            </a: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313086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6208933"/>
            <a:ext cx="1452989" cy="310896"/>
          </a:xfrm>
          <a:prstGeom prst="rect">
            <a:avLst/>
          </a:prstGeom>
        </p:spPr>
      </p:pic>
    </p:spTree>
    <p:extLst>
      <p:ext uri="{BB962C8B-B14F-4D97-AF65-F5344CB8AC3E}">
        <p14:creationId xmlns:p14="http://schemas.microsoft.com/office/powerpoint/2010/main" val="28728511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9"/>
            <a:ext cx="4937760" cy="1835285"/>
          </a:xfrm>
          <a:noFill/>
        </p:spPr>
        <p:txBody>
          <a:bodyPr lIns="146304" tIns="91440" rIns="146304" bIns="91440" anchor="t" anchorCtr="0"/>
          <a:lstStyle>
            <a:lvl1pPr>
              <a:defRPr sz="4896" spc="-100" baseline="0">
                <a:solidFill>
                  <a:schemeClr val="tx1"/>
                </a:solidFill>
                <a:latin typeface="+mj-lt"/>
              </a:defRPr>
            </a:lvl1pPr>
          </a:lstStyle>
          <a:p>
            <a:r>
              <a:rPr lang="en-US"/>
              <a:t>Presentation title</a:t>
            </a:r>
          </a:p>
        </p:txBody>
      </p:sp>
      <p:sp>
        <p:nvSpPr>
          <p:cNvPr id="3" name="Text Placeholder 2"/>
          <p:cNvSpPr>
            <a:spLocks noGrp="1"/>
          </p:cNvSpPr>
          <p:nvPr>
            <p:ph type="body" sz="quarter" idx="14" hasCustomPrompt="1"/>
          </p:nvPr>
        </p:nvSpPr>
        <p:spPr bwMode="auto">
          <a:xfrm>
            <a:off x="273050" y="5052339"/>
            <a:ext cx="4937760" cy="731528"/>
          </a:xfrm>
        </p:spPr>
        <p:txBody>
          <a:bodyPr lIns="164592" tIns="109728" rIns="164592" bIns="109728">
            <a:noAutofit/>
          </a:bodyPr>
          <a:lstStyle>
            <a:lvl1pPr marL="0" indent="0">
              <a:spcBef>
                <a:spcPts val="0"/>
              </a:spcBef>
              <a:buNone/>
              <a:defRPr lang="en-US" sz="3264" kern="1200" spc="0" baseline="0" dirty="0">
                <a:solidFill>
                  <a:schemeClr val="tx1"/>
                </a:solidFill>
                <a:latin typeface="+mj-lt"/>
                <a:ea typeface="+mn-ea"/>
                <a:cs typeface="+mn-cs"/>
              </a:defRPr>
            </a:lvl1pPr>
          </a:lstStyle>
          <a:p>
            <a:pPr marL="0" marR="0" lvl="0" indent="0" algn="l" defTabSz="932563"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spTree>
    <p:extLst>
      <p:ext uri="{BB962C8B-B14F-4D97-AF65-F5344CB8AC3E}">
        <p14:creationId xmlns:p14="http://schemas.microsoft.com/office/powerpoint/2010/main" val="4501126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88" y="6233445"/>
            <a:ext cx="1451843" cy="310896"/>
          </a:xfrm>
          <a:prstGeom prst="rect">
            <a:avLst/>
          </a:prstGeom>
        </p:spPr>
      </p:pic>
    </p:spTree>
    <p:extLst>
      <p:ext uri="{BB962C8B-B14F-4D97-AF65-F5344CB8AC3E}">
        <p14:creationId xmlns:p14="http://schemas.microsoft.com/office/powerpoint/2010/main" val="30987362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16656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8987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588641433"/>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110707877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5FE35C-161E-446E-A8D2-56593ABADF96}"/>
              </a:ext>
            </a:extLst>
          </p:cNvPr>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60433"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E55FE35C-161E-446E-A8D2-56593ABADF96}"/>
                          </a:ext>
                        </a:extLst>
                      </p:cNvPr>
                      <p:cNvPicPr/>
                      <p:nvPr/>
                    </p:nvPicPr>
                    <p:blipFill>
                      <a:blip r:embed="rId5"/>
                      <a:stretch>
                        <a:fillRect/>
                      </a:stretch>
                    </p:blipFill>
                    <p:spPr>
                      <a:xfrm>
                        <a:off x="1620" y="1620"/>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400033976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818018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4076174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7644268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41019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4"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836273381"/>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74702" y="2119178"/>
            <a:ext cx="4937760" cy="1835285"/>
          </a:xfrm>
          <a:noFill/>
        </p:spPr>
        <p:txBody>
          <a:bodyPr lIns="146304" tIns="91440" rIns="146304" bIns="91440" anchor="t" anchorCtr="0"/>
          <a:lstStyle>
            <a:lvl1pPr>
              <a:defRPr sz="4800" spc="-100"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4937760" cy="731528"/>
          </a:xfrm>
        </p:spPr>
        <p:txBody>
          <a:bodyPr lIns="164592" tIns="109728" rIns="164592" bIns="109728">
            <a:noAutofit/>
          </a:bodyPr>
          <a:lstStyle>
            <a:lvl1pPr marL="0" indent="0">
              <a:spcBef>
                <a:spcPts val="0"/>
              </a:spcBef>
              <a:buNone/>
              <a:defRPr lang="en-US" sz="3200"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MS logo white - EMF"/>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60688" y="6233445"/>
            <a:ext cx="1451843" cy="310896"/>
          </a:xfrm>
          <a:prstGeom prst="rect">
            <a:avLst/>
          </a:prstGeom>
        </p:spPr>
      </p:pic>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440364" y="-2896"/>
            <a:ext cx="6994348" cy="6994525"/>
          </a:xfrm>
          <a:prstGeom prst="rect">
            <a:avLst/>
          </a:prstGeom>
        </p:spPr>
      </p:pic>
    </p:spTree>
    <p:extLst>
      <p:ext uri="{BB962C8B-B14F-4D97-AF65-F5344CB8AC3E}">
        <p14:creationId xmlns:p14="http://schemas.microsoft.com/office/powerpoint/2010/main" val="9521448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EA4E313-08EA-49DC-8557-F45688267C88}"/>
              </a:ext>
            </a:extLst>
          </p:cNvPr>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66577"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BEA4E313-08EA-49DC-8557-F45688267C88}"/>
                          </a:ext>
                        </a:extLst>
                      </p:cNvPr>
                      <p:cNvPicPr/>
                      <p:nvPr/>
                    </p:nvPicPr>
                    <p:blipFill>
                      <a:blip r:embed="rId5"/>
                      <a:stretch>
                        <a:fillRect/>
                      </a:stretch>
                    </p:blipFill>
                    <p:spPr>
                      <a:xfrm>
                        <a:off x="1620" y="1620"/>
                        <a:ext cx="1619" cy="1619"/>
                      </a:xfrm>
                      <a:prstGeom prst="rect">
                        <a:avLst/>
                      </a:prstGeom>
                    </p:spPr>
                  </p:pic>
                </p:oleObj>
              </mc:Fallback>
            </mc:AlternateContent>
          </a:graphicData>
        </a:graphic>
      </p:graphicFrame>
    </p:spTree>
    <p:extLst>
      <p:ext uri="{BB962C8B-B14F-4D97-AF65-F5344CB8AC3E}">
        <p14:creationId xmlns:p14="http://schemas.microsoft.com/office/powerpoint/2010/main" val="244714485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0674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2270177"/>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69264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581" y="484854"/>
            <a:ext cx="1452989" cy="310896"/>
          </a:xfrm>
          <a:prstGeom prst="rect">
            <a:avLst/>
          </a:prstGeom>
        </p:spPr>
      </p:pic>
    </p:spTree>
    <p:extLst>
      <p:ext uri="{BB962C8B-B14F-4D97-AF65-F5344CB8AC3E}">
        <p14:creationId xmlns:p14="http://schemas.microsoft.com/office/powerpoint/2010/main" val="95297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2027220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Video slide 2">
    <p:bg>
      <p:bgPr>
        <a:solidFill>
          <a:srgbClr val="5C2D9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09974"/>
            <a:ext cx="10056812" cy="2751698"/>
          </a:xfrm>
          <a:noFill/>
        </p:spPr>
        <p:txBody>
          <a:bodyPr tIns="91440" bIns="91440" anchor="t" anchorCtr="0"/>
          <a:lstStyle>
            <a:lvl1pPr>
              <a:defRPr sz="7198" spc="-101" baseline="0">
                <a:gradFill>
                  <a:gsLst>
                    <a:gs pos="5833">
                      <a:schemeClr val="tx1"/>
                    </a:gs>
                    <a:gs pos="18000">
                      <a:schemeClr val="tx1"/>
                    </a:gs>
                  </a:gsLst>
                  <a:lin ang="5400000" scaled="0"/>
                </a:gradFill>
              </a:defRPr>
            </a:lvl1pPr>
          </a:lstStyle>
          <a:p>
            <a:r>
              <a:rPr lang="en-US"/>
              <a:t>Video title</a:t>
            </a:r>
          </a:p>
        </p:txBody>
      </p:sp>
      <p:sp>
        <p:nvSpPr>
          <p:cNvPr id="3" name="TextBox 2"/>
          <p:cNvSpPr txBox="1"/>
          <p:nvPr userDrawn="1"/>
        </p:nvSpPr>
        <p:spPr>
          <a:xfrm>
            <a:off x="4911626" y="6696182"/>
            <a:ext cx="2621557" cy="298344"/>
          </a:xfrm>
          <a:prstGeom prst="rect">
            <a:avLst/>
          </a:prstGeom>
          <a:noFill/>
        </p:spPr>
        <p:txBody>
          <a:bodyPr wrap="none" lIns="134445" tIns="107555" rIns="134445" bIns="107555" rtlCol="0">
            <a:noAutofit/>
          </a:bodyPr>
          <a:lstStyle/>
          <a:p>
            <a:pPr defTabSz="685766">
              <a:lnSpc>
                <a:spcPct val="90000"/>
              </a:lnSpc>
              <a:spcAft>
                <a:spcPts val="441"/>
              </a:spcAft>
            </a:pPr>
            <a:r>
              <a:rPr lang="en-US" sz="882">
                <a:gradFill>
                  <a:gsLst>
                    <a:gs pos="74336">
                      <a:srgbClr val="FFFFFF">
                        <a:lumMod val="50000"/>
                      </a:srgbClr>
                    </a:gs>
                    <a:gs pos="39000">
                      <a:srgbClr val="FFFFFF">
                        <a:lumMod val="50000"/>
                      </a:srgbClr>
                    </a:gs>
                  </a:gsLst>
                  <a:lin ang="0" scaled="0"/>
                </a:gradFill>
              </a:rPr>
              <a:t>MICROSOFT CONFIDENTIAL—INTERNAL ONLY</a:t>
            </a:r>
          </a:p>
        </p:txBody>
      </p:sp>
    </p:spTree>
    <p:extLst>
      <p:ext uri="{BB962C8B-B14F-4D97-AF65-F5344CB8AC3E}">
        <p14:creationId xmlns:p14="http://schemas.microsoft.com/office/powerpoint/2010/main" val="20777404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8773876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9" name="Picture 18"/>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675438" y="479427"/>
            <a:ext cx="5303837" cy="2560637"/>
          </a:xfrm>
          <a:prstGeom prst="rect">
            <a:avLst/>
          </a:prstGeom>
        </p:spPr>
      </p:pic>
      <p:pic>
        <p:nvPicPr>
          <p:cNvPr id="21" name="Picture 20"/>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675433" y="3220277"/>
            <a:ext cx="2651726" cy="1557134"/>
          </a:xfrm>
          <a:prstGeom prst="rect">
            <a:avLst/>
          </a:prstGeom>
        </p:spPr>
      </p:pic>
      <p:pic>
        <p:nvPicPr>
          <p:cNvPr id="23" name="Picture 22"/>
          <p:cNvPicPr>
            <a:picLocks noChangeAspect="1"/>
          </p:cNvPicPr>
          <p:nvPr userDrawn="1"/>
        </p:nvPicPr>
        <p:blipFill rotWithShape="1">
          <a:blip r:embed="rId4" cstate="email">
            <a:extLst>
              <a:ext uri="{28A0092B-C50C-407E-A947-70E740481C1C}">
                <a14:useLocalDpi xmlns:a14="http://schemas.microsoft.com/office/drawing/2010/main"/>
              </a:ext>
            </a:extLst>
          </a:blip>
          <a:srcRect b="-111"/>
          <a:stretch/>
        </p:blipFill>
        <p:spPr>
          <a:xfrm>
            <a:off x="9508244" y="3220276"/>
            <a:ext cx="2470651" cy="3297346"/>
          </a:xfrm>
          <a:prstGeom prst="rect">
            <a:avLst/>
          </a:prstGeom>
        </p:spPr>
      </p:pic>
      <p:pic>
        <p:nvPicPr>
          <p:cNvPr id="25" name="Picture 24"/>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6675433" y="4958953"/>
            <a:ext cx="2651720" cy="1555004"/>
          </a:xfrm>
          <a:prstGeom prst="rect">
            <a:avLst/>
          </a:prstGeom>
        </p:spPr>
      </p:pic>
      <p:sp>
        <p:nvSpPr>
          <p:cNvPr id="9" name="Title 1"/>
          <p:cNvSpPr>
            <a:spLocks noGrp="1"/>
          </p:cNvSpPr>
          <p:nvPr>
            <p:ph type="title" hasCustomPrompt="1"/>
          </p:nvPr>
        </p:nvSpPr>
        <p:spPr>
          <a:xfrm>
            <a:off x="274703" y="1302726"/>
            <a:ext cx="6126413" cy="1828786"/>
          </a:xfrm>
          <a:noFill/>
        </p:spPr>
        <p:txBody>
          <a:bodyPr lIns="146304" tIns="91440" rIns="146304" bIns="91440" anchor="b" anchorCtr="0"/>
          <a:lstStyle>
            <a:lvl1pPr>
              <a:defRPr sz="5399" spc="-100" baseline="0">
                <a:gradFill>
                  <a:gsLst>
                    <a:gs pos="91000">
                      <a:schemeClr val="bg1"/>
                    </a:gs>
                    <a:gs pos="1000">
                      <a:schemeClr val="bg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132834"/>
            <a:ext cx="6126414" cy="1004501"/>
          </a:xfrm>
          <a:noFill/>
        </p:spPr>
        <p:txBody>
          <a:bodyPr lIns="146304" tIns="109728" rIns="146304" bIns="109728">
            <a:noAutofit/>
          </a:bodyPr>
          <a:lstStyle>
            <a:lvl1pPr marL="0" indent="0">
              <a:spcBef>
                <a:spcPts val="0"/>
              </a:spcBef>
              <a:buNone/>
              <a:defRPr sz="3199" spc="0" baseline="0">
                <a:gradFill>
                  <a:gsLst>
                    <a:gs pos="91000">
                      <a:schemeClr val="bg1"/>
                    </a:gs>
                    <a:gs pos="1000">
                      <a:schemeClr val="bg1"/>
                    </a:gs>
                  </a:gsLst>
                  <a:lin ang="5400000" scaled="0"/>
                </a:gradFill>
                <a:latin typeface="+mj-lt"/>
              </a:defRPr>
            </a:lvl1pPr>
          </a:lstStyle>
          <a:p>
            <a:pPr lvl="0"/>
            <a:r>
              <a:rPr lang="en-US"/>
              <a:t>Delivering excellence in </a:t>
            </a:r>
            <a:br>
              <a:rPr lang="en-US"/>
            </a:br>
            <a:r>
              <a:rPr lang="en-US"/>
              <a:t>digital manufacturing, today</a:t>
            </a:r>
          </a:p>
        </p:txBody>
      </p:sp>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bwMode="invGray">
          <a:xfrm>
            <a:off x="457200" y="479426"/>
            <a:ext cx="1256648" cy="269191"/>
          </a:xfrm>
          <a:prstGeom prst="rect">
            <a:avLst/>
          </a:prstGeom>
        </p:spPr>
      </p:pic>
      <p:sp>
        <p:nvSpPr>
          <p:cNvPr id="14" name="Text Placeholder 4"/>
          <p:cNvSpPr>
            <a:spLocks noGrp="1"/>
          </p:cNvSpPr>
          <p:nvPr>
            <p:ph type="body" sz="quarter" idx="13" hasCustomPrompt="1"/>
          </p:nvPr>
        </p:nvSpPr>
        <p:spPr>
          <a:xfrm>
            <a:off x="274702" y="4230103"/>
            <a:ext cx="4023317" cy="547306"/>
          </a:xfrm>
          <a:noFill/>
        </p:spPr>
        <p:txBody>
          <a:bodyPr lIns="146304" tIns="109728" rIns="146304" bIns="109728">
            <a:noAutofit/>
          </a:bodyPr>
          <a:lstStyle>
            <a:lvl1pPr marL="0" indent="0">
              <a:spcBef>
                <a:spcPts val="0"/>
              </a:spcBef>
              <a:buNone/>
              <a:defRPr sz="2000" spc="0" baseline="0">
                <a:gradFill>
                  <a:gsLst>
                    <a:gs pos="91000">
                      <a:schemeClr val="bg1"/>
                    </a:gs>
                    <a:gs pos="1000">
                      <a:schemeClr val="bg1"/>
                    </a:gs>
                  </a:gsLst>
                  <a:lin ang="5400000" scaled="0"/>
                </a:gradFill>
                <a:latin typeface="+mn-lt"/>
              </a:defRPr>
            </a:lvl1pPr>
          </a:lstStyle>
          <a:p>
            <a:pPr lvl="0"/>
            <a:r>
              <a:rPr lang="en-US"/>
              <a:t>Speaker</a:t>
            </a:r>
          </a:p>
        </p:txBody>
      </p:sp>
      <p:sp>
        <p:nvSpPr>
          <p:cNvPr id="15" name="Text Placeholder 4"/>
          <p:cNvSpPr>
            <a:spLocks noGrp="1"/>
          </p:cNvSpPr>
          <p:nvPr>
            <p:ph type="body" sz="quarter" idx="14" hasCustomPrompt="1"/>
          </p:nvPr>
        </p:nvSpPr>
        <p:spPr>
          <a:xfrm>
            <a:off x="294127" y="4685970"/>
            <a:ext cx="2540868" cy="457195"/>
          </a:xfrm>
          <a:noFill/>
        </p:spPr>
        <p:txBody>
          <a:bodyPr lIns="146304" tIns="109728" rIns="146304" bIns="109728">
            <a:noAutofit/>
          </a:bodyPr>
          <a:lstStyle>
            <a:lvl1pPr marL="0" indent="0">
              <a:spcBef>
                <a:spcPts val="0"/>
              </a:spcBef>
              <a:buNone/>
              <a:defRPr sz="2000" spc="0" baseline="0">
                <a:gradFill>
                  <a:gsLst>
                    <a:gs pos="91000">
                      <a:schemeClr val="bg1"/>
                    </a:gs>
                    <a:gs pos="1000">
                      <a:schemeClr val="bg1"/>
                    </a:gs>
                  </a:gsLst>
                  <a:lin ang="5400000" scaled="0"/>
                </a:gradFill>
                <a:latin typeface="+mn-lt"/>
              </a:defRPr>
            </a:lvl1pPr>
          </a:lstStyle>
          <a:p>
            <a:pPr lvl="0"/>
            <a:r>
              <a:rPr lang="en-US"/>
              <a:t>Date</a:t>
            </a:r>
          </a:p>
        </p:txBody>
      </p:sp>
    </p:spTree>
    <p:extLst>
      <p:ext uri="{BB962C8B-B14F-4D97-AF65-F5344CB8AC3E}">
        <p14:creationId xmlns:p14="http://schemas.microsoft.com/office/powerpoint/2010/main" val="3023590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accent2"/>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436475" cy="6994525"/>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invGray">
          <a:xfrm>
            <a:off x="457200" y="479426"/>
            <a:ext cx="1256648" cy="269191"/>
          </a:xfrm>
          <a:prstGeom prst="rect">
            <a:avLst/>
          </a:prstGeom>
        </p:spPr>
      </p:pic>
      <p:sp>
        <p:nvSpPr>
          <p:cNvPr id="13" name="Rectangle 12"/>
          <p:cNvSpPr/>
          <p:nvPr userDrawn="1"/>
        </p:nvSpPr>
        <p:spPr bwMode="auto">
          <a:xfrm>
            <a:off x="273050" y="2125663"/>
            <a:ext cx="5486400" cy="3657600"/>
          </a:xfrm>
          <a:prstGeom prst="rect">
            <a:avLst/>
          </a:prstGeom>
          <a:solidFill>
            <a:schemeClr val="tx2">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2"/>
          <p:cNvSpPr>
            <a:spLocks noGrp="1"/>
          </p:cNvSpPr>
          <p:nvPr>
            <p:ph type="body" sz="quarter" idx="15" hasCustomPrompt="1"/>
          </p:nvPr>
        </p:nvSpPr>
        <p:spPr bwMode="auto">
          <a:xfrm>
            <a:off x="271462" y="3954463"/>
            <a:ext cx="5487988" cy="1828800"/>
          </a:xfrm>
        </p:spPr>
        <p:txBody>
          <a:bodyPr lIns="164592" tIns="109728" rIns="164592"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sp>
        <p:nvSpPr>
          <p:cNvPr id="22" name="Text Placeholder 2"/>
          <p:cNvSpPr>
            <a:spLocks noGrp="1"/>
          </p:cNvSpPr>
          <p:nvPr>
            <p:ph type="body" sz="quarter" idx="16" hasCustomPrompt="1"/>
          </p:nvPr>
        </p:nvSpPr>
        <p:spPr bwMode="auto">
          <a:xfrm>
            <a:off x="273050" y="2125663"/>
            <a:ext cx="5487988" cy="907900"/>
          </a:xfrm>
          <a:noFill/>
        </p:spPr>
        <p:txBody>
          <a:bodyPr vert="horz" wrap="square" lIns="146304" tIns="91440" rIns="146304" bIns="91440" rtlCol="0" anchor="t" anchorCtr="0">
            <a:noAutofit/>
          </a:bodyPr>
          <a:lstStyle>
            <a:lvl1pPr>
              <a:defRPr lang="en-US" sz="4799" b="0" cap="none" spc="-100" dirty="0">
                <a:ln w="3175">
                  <a:noFill/>
                </a:ln>
                <a:gradFill>
                  <a:gsLst>
                    <a:gs pos="57576">
                      <a:srgbClr val="FFFFFF"/>
                    </a:gs>
                    <a:gs pos="35000">
                      <a:srgbClr val="FFFFFF"/>
                    </a:gs>
                  </a:gsLst>
                  <a:lin ang="5400000" scaled="0"/>
                </a:gradFill>
                <a:effectLst/>
                <a:cs typeface="Segoe UI" pitchFamily="34" charset="0"/>
              </a:defRPr>
            </a:lvl1pPr>
          </a:lstStyle>
          <a:p>
            <a:pPr marL="0" lvl="0">
              <a:spcBef>
                <a:spcPct val="0"/>
              </a:spcBef>
              <a:buNone/>
            </a:pPr>
            <a:r>
              <a:rPr lang="en-US"/>
              <a:t>Speaker name</a:t>
            </a:r>
          </a:p>
        </p:txBody>
      </p:sp>
    </p:spTree>
    <p:extLst>
      <p:ext uri="{BB962C8B-B14F-4D97-AF65-F5344CB8AC3E}">
        <p14:creationId xmlns:p14="http://schemas.microsoft.com/office/powerpoint/2010/main" val="19471451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957493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2171068"/>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56995037"/>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896162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3149831"/>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297522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4020484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1713104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5534267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205749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3072531"/>
            <a:ext cx="5486399" cy="849463"/>
          </a:xfrm>
        </p:spPr>
        <p:txBody>
          <a:bodyPr anchor="ctr">
            <a:spAutoFit/>
          </a:bodyPr>
          <a:lstStyle>
            <a:lvl1pPr>
              <a:defRPr sz="47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4466802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441315" y="1"/>
            <a:ext cx="6995160" cy="6995160"/>
          </a:xfrm>
          <a:prstGeom prst="rect">
            <a:avLst/>
          </a:prstGeom>
        </p:spPr>
      </p:pic>
    </p:spTree>
    <p:extLst>
      <p:ext uri="{BB962C8B-B14F-4D97-AF65-F5344CB8AC3E}">
        <p14:creationId xmlns:p14="http://schemas.microsoft.com/office/powerpoint/2010/main" val="3644577633"/>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55752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0915790"/>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0959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4628235"/>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219782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331557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Walkin - Business Forward (blue 1)">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
        <p:nvSpPr>
          <p:cNvPr id="6" name="Title 1"/>
          <p:cNvSpPr txBox="1">
            <a:spLocks/>
          </p:cNvSpPr>
          <p:nvPr userDrawn="1"/>
        </p:nvSpPr>
        <p:spPr>
          <a:xfrm>
            <a:off x="274702" y="1517904"/>
            <a:ext cx="9143936" cy="1828800"/>
          </a:xfrm>
          <a:prstGeom prst="rect">
            <a:avLst/>
          </a:prstGeom>
          <a:noFill/>
        </p:spPr>
        <p:txBody>
          <a:bodyPr vert="horz" wrap="square" lIns="146283" tIns="91427" rIns="146283" bIns="91427" rtlCol="0" anchor="b" anchorCtr="0">
            <a:noAutofit/>
          </a:bodyPr>
          <a:lstStyle>
            <a:lvl1pPr algn="l" defTabSz="932742" rtl="0" eaLnBrk="1" latinLnBrk="0" hangingPunct="1">
              <a:lnSpc>
                <a:spcPct val="90000"/>
              </a:lnSpc>
              <a:spcBef>
                <a:spcPct val="0"/>
              </a:spcBef>
              <a:buNone/>
              <a:defRPr lang="en-US" sz="5400" b="0" kern="1200" cap="none" spc="-100" baseline="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4799"/>
              <a:t>Microsoft’s Supply Chain </a:t>
            </a:r>
            <a:br>
              <a:rPr lang="en-US" sz="4799"/>
            </a:br>
            <a:r>
              <a:rPr lang="en-US" sz="4799"/>
              <a:t>Digital Transformation</a:t>
            </a:r>
          </a:p>
        </p:txBody>
      </p:sp>
    </p:spTree>
    <p:extLst>
      <p:ext uri="{BB962C8B-B14F-4D97-AF65-F5344CB8AC3E}">
        <p14:creationId xmlns:p14="http://schemas.microsoft.com/office/powerpoint/2010/main" val="27556532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alkin - Business Forward (blue 2)">
    <p:bg>
      <p:bgPr>
        <a:solidFill>
          <a:schemeClr val="accent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214255"/>
            <a:ext cx="12436475" cy="4780270"/>
          </a:xfrm>
          <a:prstGeom prst="rect">
            <a:avLst/>
          </a:prstGeom>
        </p:spPr>
      </p:pic>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457200" y="479425"/>
            <a:ext cx="1483418" cy="310896"/>
          </a:xfrm>
          <a:prstGeom prst="rect">
            <a:avLst/>
          </a:prstGeom>
        </p:spPr>
      </p:pic>
      <p:sp>
        <p:nvSpPr>
          <p:cNvPr id="17" name="TextBox 16"/>
          <p:cNvSpPr txBox="1"/>
          <p:nvPr userDrawn="1"/>
        </p:nvSpPr>
        <p:spPr>
          <a:xfrm>
            <a:off x="10031326" y="299892"/>
            <a:ext cx="2133601" cy="606188"/>
          </a:xfrm>
          <a:prstGeom prst="rect">
            <a:avLst/>
          </a:prstGeom>
          <a:noFill/>
        </p:spPr>
        <p:txBody>
          <a:bodyPr wrap="square" lIns="182854" tIns="146283" rIns="182854" bIns="146283" rtlCol="0">
            <a:spAutoFit/>
          </a:bodyPr>
          <a:lstStyle/>
          <a:p>
            <a:pPr algn="r">
              <a:lnSpc>
                <a:spcPct val="90000"/>
              </a:lnSpc>
              <a:spcAft>
                <a:spcPts val="600"/>
              </a:spcAft>
            </a:pPr>
            <a:r>
              <a:rPr lang="en-US" sz="2200">
                <a:gradFill>
                  <a:gsLst>
                    <a:gs pos="2917">
                      <a:schemeClr val="tx1"/>
                    </a:gs>
                    <a:gs pos="30000">
                      <a:schemeClr val="tx1"/>
                    </a:gs>
                  </a:gsLst>
                  <a:lin ang="5400000" scaled="0"/>
                </a:gradFill>
              </a:rPr>
              <a:t>Dynamics 365</a:t>
            </a:r>
          </a:p>
        </p:txBody>
      </p:sp>
      <p:sp>
        <p:nvSpPr>
          <p:cNvPr id="20" name="Title 1"/>
          <p:cNvSpPr txBox="1">
            <a:spLocks/>
          </p:cNvSpPr>
          <p:nvPr userDrawn="1"/>
        </p:nvSpPr>
        <p:spPr>
          <a:xfrm>
            <a:off x="274702" y="1516062"/>
            <a:ext cx="9143936" cy="1828800"/>
          </a:xfrm>
          <a:prstGeom prst="rect">
            <a:avLst/>
          </a:prstGeom>
          <a:noFill/>
        </p:spPr>
        <p:txBody>
          <a:bodyPr vert="horz" wrap="square" lIns="146283" tIns="91427" rIns="146283" bIns="91427" rtlCol="0" anchor="b" anchorCtr="0">
            <a:noAutofit/>
          </a:bodyPr>
          <a:lstStyle>
            <a:lvl1pPr algn="l" defTabSz="932742" rtl="0" eaLnBrk="1" latinLnBrk="0" hangingPunct="1">
              <a:lnSpc>
                <a:spcPct val="90000"/>
              </a:lnSpc>
              <a:spcBef>
                <a:spcPct val="0"/>
              </a:spcBef>
              <a:buNone/>
              <a:defRPr lang="en-US" sz="5400" b="0" kern="1200" cap="none" spc="-100" baseline="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sz="5000">
                <a:cs typeface="Segoe UI Semilight" panose="020B0402040204020203" pitchFamily="34" charset="0"/>
              </a:rPr>
              <a:t>Microsoft Business Forward</a:t>
            </a:r>
          </a:p>
        </p:txBody>
      </p:sp>
      <p:sp>
        <p:nvSpPr>
          <p:cNvPr id="21" name="TextBox 20"/>
          <p:cNvSpPr txBox="1"/>
          <p:nvPr userDrawn="1"/>
        </p:nvSpPr>
        <p:spPr>
          <a:xfrm>
            <a:off x="274702" y="3386778"/>
            <a:ext cx="9143937" cy="467152"/>
          </a:xfrm>
          <a:prstGeom prst="rect">
            <a:avLst/>
          </a:prstGeom>
        </p:spPr>
        <p:txBody>
          <a:bodyPr vert="horz" wrap="square" lIns="173712" tIns="91427" rIns="173712" bIns="91427" rtlCol="0">
            <a:spAutoFit/>
          </a:bodyPr>
          <a:lstStyle>
            <a:defPPr>
              <a:defRPr lang="en-US"/>
            </a:defPPr>
            <a:lvl1pPr marR="0" lvl="0" indent="0" fontAlgn="auto">
              <a:lnSpc>
                <a:spcPct val="90000"/>
              </a:lnSpc>
              <a:spcBef>
                <a:spcPct val="20000"/>
              </a:spcBef>
              <a:spcAft>
                <a:spcPts val="0"/>
              </a:spcAft>
              <a:buClrTx/>
              <a:buSzPct val="90000"/>
              <a:buFont typeface="Wingdings" panose="05000000000000000000" pitchFamily="2" charset="2"/>
              <a:buNone/>
              <a:tabLst/>
              <a:defRPr sz="2000" spc="300" baseline="0">
                <a:gradFill>
                  <a:gsLst>
                    <a:gs pos="91000">
                      <a:schemeClr val="tx1"/>
                    </a:gs>
                    <a:gs pos="0">
                      <a:schemeClr val="tx1"/>
                    </a:gs>
                  </a:gsLst>
                  <a:lin ang="5400000" scaled="0"/>
                </a:gradFill>
                <a:latin typeface="Segoe UI" panose="020B0502040204020203" pitchFamily="34" charset="0"/>
                <a:cs typeface="Segoe UI" panose="020B0502040204020203" pitchFamily="34" charset="0"/>
              </a:defRPr>
            </a:lvl1pPr>
            <a:lvl2pPr marL="457200" marR="0" indent="-228600" fontAlgn="auto">
              <a:lnSpc>
                <a:spcPct val="90000"/>
              </a:lnSpc>
              <a:spcBef>
                <a:spcPct val="20000"/>
              </a:spcBef>
              <a:spcAft>
                <a:spcPts val="0"/>
              </a:spcAft>
              <a:buClrTx/>
              <a:buSzPct val="90000"/>
              <a:buFont typeface="Wingdings" panose="05000000000000000000" pitchFamily="2" charset="2"/>
              <a:buChar char=""/>
              <a:tabLst/>
              <a:defRPr sz="2800" spc="0" baseline="0">
                <a:gradFill>
                  <a:gsLst>
                    <a:gs pos="1250">
                      <a:schemeClr val="tx1"/>
                    </a:gs>
                    <a:gs pos="100000">
                      <a:schemeClr val="tx1"/>
                    </a:gs>
                  </a:gsLst>
                  <a:lin ang="5400000" scaled="0"/>
                </a:gradFill>
              </a:defRPr>
            </a:lvl2pPr>
            <a:lvl3pPr marL="685800" marR="0" indent="-228600" fontAlgn="auto">
              <a:lnSpc>
                <a:spcPct val="90000"/>
              </a:lnSpc>
              <a:spcBef>
                <a:spcPct val="20000"/>
              </a:spcBef>
              <a:spcAft>
                <a:spcPts val="0"/>
              </a:spcAft>
              <a:buClrTx/>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9144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4pPr>
            <a:lvl5pPr marL="1143000" marR="0" indent="-228600" fontAlgn="auto">
              <a:lnSpc>
                <a:spcPct val="90000"/>
              </a:lnSpc>
              <a:spcBef>
                <a:spcPct val="20000"/>
              </a:spcBef>
              <a:spcAft>
                <a:spcPts val="0"/>
              </a:spcAft>
              <a:buClrTx/>
              <a:buSzPct val="90000"/>
              <a:buFont typeface="Wingdings" panose="05000000000000000000" pitchFamily="2" charset="2"/>
              <a:buChar char=""/>
              <a:tabLst/>
              <a:defRPr sz="22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sz="2000">
                <a:latin typeface="Segoe UI Semilight" panose="020B0402040204020203" pitchFamily="34" charset="0"/>
                <a:cs typeface="Segoe UI Semilight" panose="020B0402040204020203" pitchFamily="34" charset="0"/>
              </a:rPr>
              <a:t>MAY 3, 2017 NEW YORK, NY</a:t>
            </a:r>
          </a:p>
        </p:txBody>
      </p:sp>
      <p:cxnSp>
        <p:nvCxnSpPr>
          <p:cNvPr id="22" name="Straight Connector 21"/>
          <p:cNvCxnSpPr/>
          <p:nvPr userDrawn="1"/>
        </p:nvCxnSpPr>
        <p:spPr>
          <a:xfrm>
            <a:off x="2446871" y="3498738"/>
            <a:ext cx="0" cy="23774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18414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1 - Business Forward ">
    <p:bg>
      <p:bgRef idx="1001">
        <a:schemeClr val="bg1"/>
      </p:bgRef>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274703" y="1517904"/>
            <a:ext cx="6446520" cy="1828786"/>
          </a:xfrm>
          <a:noFill/>
        </p:spPr>
        <p:txBody>
          <a:bodyPr lIns="146304" tIns="91440" rIns="146304" bIns="91440" anchor="b" anchorCtr="0"/>
          <a:lstStyle>
            <a:lvl1pPr>
              <a:defRPr sz="5000" spc="-100" baseline="0">
                <a:gradFill>
                  <a:gsLst>
                    <a:gs pos="90678">
                      <a:schemeClr val="tx2"/>
                    </a:gs>
                    <a:gs pos="62564">
                      <a:schemeClr val="tx2"/>
                    </a:gs>
                  </a:gsLst>
                  <a:lin ang="5400000" scaled="0"/>
                </a:gradFill>
              </a:defRPr>
            </a:lvl1pPr>
          </a:lstStyle>
          <a:p>
            <a:r>
              <a:rPr lang="en-US"/>
              <a:t>Presentation title goes </a:t>
            </a:r>
          </a:p>
        </p:txBody>
      </p:sp>
      <p:sp>
        <p:nvSpPr>
          <p:cNvPr id="10" name="Text Placeholder 4"/>
          <p:cNvSpPr>
            <a:spLocks noGrp="1"/>
          </p:cNvSpPr>
          <p:nvPr>
            <p:ph type="body" sz="quarter" idx="12" hasCustomPrompt="1"/>
          </p:nvPr>
        </p:nvSpPr>
        <p:spPr>
          <a:xfrm>
            <a:off x="274702" y="3566160"/>
            <a:ext cx="6446520" cy="1828007"/>
          </a:xfrm>
          <a:noFill/>
        </p:spPr>
        <p:txBody>
          <a:bodyPr lIns="164592" tIns="109728" rIns="164592" bIns="109728">
            <a:noAutofit/>
          </a:bodyPr>
          <a:lstStyle>
            <a:lvl1pPr marL="0" indent="0">
              <a:lnSpc>
                <a:spcPct val="100000"/>
              </a:lnSpc>
              <a:spcBef>
                <a:spcPts val="0"/>
              </a:spcBef>
              <a:buNone/>
              <a:defRPr sz="2500" spc="0" baseline="0">
                <a:gradFill>
                  <a:gsLst>
                    <a:gs pos="97458">
                      <a:schemeClr val="tx2"/>
                    </a:gs>
                    <a:gs pos="68000">
                      <a:schemeClr val="tx2"/>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57201" y="479425"/>
            <a:ext cx="1481328" cy="317320"/>
          </a:xfrm>
          <a:prstGeom prst="rect">
            <a:avLst/>
          </a:prstGeom>
        </p:spPr>
      </p:pic>
      <p:pic>
        <p:nvPicPr>
          <p:cNvPr id="2" name="Picture 1"/>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995795" y="0"/>
            <a:ext cx="5440680" cy="6994525"/>
          </a:xfrm>
          <a:prstGeom prst="rect">
            <a:avLst/>
          </a:prstGeom>
        </p:spPr>
      </p:pic>
    </p:spTree>
    <p:extLst>
      <p:ext uri="{BB962C8B-B14F-4D97-AF65-F5344CB8AC3E}">
        <p14:creationId xmlns:p14="http://schemas.microsoft.com/office/powerpoint/2010/main" val="8596209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2 - Business Forwar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995160" y="0"/>
            <a:ext cx="5440434" cy="6994525"/>
          </a:xfrm>
          <a:prstGeom prst="rect">
            <a:avLst/>
          </a:prstGeom>
        </p:spPr>
      </p:pic>
      <p:sp>
        <p:nvSpPr>
          <p:cNvPr id="7" name="Title 1"/>
          <p:cNvSpPr>
            <a:spLocks noGrp="1"/>
          </p:cNvSpPr>
          <p:nvPr>
            <p:ph type="title" hasCustomPrompt="1"/>
          </p:nvPr>
        </p:nvSpPr>
        <p:spPr>
          <a:xfrm>
            <a:off x="274703" y="1517904"/>
            <a:ext cx="6446520" cy="1828786"/>
          </a:xfrm>
          <a:noFill/>
        </p:spPr>
        <p:txBody>
          <a:bodyPr lIns="146304" tIns="91440" rIns="146304" bIns="91440" anchor="b" anchorCtr="0"/>
          <a:lstStyle>
            <a:lvl1pPr>
              <a:defRPr sz="5000" spc="-100" baseline="0">
                <a:gradFill>
                  <a:gsLst>
                    <a:gs pos="90678">
                      <a:schemeClr val="tx2"/>
                    </a:gs>
                    <a:gs pos="62564">
                      <a:schemeClr val="tx2"/>
                    </a:gs>
                  </a:gsLst>
                  <a:lin ang="5400000" scaled="0"/>
                </a:gradFill>
              </a:defRPr>
            </a:lvl1pPr>
          </a:lstStyle>
          <a:p>
            <a:r>
              <a:rPr lang="en-US"/>
              <a:t>Presentation title goes </a:t>
            </a:r>
          </a:p>
        </p:txBody>
      </p:sp>
      <p:sp>
        <p:nvSpPr>
          <p:cNvPr id="10" name="Text Placeholder 4"/>
          <p:cNvSpPr>
            <a:spLocks noGrp="1"/>
          </p:cNvSpPr>
          <p:nvPr>
            <p:ph type="body" sz="quarter" idx="12" hasCustomPrompt="1"/>
          </p:nvPr>
        </p:nvSpPr>
        <p:spPr>
          <a:xfrm>
            <a:off x="274702" y="3566160"/>
            <a:ext cx="6446520" cy="1828007"/>
          </a:xfrm>
          <a:noFill/>
        </p:spPr>
        <p:txBody>
          <a:bodyPr lIns="164592" tIns="109728" rIns="164592" bIns="109728">
            <a:noAutofit/>
          </a:bodyPr>
          <a:lstStyle>
            <a:lvl1pPr marL="0" indent="0">
              <a:lnSpc>
                <a:spcPct val="100000"/>
              </a:lnSpc>
              <a:spcBef>
                <a:spcPts val="0"/>
              </a:spcBef>
              <a:buNone/>
              <a:defRPr sz="2500" spc="0" baseline="0">
                <a:gradFill>
                  <a:gsLst>
                    <a:gs pos="97458">
                      <a:schemeClr val="tx2"/>
                    </a:gs>
                    <a:gs pos="68000">
                      <a:schemeClr val="tx2"/>
                    </a:gs>
                  </a:gsLst>
                  <a:lin ang="5400000" scaled="0"/>
                </a:gradFill>
                <a:latin typeface="+mn-lt"/>
              </a:defRPr>
            </a:lvl1pPr>
          </a:lstStyle>
          <a:p>
            <a:pPr lvl="0"/>
            <a:r>
              <a:rPr lang="en-US"/>
              <a:t>Speaker name</a:t>
            </a:r>
          </a:p>
        </p:txBody>
      </p:sp>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57201" y="479425"/>
            <a:ext cx="1481328" cy="317320"/>
          </a:xfrm>
          <a:prstGeom prst="rect">
            <a:avLst/>
          </a:prstGeom>
        </p:spPr>
      </p:pic>
    </p:spTree>
    <p:extLst>
      <p:ext uri="{BB962C8B-B14F-4D97-AF65-F5344CB8AC3E}">
        <p14:creationId xmlns:p14="http://schemas.microsoft.com/office/powerpoint/2010/main" val="29421010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2850"/>
            <a:ext cx="11888787" cy="2308324"/>
          </a:xfrm>
        </p:spPr>
        <p:txBody>
          <a:bodyPr>
            <a:spAutoFit/>
          </a:bodyPr>
          <a:lstStyle>
            <a:lvl1pPr marL="0" indent="0">
              <a:buNone/>
              <a:defRPr/>
            </a:lvl1pPr>
            <a:lvl2pPr marL="228557" indent="0">
              <a:buNone/>
              <a:defRPr/>
            </a:lvl2pPr>
            <a:lvl3pPr marL="457112" indent="0">
              <a:buNone/>
              <a:defRPr/>
            </a:lvl3pPr>
            <a:lvl4pPr marL="685669" indent="0">
              <a:buNone/>
              <a:defRPr/>
            </a:lvl4pPr>
            <a:lvl5pPr marL="914224"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5518920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Edit Master text styles</a:t>
            </a:r>
          </a:p>
          <a:p>
            <a:pPr marL="514350" marR="0" lvl="1" indent="-514350" algn="l" defTabSz="932742" rtl="0" eaLnBrk="1" fontAlgn="auto" latinLnBrk="0" hangingPunct="1">
              <a:lnSpc>
                <a:spcPct val="90000"/>
              </a:lnSpc>
              <a:spcBef>
                <a:spcPts val="1224"/>
              </a:spcBef>
              <a:spcAft>
                <a:spcPts val="0"/>
              </a:spcAft>
              <a:buClr>
                <a:schemeClr val="tx1"/>
              </a:buClr>
              <a:buSzPct val="90000"/>
              <a:tabLst/>
            </a:pPr>
            <a:r>
              <a:rPr lang="en-US"/>
              <a:t>Second level</a:t>
            </a:r>
          </a:p>
          <a:p>
            <a:pPr marL="514350" marR="0" lvl="2" indent="-514350" algn="l" defTabSz="932742" rtl="0" eaLnBrk="1" fontAlgn="auto" latinLnBrk="0" hangingPunct="1">
              <a:lnSpc>
                <a:spcPct val="90000"/>
              </a:lnSpc>
              <a:spcBef>
                <a:spcPts val="1224"/>
              </a:spcBef>
              <a:spcAft>
                <a:spcPts val="0"/>
              </a:spcAft>
              <a:buClr>
                <a:schemeClr val="tx1"/>
              </a:buClr>
              <a:buSzPct val="90000"/>
              <a:tabLst/>
            </a:pPr>
            <a:r>
              <a:rPr lang="en-US"/>
              <a:t>Third level</a:t>
            </a:r>
          </a:p>
          <a:p>
            <a:pPr marL="514350" marR="0" lvl="3" indent="-514350" algn="l" defTabSz="932742" rtl="0" eaLnBrk="1" fontAlgn="auto" latinLnBrk="0" hangingPunct="1">
              <a:lnSpc>
                <a:spcPct val="90000"/>
              </a:lnSpc>
              <a:spcBef>
                <a:spcPts val="1224"/>
              </a:spcBef>
              <a:spcAft>
                <a:spcPts val="0"/>
              </a:spcAft>
              <a:buClr>
                <a:schemeClr val="tx1"/>
              </a:buClr>
              <a:buSzPct val="90000"/>
              <a:tabLst/>
            </a:pPr>
            <a:r>
              <a:rPr lang="en-US"/>
              <a:t>Fourth level</a:t>
            </a:r>
          </a:p>
          <a:p>
            <a:pPr marL="514350" marR="0" lvl="4" indent="-514350" algn="l" defTabSz="932742"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413124143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3" y="1211287"/>
            <a:ext cx="11888787" cy="231170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8840423"/>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39" indent="0">
              <a:buFont typeface="Wingdings" panose="05000000000000000000" pitchFamily="2" charset="2"/>
              <a:buNone/>
              <a:defRPr sz="2400" b="0"/>
            </a:lvl2pPr>
            <a:lvl3pPr marL="450763" indent="0">
              <a:buFont typeface="Wingdings" panose="05000000000000000000" pitchFamily="2" charset="2"/>
              <a:buNone/>
              <a:tabLst/>
              <a:defRPr sz="2200" b="0"/>
            </a:lvl3pPr>
            <a:lvl4pPr marL="652336" indent="0">
              <a:buFont typeface="Wingdings" panose="05000000000000000000" pitchFamily="2" charset="2"/>
              <a:buNone/>
              <a:defRPr sz="2200" b="0"/>
            </a:lvl4pPr>
            <a:lvl5pPr marL="853911" indent="0">
              <a:buFont typeface="Wingdings" panose="05000000000000000000" pitchFamily="2" charset="2"/>
              <a:buNone/>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39"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763"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336"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3911"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251" marR="0" lvl="0" indent="-514251" algn="l" defTabSz="932563" rtl="0" eaLnBrk="1" fontAlgn="auto" latinLnBrk="0" hangingPunct="1">
              <a:lnSpc>
                <a:spcPct val="90000"/>
              </a:lnSpc>
              <a:spcBef>
                <a:spcPts val="1224"/>
              </a:spcBef>
              <a:spcAft>
                <a:spcPts val="0"/>
              </a:spcAft>
              <a:buClr>
                <a:schemeClr val="tx1"/>
              </a:buClr>
              <a:buSzPct val="90000"/>
              <a:tabLst/>
            </a:pPr>
            <a:r>
              <a:rPr lang="en-US"/>
              <a:t>Edit Master text styles</a:t>
            </a:r>
          </a:p>
          <a:p>
            <a:pPr marL="514251" marR="0" lvl="1" indent="-514251" algn="l" defTabSz="932563" rtl="0" eaLnBrk="1" fontAlgn="auto" latinLnBrk="0" hangingPunct="1">
              <a:lnSpc>
                <a:spcPct val="90000"/>
              </a:lnSpc>
              <a:spcBef>
                <a:spcPts val="1224"/>
              </a:spcBef>
              <a:spcAft>
                <a:spcPts val="0"/>
              </a:spcAft>
              <a:buClr>
                <a:schemeClr val="tx1"/>
              </a:buClr>
              <a:buSzPct val="90000"/>
              <a:tabLst/>
            </a:pPr>
            <a:r>
              <a:rPr lang="en-US"/>
              <a:t>Second level</a:t>
            </a:r>
          </a:p>
          <a:p>
            <a:pPr marL="514251" marR="0" lvl="2" indent="-514251" algn="l" defTabSz="932563" rtl="0" eaLnBrk="1" fontAlgn="auto" latinLnBrk="0" hangingPunct="1">
              <a:lnSpc>
                <a:spcPct val="90000"/>
              </a:lnSpc>
              <a:spcBef>
                <a:spcPts val="1224"/>
              </a:spcBef>
              <a:spcAft>
                <a:spcPts val="0"/>
              </a:spcAft>
              <a:buClr>
                <a:schemeClr val="tx1"/>
              </a:buClr>
              <a:buSzPct val="90000"/>
              <a:tabLst/>
            </a:pPr>
            <a:r>
              <a:rPr lang="en-US"/>
              <a:t>Third level</a:t>
            </a:r>
          </a:p>
          <a:p>
            <a:pPr marL="514251" marR="0" lvl="3" indent="-514251" algn="l" defTabSz="932563" rtl="0" eaLnBrk="1" fontAlgn="auto" latinLnBrk="0" hangingPunct="1">
              <a:lnSpc>
                <a:spcPct val="90000"/>
              </a:lnSpc>
              <a:spcBef>
                <a:spcPts val="1224"/>
              </a:spcBef>
              <a:spcAft>
                <a:spcPts val="0"/>
              </a:spcAft>
              <a:buClr>
                <a:schemeClr val="tx1"/>
              </a:buClr>
              <a:buSzPct val="90000"/>
              <a:tabLst/>
            </a:pPr>
            <a:r>
              <a:rPr lang="en-US"/>
              <a:t>Fourth level</a:t>
            </a:r>
          </a:p>
          <a:p>
            <a:pPr marL="514251" marR="0" lvl="4" indent="-514251" algn="l" defTabSz="932563" rtl="0" eaLnBrk="1" fontAlgn="auto" latinLnBrk="0" hangingPunct="1">
              <a:lnSpc>
                <a:spcPct val="90000"/>
              </a:lnSpc>
              <a:spcBef>
                <a:spcPts val="1224"/>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682626285"/>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1287"/>
            <a:ext cx="5486399" cy="2157514"/>
          </a:xfrm>
        </p:spPr>
        <p:txBody>
          <a:bodyPr wrap="square">
            <a:spAutoFit/>
          </a:bodyPr>
          <a:lstStyle>
            <a:lvl1pPr marL="231730" indent="-231730">
              <a:spcBef>
                <a:spcPts val="1224"/>
              </a:spcBef>
              <a:buClr>
                <a:schemeClr val="tx1"/>
              </a:buClr>
              <a:buFont typeface="Wingdings" panose="05000000000000000000" pitchFamily="2" charset="2"/>
              <a:buChar char=""/>
              <a:defRPr sz="3000" b="0">
                <a:latin typeface="+mn-lt"/>
              </a:defRPr>
            </a:lvl1pPr>
            <a:lvl2pPr marL="426956" indent="-171417">
              <a:buFont typeface="Wingdings" panose="05000000000000000000" pitchFamily="2" charset="2"/>
              <a:buChar char=""/>
              <a:defRPr sz="2400" b="0"/>
            </a:lvl2pPr>
            <a:lvl3pPr marL="639640" indent="-188876">
              <a:buFont typeface="Wingdings" panose="05000000000000000000" pitchFamily="2" charset="2"/>
              <a:buChar char=""/>
              <a:tabLst/>
              <a:defRPr sz="2200" b="0"/>
            </a:lvl3pPr>
            <a:lvl4pPr marL="828516" indent="-176180">
              <a:buFont typeface="Wingdings" panose="05000000000000000000" pitchFamily="2" charset="2"/>
              <a:buChar char=""/>
              <a:defRPr sz="2200" b="0"/>
            </a:lvl4pPr>
            <a:lvl5pPr marL="1023741" indent="-169831">
              <a:buFont typeface="Wingdings" panose="05000000000000000000" pitchFamily="2" charset="2"/>
              <a:buChar char=""/>
              <a:tabLst/>
              <a:defRPr sz="22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8"/>
            <a:ext cx="5486399" cy="2511229"/>
          </a:xfrm>
        </p:spPr>
        <p:txBody>
          <a:bodyPr wrap="square">
            <a:spAutoFit/>
          </a:bodyPr>
          <a:lstStyle>
            <a:lvl1pPr marL="287282" indent="-287282">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373" indent="-342834">
              <a:defRPr lang="en-US" sz="2400" b="0" kern="1200" spc="0" baseline="0" dirty="0">
                <a:gradFill>
                  <a:gsLst>
                    <a:gs pos="1250">
                      <a:schemeClr val="tx1"/>
                    </a:gs>
                    <a:gs pos="100000">
                      <a:schemeClr val="tx1"/>
                    </a:gs>
                  </a:gsLst>
                  <a:lin ang="5400000" scaled="0"/>
                </a:gradFill>
                <a:latin typeface="+mn-lt"/>
                <a:ea typeface="+mn-ea"/>
                <a:cs typeface="+mn-cs"/>
              </a:defRPr>
            </a:lvl2pPr>
            <a:lvl3pPr marL="793597" indent="-342834">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170" indent="-342834">
              <a:defRPr lang="en-US" sz="2200" b="0" kern="1200" spc="0" baseline="0" dirty="0">
                <a:gradFill>
                  <a:gsLst>
                    <a:gs pos="1250">
                      <a:schemeClr val="tx1"/>
                    </a:gs>
                    <a:gs pos="100000">
                      <a:schemeClr val="tx1"/>
                    </a:gs>
                  </a:gsLst>
                  <a:lin ang="5400000" scaled="0"/>
                </a:gradFill>
                <a:latin typeface="+mn-lt"/>
                <a:ea typeface="+mn-ea"/>
                <a:cs typeface="+mn-cs"/>
              </a:defRPr>
            </a:lvl4pPr>
            <a:lvl5pPr marL="1196746" indent="-342834">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30" marR="0" lvl="0"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Edit Master text styles</a:t>
            </a:r>
          </a:p>
          <a:p>
            <a:pPr marL="231730" marR="0" lvl="1"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Second level</a:t>
            </a:r>
          </a:p>
          <a:p>
            <a:pPr marL="231730" marR="0" lvl="2"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Third level</a:t>
            </a:r>
          </a:p>
          <a:p>
            <a:pPr marL="231730" marR="0" lvl="3"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ourth level</a:t>
            </a:r>
          </a:p>
          <a:p>
            <a:pPr marL="231730" marR="0" lvl="4" indent="-231730" algn="l" defTabSz="932563"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2271546610"/>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87913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4638" y="3566161"/>
            <a:ext cx="9144000" cy="683264"/>
          </a:xfrm>
          <a:noFill/>
        </p:spPr>
        <p:txBody>
          <a:bodyPr wrap="square" lIns="182880" tIns="146304" rIns="182880" bIns="146304">
            <a:spAutoFit/>
          </a:bodyPr>
          <a:lstStyle>
            <a:lvl1pPr marL="0" indent="0">
              <a:spcBef>
                <a:spcPts val="0"/>
              </a:spcBef>
              <a:buNone/>
              <a:defRPr sz="2800"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itle 1"/>
          <p:cNvSpPr>
            <a:spLocks noGrp="1"/>
          </p:cNvSpPr>
          <p:nvPr>
            <p:ph type="title" hasCustomPrompt="1"/>
          </p:nvPr>
        </p:nvSpPr>
        <p:spPr>
          <a:xfrm>
            <a:off x="274702" y="1517904"/>
            <a:ext cx="9143936" cy="1828786"/>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Demo</a:t>
            </a:r>
          </a:p>
        </p:txBody>
      </p:sp>
    </p:spTree>
    <p:extLst>
      <p:ext uri="{BB962C8B-B14F-4D97-AF65-F5344CB8AC3E}">
        <p14:creationId xmlns:p14="http://schemas.microsoft.com/office/powerpoint/2010/main" val="1654360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702" y="1517904"/>
            <a:ext cx="9143936" cy="1828786"/>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Video</a:t>
            </a:r>
          </a:p>
        </p:txBody>
      </p:sp>
    </p:spTree>
    <p:extLst>
      <p:ext uri="{BB962C8B-B14F-4D97-AF65-F5344CB8AC3E}">
        <p14:creationId xmlns:p14="http://schemas.microsoft.com/office/powerpoint/2010/main" val="31962189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702" y="1517904"/>
            <a:ext cx="9143936" cy="1828786"/>
          </a:xfrm>
          <a:noFill/>
        </p:spPr>
        <p:txBody>
          <a:bodyPr lIns="146304" tIns="91440" rIns="146304" bIns="91440" anchor="b" anchorCtr="0"/>
          <a:lstStyle>
            <a:lvl1pPr>
              <a:defRPr sz="5399" spc="-100" baseline="0">
                <a:gradFill>
                  <a:gsLst>
                    <a:gs pos="62564">
                      <a:schemeClr val="tx1"/>
                    </a:gs>
                    <a:gs pos="5500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48397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3127931"/>
            <a:ext cx="4892040" cy="738664"/>
          </a:xfrm>
        </p:spPr>
        <p:txBody>
          <a:bodyPr wrap="square" anchor="ctr">
            <a:spAutoFit/>
          </a:bodyPr>
          <a:lstStyle>
            <a:lvl1pPr>
              <a:defRPr sz="3999" baseline="0">
                <a:gradFill>
                  <a:gsLst>
                    <a:gs pos="1250">
                      <a:schemeClr val="tx1"/>
                    </a:gs>
                    <a:gs pos="100000">
                      <a:schemeClr val="tx1"/>
                    </a:gs>
                  </a:gsLst>
                  <a:lin ang="5400000" scaled="0"/>
                </a:gradFill>
              </a:defRPr>
            </a:lvl1pPr>
          </a:lstStyle>
          <a:p>
            <a:r>
              <a:rPr lang="en-US"/>
              <a:t>Square photo layout</a:t>
            </a:r>
          </a:p>
        </p:txBody>
      </p:sp>
    </p:spTree>
    <p:extLst>
      <p:ext uri="{BB962C8B-B14F-4D97-AF65-F5344CB8AC3E}">
        <p14:creationId xmlns:p14="http://schemas.microsoft.com/office/powerpoint/2010/main" val="648107800"/>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6867354"/>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21158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image" Target="../media/image11.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10" Type="http://schemas.openxmlformats.org/officeDocument/2006/relationships/slideLayout" Target="../slideLayouts/slideLayout37.xml"/><Relationship Id="rId19" Type="http://schemas.openxmlformats.org/officeDocument/2006/relationships/theme" Target="../theme/theme2.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image" Target="../media/image1.emf"/><Relationship Id="rId3" Type="http://schemas.openxmlformats.org/officeDocument/2006/relationships/slideLayout" Target="../slideLayouts/slideLayout48.xml"/><Relationship Id="rId21" Type="http://schemas.openxmlformats.org/officeDocument/2006/relationships/theme" Target="../theme/theme3.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image" Target="../media/image8.emf"/><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oleObject" Target="../embeddings/oleObject2.bin"/><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tags" Target="../tags/tag2.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vmlDrawing" Target="../drawings/vmlDrawing2.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 Type="http://schemas.openxmlformats.org/officeDocument/2006/relationships/slideLayout" Target="../slideLayouts/slideLayout68.xml"/><Relationship Id="rId21" Type="http://schemas.openxmlformats.org/officeDocument/2006/relationships/image" Target="../media/image1.emf"/><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theme" Target="../theme/theme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openxmlformats.org/officeDocument/2006/relationships/image" Target="../media/image1.emf"/><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theme" Target="../theme/theme5.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slideLayout" Target="../slideLayouts/slideLayout113.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image" Target="../media/image58.png"/><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theme" Target="../theme/theme6.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image" Target="../media/image69.png"/><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theme" Target="../theme/theme7.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26" Type="http://schemas.openxmlformats.org/officeDocument/2006/relationships/slideLayout" Target="../slideLayouts/slideLayout192.xml"/><Relationship Id="rId39" Type="http://schemas.openxmlformats.org/officeDocument/2006/relationships/slideLayout" Target="../slideLayouts/slideLayout205.xml"/><Relationship Id="rId21" Type="http://schemas.openxmlformats.org/officeDocument/2006/relationships/slideLayout" Target="../slideLayouts/slideLayout187.xml"/><Relationship Id="rId34" Type="http://schemas.openxmlformats.org/officeDocument/2006/relationships/slideLayout" Target="../slideLayouts/slideLayout200.xml"/><Relationship Id="rId42" Type="http://schemas.openxmlformats.org/officeDocument/2006/relationships/slideLayout" Target="../slideLayouts/slideLayout208.xml"/><Relationship Id="rId47" Type="http://schemas.openxmlformats.org/officeDocument/2006/relationships/slideLayout" Target="../slideLayouts/slideLayout213.xml"/><Relationship Id="rId50" Type="http://schemas.openxmlformats.org/officeDocument/2006/relationships/slideLayout" Target="../slideLayouts/slideLayout216.xml"/><Relationship Id="rId55" Type="http://schemas.openxmlformats.org/officeDocument/2006/relationships/slideLayout" Target="../slideLayouts/slideLayout221.xml"/><Relationship Id="rId63" Type="http://schemas.openxmlformats.org/officeDocument/2006/relationships/slideLayout" Target="../slideLayouts/slideLayout229.xml"/><Relationship Id="rId68" Type="http://schemas.openxmlformats.org/officeDocument/2006/relationships/slideLayout" Target="../slideLayouts/slideLayout234.xml"/><Relationship Id="rId76" Type="http://schemas.openxmlformats.org/officeDocument/2006/relationships/slideLayout" Target="../slideLayouts/slideLayout242.xml"/><Relationship Id="rId84" Type="http://schemas.openxmlformats.org/officeDocument/2006/relationships/slideLayout" Target="../slideLayouts/slideLayout250.xml"/><Relationship Id="rId89" Type="http://schemas.openxmlformats.org/officeDocument/2006/relationships/slideLayout" Target="../slideLayouts/slideLayout255.xml"/><Relationship Id="rId7" Type="http://schemas.openxmlformats.org/officeDocument/2006/relationships/slideLayout" Target="../slideLayouts/slideLayout173.xml"/><Relationship Id="rId71" Type="http://schemas.openxmlformats.org/officeDocument/2006/relationships/slideLayout" Target="../slideLayouts/slideLayout237.xml"/><Relationship Id="rId2" Type="http://schemas.openxmlformats.org/officeDocument/2006/relationships/slideLayout" Target="../slideLayouts/slideLayout168.xml"/><Relationship Id="rId16" Type="http://schemas.openxmlformats.org/officeDocument/2006/relationships/slideLayout" Target="../slideLayouts/slideLayout182.xml"/><Relationship Id="rId29" Type="http://schemas.openxmlformats.org/officeDocument/2006/relationships/slideLayout" Target="../slideLayouts/slideLayout195.xml"/><Relationship Id="rId11" Type="http://schemas.openxmlformats.org/officeDocument/2006/relationships/slideLayout" Target="../slideLayouts/slideLayout177.xml"/><Relationship Id="rId24" Type="http://schemas.openxmlformats.org/officeDocument/2006/relationships/slideLayout" Target="../slideLayouts/slideLayout190.xml"/><Relationship Id="rId32" Type="http://schemas.openxmlformats.org/officeDocument/2006/relationships/slideLayout" Target="../slideLayouts/slideLayout198.xml"/><Relationship Id="rId37" Type="http://schemas.openxmlformats.org/officeDocument/2006/relationships/slideLayout" Target="../slideLayouts/slideLayout203.xml"/><Relationship Id="rId40" Type="http://schemas.openxmlformats.org/officeDocument/2006/relationships/slideLayout" Target="../slideLayouts/slideLayout206.xml"/><Relationship Id="rId45" Type="http://schemas.openxmlformats.org/officeDocument/2006/relationships/slideLayout" Target="../slideLayouts/slideLayout211.xml"/><Relationship Id="rId53" Type="http://schemas.openxmlformats.org/officeDocument/2006/relationships/slideLayout" Target="../slideLayouts/slideLayout219.xml"/><Relationship Id="rId58" Type="http://schemas.openxmlformats.org/officeDocument/2006/relationships/slideLayout" Target="../slideLayouts/slideLayout224.xml"/><Relationship Id="rId66" Type="http://schemas.openxmlformats.org/officeDocument/2006/relationships/slideLayout" Target="../slideLayouts/slideLayout232.xml"/><Relationship Id="rId74" Type="http://schemas.openxmlformats.org/officeDocument/2006/relationships/slideLayout" Target="../slideLayouts/slideLayout240.xml"/><Relationship Id="rId79" Type="http://schemas.openxmlformats.org/officeDocument/2006/relationships/slideLayout" Target="../slideLayouts/slideLayout245.xml"/><Relationship Id="rId87" Type="http://schemas.openxmlformats.org/officeDocument/2006/relationships/slideLayout" Target="../slideLayouts/slideLayout253.xml"/><Relationship Id="rId5" Type="http://schemas.openxmlformats.org/officeDocument/2006/relationships/slideLayout" Target="../slideLayouts/slideLayout171.xml"/><Relationship Id="rId61" Type="http://schemas.openxmlformats.org/officeDocument/2006/relationships/slideLayout" Target="../slideLayouts/slideLayout227.xml"/><Relationship Id="rId82" Type="http://schemas.openxmlformats.org/officeDocument/2006/relationships/slideLayout" Target="../slideLayouts/slideLayout248.xml"/><Relationship Id="rId90" Type="http://schemas.openxmlformats.org/officeDocument/2006/relationships/theme" Target="../theme/theme8.xml"/><Relationship Id="rId19" Type="http://schemas.openxmlformats.org/officeDocument/2006/relationships/slideLayout" Target="../slideLayouts/slideLayout18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 Id="rId30" Type="http://schemas.openxmlformats.org/officeDocument/2006/relationships/slideLayout" Target="../slideLayouts/slideLayout196.xml"/><Relationship Id="rId35" Type="http://schemas.openxmlformats.org/officeDocument/2006/relationships/slideLayout" Target="../slideLayouts/slideLayout201.xml"/><Relationship Id="rId43" Type="http://schemas.openxmlformats.org/officeDocument/2006/relationships/slideLayout" Target="../slideLayouts/slideLayout209.xml"/><Relationship Id="rId48" Type="http://schemas.openxmlformats.org/officeDocument/2006/relationships/slideLayout" Target="../slideLayouts/slideLayout214.xml"/><Relationship Id="rId56" Type="http://schemas.openxmlformats.org/officeDocument/2006/relationships/slideLayout" Target="../slideLayouts/slideLayout222.xml"/><Relationship Id="rId64" Type="http://schemas.openxmlformats.org/officeDocument/2006/relationships/slideLayout" Target="../slideLayouts/slideLayout230.xml"/><Relationship Id="rId69" Type="http://schemas.openxmlformats.org/officeDocument/2006/relationships/slideLayout" Target="../slideLayouts/slideLayout235.xml"/><Relationship Id="rId77" Type="http://schemas.openxmlformats.org/officeDocument/2006/relationships/slideLayout" Target="../slideLayouts/slideLayout243.xml"/><Relationship Id="rId8" Type="http://schemas.openxmlformats.org/officeDocument/2006/relationships/slideLayout" Target="../slideLayouts/slideLayout174.xml"/><Relationship Id="rId51" Type="http://schemas.openxmlformats.org/officeDocument/2006/relationships/slideLayout" Target="../slideLayouts/slideLayout217.xml"/><Relationship Id="rId72" Type="http://schemas.openxmlformats.org/officeDocument/2006/relationships/slideLayout" Target="../slideLayouts/slideLayout238.xml"/><Relationship Id="rId80" Type="http://schemas.openxmlformats.org/officeDocument/2006/relationships/slideLayout" Target="../slideLayouts/slideLayout246.xml"/><Relationship Id="rId85" Type="http://schemas.openxmlformats.org/officeDocument/2006/relationships/slideLayout" Target="../slideLayouts/slideLayout251.xml"/><Relationship Id="rId3" Type="http://schemas.openxmlformats.org/officeDocument/2006/relationships/slideLayout" Target="../slideLayouts/slideLayout169.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33" Type="http://schemas.openxmlformats.org/officeDocument/2006/relationships/slideLayout" Target="../slideLayouts/slideLayout199.xml"/><Relationship Id="rId38" Type="http://schemas.openxmlformats.org/officeDocument/2006/relationships/slideLayout" Target="../slideLayouts/slideLayout204.xml"/><Relationship Id="rId46" Type="http://schemas.openxmlformats.org/officeDocument/2006/relationships/slideLayout" Target="../slideLayouts/slideLayout212.xml"/><Relationship Id="rId59" Type="http://schemas.openxmlformats.org/officeDocument/2006/relationships/slideLayout" Target="../slideLayouts/slideLayout225.xml"/><Relationship Id="rId67" Type="http://schemas.openxmlformats.org/officeDocument/2006/relationships/slideLayout" Target="../slideLayouts/slideLayout233.xml"/><Relationship Id="rId20" Type="http://schemas.openxmlformats.org/officeDocument/2006/relationships/slideLayout" Target="../slideLayouts/slideLayout186.xml"/><Relationship Id="rId41" Type="http://schemas.openxmlformats.org/officeDocument/2006/relationships/slideLayout" Target="../slideLayouts/slideLayout207.xml"/><Relationship Id="rId54" Type="http://schemas.openxmlformats.org/officeDocument/2006/relationships/slideLayout" Target="../slideLayouts/slideLayout220.xml"/><Relationship Id="rId62" Type="http://schemas.openxmlformats.org/officeDocument/2006/relationships/slideLayout" Target="../slideLayouts/slideLayout228.xml"/><Relationship Id="rId70" Type="http://schemas.openxmlformats.org/officeDocument/2006/relationships/slideLayout" Target="../slideLayouts/slideLayout236.xml"/><Relationship Id="rId75" Type="http://schemas.openxmlformats.org/officeDocument/2006/relationships/slideLayout" Target="../slideLayouts/slideLayout241.xml"/><Relationship Id="rId83" Type="http://schemas.openxmlformats.org/officeDocument/2006/relationships/slideLayout" Target="../slideLayouts/slideLayout249.xml"/><Relationship Id="rId88" Type="http://schemas.openxmlformats.org/officeDocument/2006/relationships/slideLayout" Target="../slideLayouts/slideLayout254.xml"/><Relationship Id="rId91" Type="http://schemas.openxmlformats.org/officeDocument/2006/relationships/image" Target="../media/image1.emf"/><Relationship Id="rId1" Type="http://schemas.openxmlformats.org/officeDocument/2006/relationships/slideLayout" Target="../slideLayouts/slideLayout167.xml"/><Relationship Id="rId6" Type="http://schemas.openxmlformats.org/officeDocument/2006/relationships/slideLayout" Target="../slideLayouts/slideLayout172.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36" Type="http://schemas.openxmlformats.org/officeDocument/2006/relationships/slideLayout" Target="../slideLayouts/slideLayout202.xml"/><Relationship Id="rId49" Type="http://schemas.openxmlformats.org/officeDocument/2006/relationships/slideLayout" Target="../slideLayouts/slideLayout215.xml"/><Relationship Id="rId57" Type="http://schemas.openxmlformats.org/officeDocument/2006/relationships/slideLayout" Target="../slideLayouts/slideLayout223.xml"/><Relationship Id="rId10" Type="http://schemas.openxmlformats.org/officeDocument/2006/relationships/slideLayout" Target="../slideLayouts/slideLayout176.xml"/><Relationship Id="rId31" Type="http://schemas.openxmlformats.org/officeDocument/2006/relationships/slideLayout" Target="../slideLayouts/slideLayout197.xml"/><Relationship Id="rId44" Type="http://schemas.openxmlformats.org/officeDocument/2006/relationships/slideLayout" Target="../slideLayouts/slideLayout210.xml"/><Relationship Id="rId52" Type="http://schemas.openxmlformats.org/officeDocument/2006/relationships/slideLayout" Target="../slideLayouts/slideLayout218.xml"/><Relationship Id="rId60" Type="http://schemas.openxmlformats.org/officeDocument/2006/relationships/slideLayout" Target="../slideLayouts/slideLayout226.xml"/><Relationship Id="rId65" Type="http://schemas.openxmlformats.org/officeDocument/2006/relationships/slideLayout" Target="../slideLayouts/slideLayout231.xml"/><Relationship Id="rId73" Type="http://schemas.openxmlformats.org/officeDocument/2006/relationships/slideLayout" Target="../slideLayouts/slideLayout239.xml"/><Relationship Id="rId78" Type="http://schemas.openxmlformats.org/officeDocument/2006/relationships/slideLayout" Target="../slideLayouts/slideLayout244.xml"/><Relationship Id="rId81" Type="http://schemas.openxmlformats.org/officeDocument/2006/relationships/slideLayout" Target="../slideLayouts/slideLayout247.xml"/><Relationship Id="rId86" Type="http://schemas.openxmlformats.org/officeDocument/2006/relationships/slideLayout" Target="../slideLayouts/slideLayout252.xml"/><Relationship Id="rId4" Type="http://schemas.openxmlformats.org/officeDocument/2006/relationships/slideLayout" Target="../slideLayouts/slideLayout170.xml"/><Relationship Id="rId9" Type="http://schemas.openxmlformats.org/officeDocument/2006/relationships/slideLayout" Target="../slideLayouts/slideLayout17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63.xml"/><Relationship Id="rId13" Type="http://schemas.openxmlformats.org/officeDocument/2006/relationships/slideLayout" Target="../slideLayouts/slideLayout268.xml"/><Relationship Id="rId18" Type="http://schemas.openxmlformats.org/officeDocument/2006/relationships/slideLayout" Target="../slideLayouts/slideLayout273.xml"/><Relationship Id="rId26" Type="http://schemas.openxmlformats.org/officeDocument/2006/relationships/slideLayout" Target="../slideLayouts/slideLayout281.xml"/><Relationship Id="rId3" Type="http://schemas.openxmlformats.org/officeDocument/2006/relationships/slideLayout" Target="../slideLayouts/slideLayout258.xml"/><Relationship Id="rId21" Type="http://schemas.openxmlformats.org/officeDocument/2006/relationships/slideLayout" Target="../slideLayouts/slideLayout276.xml"/><Relationship Id="rId7" Type="http://schemas.openxmlformats.org/officeDocument/2006/relationships/slideLayout" Target="../slideLayouts/slideLayout262.xml"/><Relationship Id="rId12" Type="http://schemas.openxmlformats.org/officeDocument/2006/relationships/slideLayout" Target="../slideLayouts/slideLayout267.xml"/><Relationship Id="rId17" Type="http://schemas.openxmlformats.org/officeDocument/2006/relationships/slideLayout" Target="../slideLayouts/slideLayout272.xml"/><Relationship Id="rId25" Type="http://schemas.openxmlformats.org/officeDocument/2006/relationships/slideLayout" Target="../slideLayouts/slideLayout280.xml"/><Relationship Id="rId2" Type="http://schemas.openxmlformats.org/officeDocument/2006/relationships/slideLayout" Target="../slideLayouts/slideLayout257.xml"/><Relationship Id="rId16" Type="http://schemas.openxmlformats.org/officeDocument/2006/relationships/slideLayout" Target="../slideLayouts/slideLayout271.xml"/><Relationship Id="rId20" Type="http://schemas.openxmlformats.org/officeDocument/2006/relationships/slideLayout" Target="../slideLayouts/slideLayout275.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24" Type="http://schemas.openxmlformats.org/officeDocument/2006/relationships/slideLayout" Target="../slideLayouts/slideLayout279.xml"/><Relationship Id="rId5" Type="http://schemas.openxmlformats.org/officeDocument/2006/relationships/slideLayout" Target="../slideLayouts/slideLayout260.xml"/><Relationship Id="rId15" Type="http://schemas.openxmlformats.org/officeDocument/2006/relationships/slideLayout" Target="../slideLayouts/slideLayout270.xml"/><Relationship Id="rId23" Type="http://schemas.openxmlformats.org/officeDocument/2006/relationships/slideLayout" Target="../slideLayouts/slideLayout278.xml"/><Relationship Id="rId28" Type="http://schemas.openxmlformats.org/officeDocument/2006/relationships/theme" Target="../theme/theme9.xml"/><Relationship Id="rId10" Type="http://schemas.openxmlformats.org/officeDocument/2006/relationships/slideLayout" Target="../slideLayouts/slideLayout265.xml"/><Relationship Id="rId19" Type="http://schemas.openxmlformats.org/officeDocument/2006/relationships/slideLayout" Target="../slideLayouts/slideLayout274.xml"/><Relationship Id="rId4" Type="http://schemas.openxmlformats.org/officeDocument/2006/relationships/slideLayout" Target="../slideLayouts/slideLayout259.xml"/><Relationship Id="rId9" Type="http://schemas.openxmlformats.org/officeDocument/2006/relationships/slideLayout" Target="../slideLayouts/slideLayout264.xml"/><Relationship Id="rId14" Type="http://schemas.openxmlformats.org/officeDocument/2006/relationships/slideLayout" Target="../slideLayouts/slideLayout269.xml"/><Relationship Id="rId22" Type="http://schemas.openxmlformats.org/officeDocument/2006/relationships/slideLayout" Target="../slideLayouts/slideLayout277.xml"/><Relationship Id="rId27" Type="http://schemas.openxmlformats.org/officeDocument/2006/relationships/slideLayout" Target="../slideLayouts/slideLayout2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166814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919700307"/>
      </p:ext>
    </p:extLst>
  </p:cSld>
  <p:clrMap bg1="lt1" tx1="dk1" bg2="lt2" tx2="dk2" accent1="accent1" accent2="accent2" accent3="accent3" accent4="accent4" accent5="accent5" accent6="accent6" hlink="hlink" folHlink="folHlink"/>
  <p:sldLayoutIdLst>
    <p:sldLayoutId id="2147484582" r:id="rId1"/>
    <p:sldLayoutId id="2147484583" r:id="rId2"/>
    <p:sldLayoutId id="2147484683" r:id="rId3"/>
    <p:sldLayoutId id="2147484684" r:id="rId4"/>
    <p:sldLayoutId id="2147484584" r:id="rId5"/>
    <p:sldLayoutId id="2147484585" r:id="rId6"/>
    <p:sldLayoutId id="2147484587" r:id="rId7"/>
    <p:sldLayoutId id="2147484590" r:id="rId8"/>
    <p:sldLayoutId id="2147484588" r:id="rId9"/>
    <p:sldLayoutId id="2147484589" r:id="rId10"/>
    <p:sldLayoutId id="2147484595" r:id="rId11"/>
    <p:sldLayoutId id="2147484596" r:id="rId12"/>
    <p:sldLayoutId id="2147484591" r:id="rId13"/>
    <p:sldLayoutId id="2147484592" r:id="rId14"/>
    <p:sldLayoutId id="2147484593" r:id="rId15"/>
    <p:sldLayoutId id="2147484594" r:id="rId16"/>
    <p:sldLayoutId id="2147484597" r:id="rId17"/>
    <p:sldLayoutId id="2147484598" r:id="rId18"/>
    <p:sldLayoutId id="2147484599" r:id="rId19"/>
    <p:sldLayoutId id="2147484607" r:id="rId20"/>
    <p:sldLayoutId id="2147484600" r:id="rId21"/>
    <p:sldLayoutId id="2147484665" r:id="rId22"/>
    <p:sldLayoutId id="2147484876" r:id="rId23"/>
    <p:sldLayoutId id="2147484877" r:id="rId24"/>
    <p:sldLayoutId id="2147484884" r:id="rId25"/>
    <p:sldLayoutId id="2147485194" r:id="rId26"/>
    <p:sldLayoutId id="2147485196" r:id="rId27"/>
  </p:sldLayoutIdLst>
  <p:transition>
    <p:fade/>
  </p:transition>
  <p:hf sldNum="0" hdr="0" ftr="0" dt="0"/>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2400" b="0" i="0" kern="1200" spc="0" baseline="0">
          <a:solidFill>
            <a:schemeClr val="tx1"/>
          </a:solidFill>
          <a:latin typeface="+mn-lt"/>
          <a:ea typeface="+mn-ea"/>
          <a:cs typeface="+mn-cs"/>
        </a:defRPr>
      </a:lvl1pPr>
      <a:lvl2pPr marL="2286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800" b="0" i="0" kern="1200" spc="0" baseline="0">
          <a:solidFill>
            <a:schemeClr val="tx1"/>
          </a:solidFill>
          <a:latin typeface="+mn-lt"/>
          <a:ea typeface="+mn-ea"/>
          <a:cs typeface="+mn-cs"/>
        </a:defRPr>
      </a:lvl2pPr>
      <a:lvl3pPr marL="4572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3pPr>
      <a:lvl4pPr marL="6858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4pPr>
      <a:lvl5pPr marL="914400" marR="0" indent="0" algn="l" defTabSz="932742" rtl="0" eaLnBrk="1" fontAlgn="auto" latinLnBrk="0" hangingPunct="1">
        <a:lnSpc>
          <a:spcPct val="90000"/>
        </a:lnSpc>
        <a:spcBef>
          <a:spcPct val="20000"/>
        </a:spcBef>
        <a:spcAft>
          <a:spcPts val="0"/>
        </a:spcAft>
        <a:buClrTx/>
        <a:buSzPct val="90000"/>
        <a:buFont typeface="Wingdings" panose="05000000000000000000" pitchFamily="2" charset="2"/>
        <a:buNone/>
        <a:tabLst/>
        <a:defRPr sz="1600" b="0" i="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0971" y="340823"/>
            <a:ext cx="11612486" cy="91032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p:cNvSpPr>
            <a:spLocks noGrp="1"/>
          </p:cNvSpPr>
          <p:nvPr>
            <p:ph type="body" idx="1"/>
          </p:nvPr>
        </p:nvSpPr>
        <p:spPr>
          <a:xfrm>
            <a:off x="330971" y="1830396"/>
            <a:ext cx="11612486" cy="368146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20" cstate="email">
            <a:extLst>
              <a:ext uri="{28A0092B-C50C-407E-A947-70E740481C1C}">
                <a14:useLocalDpi xmlns:a14="http://schemas.microsoft.com/office/drawing/2010/main"/>
              </a:ext>
            </a:extLst>
          </a:blip>
          <a:stretch>
            <a:fillRect/>
          </a:stretch>
        </p:blipFill>
        <p:spPr>
          <a:xfrm rot="5400000">
            <a:off x="9445443" y="2991034"/>
            <a:ext cx="6858623" cy="876557"/>
          </a:xfrm>
          <a:prstGeom prst="rect">
            <a:avLst/>
          </a:prstGeom>
        </p:spPr>
      </p:pic>
    </p:spTree>
    <p:extLst>
      <p:ext uri="{BB962C8B-B14F-4D97-AF65-F5344CB8AC3E}">
        <p14:creationId xmlns:p14="http://schemas.microsoft.com/office/powerpoint/2010/main" val="547357201"/>
      </p:ext>
    </p:extLst>
  </p:cSld>
  <p:clrMap bg1="lt1" tx1="dk1" bg2="lt2" tx2="dk2" accent1="accent1" accent2="accent2" accent3="accent3" accent4="accent4" accent5="accent5" accent6="accent6" hlink="hlink" folHlink="folHlink"/>
  <p:sldLayoutIdLst>
    <p:sldLayoutId id="2147484886" r:id="rId1"/>
    <p:sldLayoutId id="2147484887" r:id="rId2"/>
    <p:sldLayoutId id="2147484888" r:id="rId3"/>
    <p:sldLayoutId id="2147484889" r:id="rId4"/>
    <p:sldLayoutId id="2147484890" r:id="rId5"/>
    <p:sldLayoutId id="2147484891" r:id="rId6"/>
    <p:sldLayoutId id="2147484892" r:id="rId7"/>
    <p:sldLayoutId id="2147484893" r:id="rId8"/>
    <p:sldLayoutId id="2147484894" r:id="rId9"/>
    <p:sldLayoutId id="2147484895" r:id="rId10"/>
    <p:sldLayoutId id="2147484896" r:id="rId11"/>
    <p:sldLayoutId id="2147484897" r:id="rId12"/>
    <p:sldLayoutId id="2147484898" r:id="rId13"/>
    <p:sldLayoutId id="2147484899" r:id="rId14"/>
    <p:sldLayoutId id="2147484900" r:id="rId15"/>
    <p:sldLayoutId id="2147484902" r:id="rId16"/>
    <p:sldLayoutId id="2147484905" r:id="rId17"/>
    <p:sldLayoutId id="2147484906" r:id="rId18"/>
  </p:sldLayoutIdLst>
  <p:txStyles>
    <p:titleStyle>
      <a:lvl1pPr algn="l" defTabSz="932597" rtl="0" eaLnBrk="1" latinLnBrk="0" hangingPunct="1">
        <a:lnSpc>
          <a:spcPct val="90000"/>
        </a:lnSpc>
        <a:spcBef>
          <a:spcPct val="0"/>
        </a:spcBef>
        <a:buNone/>
        <a:defRPr sz="5507" kern="1200">
          <a:solidFill>
            <a:schemeClr val="tx1"/>
          </a:solidFill>
          <a:latin typeface="Segoe UI Light" panose="020B0502040204020203" pitchFamily="34" charset="0"/>
          <a:ea typeface="+mj-ea"/>
          <a:cs typeface="Segoe UI Light" panose="020B0502040204020203" pitchFamily="34" charset="0"/>
        </a:defRPr>
      </a:lvl1pPr>
    </p:titleStyle>
    <p:bodyStyle>
      <a:lvl1pPr marL="233149" indent="-233149" algn="l" defTabSz="932597" rtl="0" eaLnBrk="1" latinLnBrk="0" hangingPunct="1">
        <a:lnSpc>
          <a:spcPct val="90000"/>
        </a:lnSpc>
        <a:spcBef>
          <a:spcPts val="1020"/>
        </a:spcBef>
        <a:buClr>
          <a:schemeClr val="bg2"/>
        </a:buClr>
        <a:buFont typeface="Arial" panose="020B0604020202020204" pitchFamily="34" charset="0"/>
        <a:buChar char="•"/>
        <a:defRPr sz="2856" kern="1200">
          <a:solidFill>
            <a:schemeClr val="tx1">
              <a:lumMod val="75000"/>
            </a:schemeClr>
          </a:solidFill>
          <a:latin typeface="Segoe UI" panose="020B0502040204020203" pitchFamily="34" charset="0"/>
          <a:ea typeface="+mn-ea"/>
          <a:cs typeface="Segoe UI" panose="020B0502040204020203" pitchFamily="34" charset="0"/>
        </a:defRPr>
      </a:lvl1pPr>
      <a:lvl2pPr marL="699447" indent="-233149" algn="l" defTabSz="932597" rtl="0" eaLnBrk="1" latinLnBrk="0" hangingPunct="1">
        <a:lnSpc>
          <a:spcPct val="90000"/>
        </a:lnSpc>
        <a:spcBef>
          <a:spcPts val="510"/>
        </a:spcBef>
        <a:buClr>
          <a:schemeClr val="bg2"/>
        </a:buClr>
        <a:buFont typeface="Arial" panose="020B0604020202020204" pitchFamily="34" charset="0"/>
        <a:buChar char="•"/>
        <a:defRPr sz="2448" kern="1200">
          <a:solidFill>
            <a:schemeClr val="tx1">
              <a:lumMod val="75000"/>
            </a:schemeClr>
          </a:solidFill>
          <a:latin typeface="Segoe UI" panose="020B0502040204020203" pitchFamily="34" charset="0"/>
          <a:ea typeface="+mn-ea"/>
          <a:cs typeface="Segoe UI" panose="020B0502040204020203" pitchFamily="34" charset="0"/>
        </a:defRPr>
      </a:lvl2pPr>
      <a:lvl3pPr marL="1165746" indent="-233149" algn="l" defTabSz="932597" rtl="0" eaLnBrk="1" latinLnBrk="0" hangingPunct="1">
        <a:lnSpc>
          <a:spcPct val="90000"/>
        </a:lnSpc>
        <a:spcBef>
          <a:spcPts val="510"/>
        </a:spcBef>
        <a:buClr>
          <a:schemeClr val="bg2"/>
        </a:buClr>
        <a:buFont typeface="Arial" panose="020B0604020202020204" pitchFamily="34" charset="0"/>
        <a:buChar char="•"/>
        <a:defRPr sz="2040" kern="1200">
          <a:solidFill>
            <a:schemeClr val="tx1">
              <a:lumMod val="75000"/>
            </a:schemeClr>
          </a:solidFill>
          <a:latin typeface="Segoe UI" panose="020B0502040204020203" pitchFamily="34" charset="0"/>
          <a:ea typeface="+mn-ea"/>
          <a:cs typeface="Segoe UI" panose="020B0502040204020203" pitchFamily="34" charset="0"/>
        </a:defRPr>
      </a:lvl3pPr>
      <a:lvl4pPr marL="1632044"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tx1">
              <a:lumMod val="75000"/>
            </a:schemeClr>
          </a:solidFill>
          <a:latin typeface="Segoe UI" panose="020B0502040204020203" pitchFamily="34" charset="0"/>
          <a:ea typeface="+mn-ea"/>
          <a:cs typeface="Segoe UI" panose="020B0502040204020203" pitchFamily="34" charset="0"/>
        </a:defRPr>
      </a:lvl4pPr>
      <a:lvl5pPr marL="2098342" indent="-233149" algn="l" defTabSz="932597" rtl="0" eaLnBrk="1" latinLnBrk="0" hangingPunct="1">
        <a:lnSpc>
          <a:spcPct val="90000"/>
        </a:lnSpc>
        <a:spcBef>
          <a:spcPts val="510"/>
        </a:spcBef>
        <a:buClr>
          <a:schemeClr val="bg2"/>
        </a:buClr>
        <a:buFont typeface="Arial" panose="020B0604020202020204" pitchFamily="34" charset="0"/>
        <a:buChar char="•"/>
        <a:defRPr sz="1836" kern="1200">
          <a:solidFill>
            <a:schemeClr val="tx1">
              <a:lumMod val="75000"/>
            </a:schemeClr>
          </a:solidFill>
          <a:latin typeface="Segoe UI" panose="020B0502040204020203" pitchFamily="34" charset="0"/>
          <a:ea typeface="+mn-ea"/>
          <a:cs typeface="Segoe UI" panose="020B0502040204020203" pitchFamily="34" charset="0"/>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540CFB-E9BC-495C-9533-EDF15F43071F}"/>
              </a:ext>
            </a:extLst>
          </p:cNvPr>
          <p:cNvGraphicFramePr>
            <a:graphicFrameLocks noChangeAspect="1"/>
          </p:cNvGraphicFramePr>
          <p:nvPr userDrawn="1">
            <p:custDataLst>
              <p:tags r:id="rId23"/>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51217" name="think-cell Slide" r:id="rId24" imgW="425" imgH="426" progId="TCLayout.ActiveDocument.1">
                  <p:embed/>
                </p:oleObj>
              </mc:Choice>
              <mc:Fallback>
                <p:oleObj name="think-cell Slide" r:id="rId24" imgW="425" imgH="426" progId="TCLayout.ActiveDocument.1">
                  <p:embed/>
                  <p:pic>
                    <p:nvPicPr>
                      <p:cNvPr id="3" name="Object 2" hidden="1">
                        <a:extLst>
                          <a:ext uri="{FF2B5EF4-FFF2-40B4-BE49-F238E27FC236}">
                            <a16:creationId xmlns:a16="http://schemas.microsoft.com/office/drawing/2014/main" id="{A6540CFB-E9BC-495C-9533-EDF15F43071F}"/>
                          </a:ext>
                        </a:extLst>
                      </p:cNvPr>
                      <p:cNvPicPr/>
                      <p:nvPr/>
                    </p:nvPicPr>
                    <p:blipFill>
                      <a:blip r:embed="rId25"/>
                      <a:stretch>
                        <a:fillRect/>
                      </a:stretch>
                    </p:blipFill>
                    <p:spPr>
                      <a:xfrm>
                        <a:off x="1620" y="1620"/>
                        <a:ext cx="1619" cy="1619"/>
                      </a:xfrm>
                      <a:prstGeom prst="rect">
                        <a:avLst/>
                      </a:prstGeom>
                    </p:spPr>
                  </p:pic>
                </p:oleObj>
              </mc:Fallback>
            </mc:AlternateContent>
          </a:graphicData>
        </a:graphic>
      </p:graphicFrame>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6"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433832695"/>
      </p:ext>
    </p:extLst>
  </p:cSld>
  <p:clrMap bg1="lt1" tx1="dk1" bg2="lt2" tx2="dk2" accent1="accent1" accent2="accent2" accent3="accent3" accent4="accent4" accent5="accent5" accent6="accent6" hlink="hlink" folHlink="folHlink"/>
  <p:sldLayoutIdLst>
    <p:sldLayoutId id="2147484908" r:id="rId1"/>
    <p:sldLayoutId id="2147484909" r:id="rId2"/>
    <p:sldLayoutId id="2147484910" r:id="rId3"/>
    <p:sldLayoutId id="2147484911" r:id="rId4"/>
    <p:sldLayoutId id="2147484912" r:id="rId5"/>
    <p:sldLayoutId id="2147484913" r:id="rId6"/>
    <p:sldLayoutId id="2147484914" r:id="rId7"/>
    <p:sldLayoutId id="2147484915" r:id="rId8"/>
    <p:sldLayoutId id="2147484916" r:id="rId9"/>
    <p:sldLayoutId id="2147484917" r:id="rId10"/>
    <p:sldLayoutId id="2147484918" r:id="rId11"/>
    <p:sldLayoutId id="2147484919" r:id="rId12"/>
    <p:sldLayoutId id="2147484920" r:id="rId13"/>
    <p:sldLayoutId id="2147484921" r:id="rId14"/>
    <p:sldLayoutId id="2147484922" r:id="rId15"/>
    <p:sldLayoutId id="2147484923" r:id="rId16"/>
    <p:sldLayoutId id="2147484924" r:id="rId17"/>
    <p:sldLayoutId id="2147484925" r:id="rId18"/>
    <p:sldLayoutId id="2147484926" r:id="rId19"/>
    <p:sldLayoutId id="2147484927" r:id="rId20"/>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392">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262112379"/>
      </p:ext>
    </p:extLst>
  </p:cSld>
  <p:clrMap bg1="lt1" tx1="dk1" bg2="lt2" tx2="dk2" accent1="accent1" accent2="accent2" accent3="accent3" accent4="accent4" accent5="accent5" accent6="accent6" hlink="hlink" folHlink="folHlink"/>
  <p:sldLayoutIdLst>
    <p:sldLayoutId id="2147484929" r:id="rId1"/>
    <p:sldLayoutId id="2147484930" r:id="rId2"/>
    <p:sldLayoutId id="2147484931" r:id="rId3"/>
    <p:sldLayoutId id="2147484932" r:id="rId4"/>
    <p:sldLayoutId id="2147484933" r:id="rId5"/>
    <p:sldLayoutId id="2147484934" r:id="rId6"/>
    <p:sldLayoutId id="2147484935" r:id="rId7"/>
    <p:sldLayoutId id="2147484936" r:id="rId8"/>
    <p:sldLayoutId id="2147484937" r:id="rId9"/>
    <p:sldLayoutId id="2147484938" r:id="rId10"/>
    <p:sldLayoutId id="2147484939" r:id="rId11"/>
    <p:sldLayoutId id="2147484940" r:id="rId12"/>
    <p:sldLayoutId id="2147484941" r:id="rId13"/>
    <p:sldLayoutId id="2147484942" r:id="rId14"/>
    <p:sldLayoutId id="2147484943" r:id="rId15"/>
    <p:sldLayoutId id="2147484944" r:id="rId16"/>
    <p:sldLayoutId id="2147484945" r:id="rId17"/>
    <p:sldLayoutId id="2147484946" r:id="rId18"/>
    <p:sldLayoutId id="2147484947" r:id="rId19"/>
  </p:sldLayoutIdLst>
  <p:transition>
    <p:fade/>
  </p:transition>
  <p:hf sldNum="0" hd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1401324945"/>
      </p:ext>
    </p:extLst>
  </p:cSld>
  <p:clrMap bg1="lt1" tx1="dk1" bg2="lt2" tx2="dk2" accent1="accent1" accent2="accent2" accent3="accent3" accent4="accent4" accent5="accent5" accent6="accent6" hlink="hlink" folHlink="folHlink"/>
  <p:sldLayoutIdLst>
    <p:sldLayoutId id="2147484949" r:id="rId1"/>
    <p:sldLayoutId id="2147484950" r:id="rId2"/>
    <p:sldLayoutId id="2147484951" r:id="rId3"/>
    <p:sldLayoutId id="2147484952" r:id="rId4"/>
    <p:sldLayoutId id="2147484953" r:id="rId5"/>
    <p:sldLayoutId id="2147484954" r:id="rId6"/>
    <p:sldLayoutId id="2147484955" r:id="rId7"/>
    <p:sldLayoutId id="2147484956" r:id="rId8"/>
    <p:sldLayoutId id="2147484957" r:id="rId9"/>
    <p:sldLayoutId id="2147484958" r:id="rId10"/>
    <p:sldLayoutId id="2147484959" r:id="rId11"/>
    <p:sldLayoutId id="2147484960" r:id="rId12"/>
    <p:sldLayoutId id="2147484961" r:id="rId13"/>
    <p:sldLayoutId id="2147484962" r:id="rId14"/>
    <p:sldLayoutId id="2147484963" r:id="rId15"/>
    <p:sldLayoutId id="2147484964" r:id="rId16"/>
    <p:sldLayoutId id="2147484965" r:id="rId17"/>
    <p:sldLayoutId id="2147484966" r:id="rId18"/>
    <p:sldLayoutId id="2147484967" r:id="rId19"/>
    <p:sldLayoutId id="2147484968" r:id="rId20"/>
    <p:sldLayoutId id="2147484969" r:id="rId21"/>
    <p:sldLayoutId id="2147484970" r:id="rId22"/>
    <p:sldLayoutId id="2147484971" r:id="rId23"/>
    <p:sldLayoutId id="2147484972" r:id="rId24"/>
    <p:sldLayoutId id="2147484973" r:id="rId25"/>
    <p:sldLayoutId id="2147484974" r:id="rId26"/>
    <p:sldLayoutId id="2147484975" r:id="rId27"/>
    <p:sldLayoutId id="2147484976" r:id="rId28"/>
    <p:sldLayoutId id="2147484977" r:id="rId29"/>
    <p:sldLayoutId id="2147484978" r:id="rId30"/>
    <p:sldLayoutId id="2147484979" r:id="rId31"/>
    <p:sldLayoutId id="2147484980" r:id="rId32"/>
  </p:sldLayoutIdLst>
  <p:transition>
    <p:fade/>
  </p:transition>
  <p:hf sldNum="0" hdr="0" ftr="0" dt="0"/>
  <p:txStyles>
    <p:titleStyle>
      <a:lvl1pPr algn="l" defTabSz="932563" rtl="0" eaLnBrk="1" latinLnBrk="0" hangingPunct="1">
        <a:lnSpc>
          <a:spcPct val="90000"/>
        </a:lnSpc>
        <a:spcBef>
          <a:spcPct val="0"/>
        </a:spcBef>
        <a:buNone/>
        <a:defRPr lang="en-US" sz="4399" b="0" kern="1200" cap="none" spc="-102" baseline="0" dirty="0" smtClean="0">
          <a:ln w="3175">
            <a:noFill/>
          </a:ln>
          <a:gradFill>
            <a:gsLst>
              <a:gs pos="1250">
                <a:schemeClr val="tx1"/>
              </a:gs>
              <a:gs pos="100000">
                <a:schemeClr val="tx1"/>
              </a:gs>
            </a:gsLst>
            <a:lin ang="5400000" scaled="0"/>
          </a:gradFill>
          <a:effectLst/>
          <a:latin typeface="+mj-lt"/>
          <a:ea typeface="+mn-ea"/>
          <a:cs typeface="Segoe UI Semilight" panose="020B0402040204020203" pitchFamily="34" charset="0"/>
        </a:defRPr>
      </a:lvl1pPr>
    </p:titleStyle>
    <p:bodyStyle>
      <a:lvl1pPr marL="228557"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99" kern="1200" spc="0" baseline="0">
          <a:gradFill>
            <a:gsLst>
              <a:gs pos="1250">
                <a:schemeClr val="tx1"/>
              </a:gs>
              <a:gs pos="100000">
                <a:schemeClr val="tx1"/>
              </a:gs>
            </a:gsLst>
            <a:lin ang="5400000" scaled="0"/>
          </a:gradFill>
          <a:latin typeface="+mj-lt"/>
          <a:ea typeface="+mn-ea"/>
          <a:cs typeface="+mn-cs"/>
        </a:defRPr>
      </a:lvl1pPr>
      <a:lvl2pPr marL="457112"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669"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224"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2781"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3184" y="299842"/>
            <a:ext cx="11931243" cy="695776"/>
          </a:xfrm>
          <a:prstGeom prst="rect">
            <a:avLst/>
          </a:prstGeom>
        </p:spPr>
        <p:txBody>
          <a:bodyPr vert="horz" lIns="137160" tIns="91440" rIns="137160" bIns="137160" rtlCol="0" anchor="t">
            <a:noAutofit/>
          </a:bodyPr>
          <a:lstStyle/>
          <a:p>
            <a:endParaRPr lang="en-US"/>
          </a:p>
        </p:txBody>
      </p:sp>
      <p:sp>
        <p:nvSpPr>
          <p:cNvPr id="7" name="Footer Placeholder 6"/>
          <p:cNvSpPr>
            <a:spLocks noGrp="1"/>
          </p:cNvSpPr>
          <p:nvPr>
            <p:ph type="ftr" sz="quarter" idx="3"/>
          </p:nvPr>
        </p:nvSpPr>
        <p:spPr>
          <a:xfrm>
            <a:off x="233184" y="6683658"/>
            <a:ext cx="11426011"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31"/>
            <a:endParaRPr lang="en-US">
              <a:solidFill>
                <a:srgbClr val="505050"/>
              </a:solidFill>
            </a:endParaRPr>
          </a:p>
        </p:txBody>
      </p:sp>
      <p:sp>
        <p:nvSpPr>
          <p:cNvPr id="15" name="Text Placeholder 14"/>
          <p:cNvSpPr>
            <a:spLocks noGrp="1"/>
          </p:cNvSpPr>
          <p:nvPr>
            <p:ph type="body" idx="1"/>
          </p:nvPr>
        </p:nvSpPr>
        <p:spPr>
          <a:xfrm>
            <a:off x="233184" y="1632058"/>
            <a:ext cx="11931243" cy="4650299"/>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2244159" y="6650764"/>
            <a:ext cx="127541" cy="251094"/>
          </a:xfrm>
          <a:prstGeom prst="rect">
            <a:avLst/>
          </a:prstGeom>
        </p:spPr>
        <p:txBody>
          <a:bodyPr vert="horz" wrap="square" lIns="0" tIns="0" rIns="0" bIns="0" rtlCol="0" anchor="ctr">
            <a:spAutoFit/>
          </a:bodyPr>
          <a:lstStyle>
            <a:lvl1pPr algn="r">
              <a:defRPr sz="816">
                <a:solidFill>
                  <a:schemeClr val="tx1"/>
                </a:solidFill>
                <a:latin typeface="Segoe UI" pitchFamily="34" charset="0"/>
                <a:ea typeface="Segoe UI" pitchFamily="34" charset="0"/>
                <a:cs typeface="Segoe UI" pitchFamily="34" charset="0"/>
              </a:defRPr>
            </a:lvl1pPr>
          </a:lstStyle>
          <a:p>
            <a:fld id="{4CED8391-71CF-4FD3-A093-40D26DE2D47C}" type="slidenum">
              <a:rPr lang="en-US" smtClean="0">
                <a:solidFill>
                  <a:srgbClr val="00188F"/>
                </a:solidFill>
              </a:rPr>
              <a:pPr/>
              <a:t>‹#›</a:t>
            </a:fld>
            <a:endParaRPr lang="en-US">
              <a:solidFill>
                <a:srgbClr val="00188F"/>
              </a:solidFill>
            </a:endParaRPr>
          </a:p>
        </p:txBody>
      </p:sp>
      <p:pic>
        <p:nvPicPr>
          <p:cNvPr id="6" name="Picture 5"/>
          <p:cNvPicPr>
            <a:picLocks noChangeAspect="1"/>
          </p:cNvPicPr>
          <p:nvPr/>
        </p:nvPicPr>
        <p:blipFill>
          <a:blip r:embed="rId29" cstate="email">
            <a:extLst>
              <a:ext uri="{28A0092B-C50C-407E-A947-70E740481C1C}">
                <a14:useLocalDpi xmlns:a14="http://schemas.microsoft.com/office/drawing/2010/main"/>
              </a:ext>
            </a:extLst>
          </a:blip>
          <a:stretch>
            <a:fillRect/>
          </a:stretch>
        </p:blipFill>
        <p:spPr>
          <a:xfrm rot="5400000">
            <a:off x="9582772" y="3111176"/>
            <a:ext cx="7134416" cy="912063"/>
          </a:xfrm>
          <a:prstGeom prst="rect">
            <a:avLst/>
          </a:prstGeom>
        </p:spPr>
      </p:pic>
    </p:spTree>
    <p:extLst>
      <p:ext uri="{BB962C8B-B14F-4D97-AF65-F5344CB8AC3E}">
        <p14:creationId xmlns:p14="http://schemas.microsoft.com/office/powerpoint/2010/main" val="2069577811"/>
      </p:ext>
    </p:extLst>
  </p:cSld>
  <p:clrMap bg1="lt1" tx1="dk1" bg2="lt2" tx2="dk2" accent1="accent1" accent2="accent2" accent3="accent3" accent4="accent4" accent5="accent5" accent6="accent6" hlink="hlink" folHlink="folHlink"/>
  <p:sldLayoutIdLst>
    <p:sldLayoutId id="2147485014" r:id="rId1"/>
    <p:sldLayoutId id="2147485015" r:id="rId2"/>
    <p:sldLayoutId id="2147485016" r:id="rId3"/>
    <p:sldLayoutId id="2147485017" r:id="rId4"/>
    <p:sldLayoutId id="2147485018" r:id="rId5"/>
    <p:sldLayoutId id="2147485019" r:id="rId6"/>
    <p:sldLayoutId id="2147485020" r:id="rId7"/>
    <p:sldLayoutId id="2147485021" r:id="rId8"/>
    <p:sldLayoutId id="2147485022" r:id="rId9"/>
    <p:sldLayoutId id="2147485023" r:id="rId10"/>
    <p:sldLayoutId id="2147485024" r:id="rId11"/>
    <p:sldLayoutId id="2147485025" r:id="rId12"/>
    <p:sldLayoutId id="2147485026" r:id="rId13"/>
    <p:sldLayoutId id="2147485027" r:id="rId14"/>
    <p:sldLayoutId id="2147485028" r:id="rId15"/>
    <p:sldLayoutId id="2147485029" r:id="rId16"/>
    <p:sldLayoutId id="2147485030" r:id="rId17"/>
    <p:sldLayoutId id="2147485031" r:id="rId18"/>
    <p:sldLayoutId id="2147485032" r:id="rId19"/>
    <p:sldLayoutId id="2147485033" r:id="rId20"/>
    <p:sldLayoutId id="2147485034" r:id="rId21"/>
    <p:sldLayoutId id="2147485035" r:id="rId22"/>
    <p:sldLayoutId id="2147485036" r:id="rId23"/>
    <p:sldLayoutId id="2147485037" r:id="rId24"/>
    <p:sldLayoutId id="2147485038" r:id="rId25"/>
    <p:sldLayoutId id="2147485039" r:id="rId26"/>
    <p:sldLayoutId id="2147485040" r:id="rId27"/>
  </p:sldLayoutIdLst>
  <p:transition>
    <p:fade/>
  </p:transition>
  <p:txStyles>
    <p:titleStyle>
      <a:lvl1pPr marL="0" algn="l" defTabSz="1109731" rtl="0" eaLnBrk="1" latinLnBrk="0" hangingPunct="1">
        <a:lnSpc>
          <a:spcPct val="90000"/>
        </a:lnSpc>
        <a:spcBef>
          <a:spcPct val="0"/>
        </a:spcBef>
        <a:buNone/>
        <a:defRPr lang="en-US" sz="4896"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731" rtl="0" eaLnBrk="1" latinLnBrk="0" hangingPunct="1">
        <a:spcBef>
          <a:spcPts val="1836"/>
        </a:spcBef>
        <a:buClr>
          <a:srgbClr val="0072C6"/>
        </a:buClr>
        <a:buSzPct val="100000"/>
        <a:buFont typeface="Wingdings" pitchFamily="2" charset="2"/>
        <a:buNone/>
        <a:defRPr sz="2448" kern="1200">
          <a:solidFill>
            <a:schemeClr val="tx1"/>
          </a:solidFill>
          <a:latin typeface="Segoe UI" pitchFamily="34" charset="0"/>
          <a:ea typeface="Segoe UI" pitchFamily="34" charset="0"/>
          <a:cs typeface="Segoe UI" pitchFamily="34" charset="0"/>
        </a:defRPr>
      </a:lvl1pPr>
      <a:lvl2pPr marL="485533" indent="-198259" algn="l" defTabSz="1109731"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51" indent="-176679" algn="l" defTabSz="1109731"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70" indent="-180726"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36" indent="-183424"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761"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625"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492"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356"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31" rtl="0" eaLnBrk="1" latinLnBrk="0" hangingPunct="1">
        <a:defRPr sz="2244" kern="1200">
          <a:solidFill>
            <a:schemeClr val="tx1"/>
          </a:solidFill>
          <a:latin typeface="+mn-lt"/>
          <a:ea typeface="+mn-ea"/>
          <a:cs typeface="+mn-cs"/>
        </a:defRPr>
      </a:lvl1pPr>
      <a:lvl2pPr marL="554866" algn="l" defTabSz="1109731" rtl="0" eaLnBrk="1" latinLnBrk="0" hangingPunct="1">
        <a:defRPr sz="2244" kern="1200">
          <a:solidFill>
            <a:schemeClr val="tx1"/>
          </a:solidFill>
          <a:latin typeface="+mn-lt"/>
          <a:ea typeface="+mn-ea"/>
          <a:cs typeface="+mn-cs"/>
        </a:defRPr>
      </a:lvl2pPr>
      <a:lvl3pPr marL="1109731" algn="l" defTabSz="1109731" rtl="0" eaLnBrk="1" latinLnBrk="0" hangingPunct="1">
        <a:defRPr sz="2244" kern="1200">
          <a:solidFill>
            <a:schemeClr val="tx1"/>
          </a:solidFill>
          <a:latin typeface="+mn-lt"/>
          <a:ea typeface="+mn-ea"/>
          <a:cs typeface="+mn-cs"/>
        </a:defRPr>
      </a:lvl3pPr>
      <a:lvl4pPr marL="1664597" algn="l" defTabSz="1109731" rtl="0" eaLnBrk="1" latinLnBrk="0" hangingPunct="1">
        <a:defRPr sz="2244" kern="1200">
          <a:solidFill>
            <a:schemeClr val="tx1"/>
          </a:solidFill>
          <a:latin typeface="+mn-lt"/>
          <a:ea typeface="+mn-ea"/>
          <a:cs typeface="+mn-cs"/>
        </a:defRPr>
      </a:lvl4pPr>
      <a:lvl5pPr marL="2219462" algn="l" defTabSz="1109731" rtl="0" eaLnBrk="1" latinLnBrk="0" hangingPunct="1">
        <a:defRPr sz="2244" kern="1200">
          <a:solidFill>
            <a:schemeClr val="tx1"/>
          </a:solidFill>
          <a:latin typeface="+mn-lt"/>
          <a:ea typeface="+mn-ea"/>
          <a:cs typeface="+mn-cs"/>
        </a:defRPr>
      </a:lvl5pPr>
      <a:lvl6pPr marL="2774328" algn="l" defTabSz="1109731" rtl="0" eaLnBrk="1" latinLnBrk="0" hangingPunct="1">
        <a:defRPr sz="2244" kern="1200">
          <a:solidFill>
            <a:schemeClr val="tx1"/>
          </a:solidFill>
          <a:latin typeface="+mn-lt"/>
          <a:ea typeface="+mn-ea"/>
          <a:cs typeface="+mn-cs"/>
        </a:defRPr>
      </a:lvl6pPr>
      <a:lvl7pPr marL="3329192" algn="l" defTabSz="1109731" rtl="0" eaLnBrk="1" latinLnBrk="0" hangingPunct="1">
        <a:defRPr sz="2244" kern="1200">
          <a:solidFill>
            <a:schemeClr val="tx1"/>
          </a:solidFill>
          <a:latin typeface="+mn-lt"/>
          <a:ea typeface="+mn-ea"/>
          <a:cs typeface="+mn-cs"/>
        </a:defRPr>
      </a:lvl7pPr>
      <a:lvl8pPr marL="3884059" algn="l" defTabSz="1109731" rtl="0" eaLnBrk="1" latinLnBrk="0" hangingPunct="1">
        <a:defRPr sz="2244" kern="1200">
          <a:solidFill>
            <a:schemeClr val="tx1"/>
          </a:solidFill>
          <a:latin typeface="+mn-lt"/>
          <a:ea typeface="+mn-ea"/>
          <a:cs typeface="+mn-cs"/>
        </a:defRPr>
      </a:lvl8pPr>
      <a:lvl9pPr marL="4438925" algn="l" defTabSz="1109731"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33184" y="299842"/>
            <a:ext cx="11931243" cy="695776"/>
          </a:xfrm>
          <a:prstGeom prst="rect">
            <a:avLst/>
          </a:prstGeom>
        </p:spPr>
        <p:txBody>
          <a:bodyPr vert="horz" lIns="137160" tIns="91440" rIns="137160" bIns="137160" rtlCol="0" anchor="t">
            <a:noAutofit/>
          </a:bodyPr>
          <a:lstStyle/>
          <a:p>
            <a:endParaRPr lang="en-US"/>
          </a:p>
        </p:txBody>
      </p:sp>
      <p:sp>
        <p:nvSpPr>
          <p:cNvPr id="7" name="Footer Placeholder 6"/>
          <p:cNvSpPr>
            <a:spLocks noGrp="1"/>
          </p:cNvSpPr>
          <p:nvPr>
            <p:ph type="ftr" sz="quarter" idx="3"/>
          </p:nvPr>
        </p:nvSpPr>
        <p:spPr>
          <a:xfrm>
            <a:off x="233184" y="6683658"/>
            <a:ext cx="11426011" cy="310869"/>
          </a:xfrm>
          <a:prstGeom prst="rect">
            <a:avLst/>
          </a:prstGeom>
        </p:spPr>
        <p:txBody>
          <a:bodyPr vert="horz" lIns="182880" tIns="38089" rIns="76179" bIns="38089" rtlCol="0" anchor="ctr"/>
          <a:lstStyle>
            <a:lvl1pPr algn="l">
              <a:defRPr sz="816">
                <a:solidFill>
                  <a:schemeClr val="tx1"/>
                </a:solidFill>
                <a:latin typeface="Segoe UI" pitchFamily="34" charset="0"/>
                <a:ea typeface="Segoe UI" pitchFamily="34" charset="0"/>
                <a:cs typeface="Segoe UI" pitchFamily="34" charset="0"/>
              </a:defRPr>
            </a:lvl1pPr>
          </a:lstStyle>
          <a:p>
            <a:pPr defTabSz="1109731"/>
            <a:endParaRPr lang="en-US">
              <a:solidFill>
                <a:srgbClr val="505050"/>
              </a:solidFill>
            </a:endParaRPr>
          </a:p>
        </p:txBody>
      </p:sp>
      <p:sp>
        <p:nvSpPr>
          <p:cNvPr id="15" name="Text Placeholder 14"/>
          <p:cNvSpPr>
            <a:spLocks noGrp="1"/>
          </p:cNvSpPr>
          <p:nvPr>
            <p:ph type="body" idx="1"/>
          </p:nvPr>
        </p:nvSpPr>
        <p:spPr>
          <a:xfrm>
            <a:off x="233184" y="1632058"/>
            <a:ext cx="11931243" cy="4650299"/>
          </a:xfrm>
          <a:prstGeom prst="rect">
            <a:avLst/>
          </a:prstGeom>
        </p:spPr>
        <p:txBody>
          <a:bodyPr vert="horz" lIns="137160" tIns="91440" rIns="137160" bIns="13716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4"/>
          </p:nvPr>
        </p:nvSpPr>
        <p:spPr>
          <a:xfrm>
            <a:off x="11659198" y="6683658"/>
            <a:ext cx="777279" cy="310869"/>
          </a:xfrm>
          <a:prstGeom prst="rect">
            <a:avLst/>
          </a:prstGeom>
        </p:spPr>
        <p:txBody>
          <a:bodyPr vert="horz" lIns="91440" tIns="45720" rIns="91440" bIns="45720" rtlCol="0" anchor="ctr"/>
          <a:lstStyle>
            <a:lvl1pPr algn="r">
              <a:defRPr sz="816">
                <a:solidFill>
                  <a:schemeClr val="tx1"/>
                </a:solidFill>
                <a:latin typeface="Segoe UI" pitchFamily="34" charset="0"/>
                <a:ea typeface="Segoe UI" pitchFamily="34" charset="0"/>
                <a:cs typeface="Segoe UI" pitchFamily="34" charset="0"/>
              </a:defRPr>
            </a:lvl1pPr>
          </a:lstStyle>
          <a:p>
            <a:pPr defTabSz="1109731"/>
            <a:fld id="{FAADACFB-7C71-4E89-89D2-7BBA40B7BFA9}" type="slidenum">
              <a:rPr lang="en-US" smtClean="0">
                <a:solidFill>
                  <a:srgbClr val="505050"/>
                </a:solidFill>
              </a:rPr>
              <a:pPr defTabSz="1109731"/>
              <a:t>‹#›</a:t>
            </a:fld>
            <a:endParaRPr lang="en-US">
              <a:solidFill>
                <a:srgbClr val="505050"/>
              </a:solidFill>
            </a:endParaRPr>
          </a:p>
        </p:txBody>
      </p:sp>
      <p:pic>
        <p:nvPicPr>
          <p:cNvPr id="6" name="Picture 5"/>
          <p:cNvPicPr>
            <a:picLocks noChangeAspect="1"/>
          </p:cNvPicPr>
          <p:nvPr/>
        </p:nvPicPr>
        <p:blipFill>
          <a:blip r:embed="rId25"/>
          <a:stretch>
            <a:fillRect/>
          </a:stretch>
        </p:blipFill>
        <p:spPr>
          <a:xfrm rot="5400000">
            <a:off x="9582772" y="3111176"/>
            <a:ext cx="7134416" cy="912063"/>
          </a:xfrm>
          <a:prstGeom prst="rect">
            <a:avLst/>
          </a:prstGeom>
        </p:spPr>
      </p:pic>
    </p:spTree>
    <p:extLst>
      <p:ext uri="{BB962C8B-B14F-4D97-AF65-F5344CB8AC3E}">
        <p14:creationId xmlns:p14="http://schemas.microsoft.com/office/powerpoint/2010/main" val="3422395956"/>
      </p:ext>
    </p:extLst>
  </p:cSld>
  <p:clrMap bg1="lt1" tx1="dk1" bg2="lt2" tx2="dk2" accent1="accent1" accent2="accent2" accent3="accent3" accent4="accent4" accent5="accent5" accent6="accent6" hlink="hlink" folHlink="folHlink"/>
  <p:sldLayoutIdLst>
    <p:sldLayoutId id="2147485042" r:id="rId1"/>
    <p:sldLayoutId id="2147485043" r:id="rId2"/>
    <p:sldLayoutId id="2147485044" r:id="rId3"/>
    <p:sldLayoutId id="2147485045" r:id="rId4"/>
    <p:sldLayoutId id="2147485046" r:id="rId5"/>
    <p:sldLayoutId id="2147485047" r:id="rId6"/>
    <p:sldLayoutId id="2147485048" r:id="rId7"/>
    <p:sldLayoutId id="2147485049" r:id="rId8"/>
    <p:sldLayoutId id="2147485050" r:id="rId9"/>
    <p:sldLayoutId id="2147485051" r:id="rId10"/>
    <p:sldLayoutId id="2147485052" r:id="rId11"/>
    <p:sldLayoutId id="2147485053" r:id="rId12"/>
    <p:sldLayoutId id="2147485054" r:id="rId13"/>
    <p:sldLayoutId id="2147485055" r:id="rId14"/>
    <p:sldLayoutId id="2147485056" r:id="rId15"/>
    <p:sldLayoutId id="2147485057" r:id="rId16"/>
    <p:sldLayoutId id="2147485058" r:id="rId17"/>
    <p:sldLayoutId id="2147485059" r:id="rId18"/>
    <p:sldLayoutId id="2147485060" r:id="rId19"/>
    <p:sldLayoutId id="2147485061" r:id="rId20"/>
    <p:sldLayoutId id="2147485062" r:id="rId21"/>
    <p:sldLayoutId id="2147485063" r:id="rId22"/>
    <p:sldLayoutId id="2147485064" r:id="rId23"/>
  </p:sldLayoutIdLst>
  <p:transition>
    <p:fade/>
  </p:transition>
  <p:hf hdr="0" ftr="0" dt="0"/>
  <p:txStyles>
    <p:titleStyle>
      <a:lvl1pPr marL="0" algn="l" defTabSz="1109731" rtl="0" eaLnBrk="1" latinLnBrk="0" hangingPunct="1">
        <a:lnSpc>
          <a:spcPct val="90000"/>
        </a:lnSpc>
        <a:spcBef>
          <a:spcPct val="0"/>
        </a:spcBef>
        <a:buNone/>
        <a:defRPr lang="en-US" sz="4896" kern="1200" spc="-102"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109731" rtl="0" eaLnBrk="1" latinLnBrk="0" hangingPunct="1">
        <a:spcBef>
          <a:spcPts val="1836"/>
        </a:spcBef>
        <a:buClr>
          <a:srgbClr val="0072C6"/>
        </a:buClr>
        <a:buSzPct val="100000"/>
        <a:buFont typeface="Wingdings" pitchFamily="2" charset="2"/>
        <a:buNone/>
        <a:defRPr sz="2448" kern="1200">
          <a:solidFill>
            <a:schemeClr val="tx1"/>
          </a:solidFill>
          <a:latin typeface="Segoe UI" pitchFamily="34" charset="0"/>
          <a:ea typeface="Segoe UI" pitchFamily="34" charset="0"/>
          <a:cs typeface="Segoe UI" pitchFamily="34" charset="0"/>
        </a:defRPr>
      </a:lvl1pPr>
      <a:lvl2pPr marL="485533" indent="-198259" algn="l" defTabSz="1109731" rtl="0" eaLnBrk="1" latinLnBrk="0" hangingPunct="1">
        <a:spcBef>
          <a:spcPct val="20000"/>
        </a:spcBef>
        <a:buFont typeface="Arial" pitchFamily="34" charset="0"/>
        <a:buChar char="•"/>
        <a:defRPr sz="1836" kern="1200">
          <a:solidFill>
            <a:schemeClr val="tx1"/>
          </a:solidFill>
          <a:latin typeface="Segoe UI" pitchFamily="34" charset="0"/>
          <a:ea typeface="Segoe UI" pitchFamily="34" charset="0"/>
          <a:cs typeface="Segoe UI" pitchFamily="34" charset="0"/>
        </a:defRPr>
      </a:lvl2pPr>
      <a:lvl3pPr marL="776851" indent="-176679" algn="l" defTabSz="1109731" rtl="0" eaLnBrk="1" latinLnBrk="0" hangingPunct="1">
        <a:spcBef>
          <a:spcPct val="20000"/>
        </a:spcBef>
        <a:buFont typeface="Arial" pitchFamily="34" charset="0"/>
        <a:buChar char="•"/>
        <a:defRPr sz="1632" kern="1200">
          <a:solidFill>
            <a:schemeClr val="tx1"/>
          </a:solidFill>
          <a:latin typeface="Segoe UI" pitchFamily="34" charset="0"/>
          <a:ea typeface="Segoe UI" pitchFamily="34" charset="0"/>
          <a:cs typeface="Segoe UI" pitchFamily="34" charset="0"/>
        </a:defRPr>
      </a:lvl3pPr>
      <a:lvl4pPr marL="1068170" indent="-180726"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4pPr>
      <a:lvl5pPr marL="1310936" indent="-183424" algn="l" defTabSz="1109731" rtl="0" eaLnBrk="1" latinLnBrk="0" hangingPunct="1">
        <a:spcBef>
          <a:spcPct val="20000"/>
        </a:spcBef>
        <a:buFont typeface="Arial" pitchFamily="34" charset="0"/>
        <a:buChar char="»"/>
        <a:defRPr sz="1428" kern="1200">
          <a:solidFill>
            <a:schemeClr val="tx1"/>
          </a:solidFill>
          <a:latin typeface="Segoe UI" pitchFamily="34" charset="0"/>
          <a:ea typeface="Segoe UI" pitchFamily="34" charset="0"/>
          <a:cs typeface="Segoe UI" pitchFamily="34" charset="0"/>
        </a:defRPr>
      </a:lvl5pPr>
      <a:lvl6pPr marL="3051761"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6pPr>
      <a:lvl7pPr marL="3606625"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7pPr>
      <a:lvl8pPr marL="4161492"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8pPr>
      <a:lvl9pPr marL="4716356" indent="-277433" algn="l" defTabSz="1109731" rtl="0" eaLnBrk="1" latinLnBrk="0" hangingPunct="1">
        <a:spcBef>
          <a:spcPct val="20000"/>
        </a:spcBef>
        <a:buFont typeface="Arial" pitchFamily="34" charset="0"/>
        <a:buChar char="•"/>
        <a:defRPr sz="2550" kern="1200">
          <a:solidFill>
            <a:schemeClr val="tx1"/>
          </a:solidFill>
          <a:latin typeface="+mn-lt"/>
          <a:ea typeface="+mn-ea"/>
          <a:cs typeface="+mn-cs"/>
        </a:defRPr>
      </a:lvl9pPr>
    </p:bodyStyle>
    <p:otherStyle>
      <a:defPPr>
        <a:defRPr lang="en-US"/>
      </a:defPPr>
      <a:lvl1pPr marL="0" algn="l" defTabSz="1109731" rtl="0" eaLnBrk="1" latinLnBrk="0" hangingPunct="1">
        <a:defRPr sz="2244" kern="1200">
          <a:solidFill>
            <a:schemeClr val="tx1"/>
          </a:solidFill>
          <a:latin typeface="+mn-lt"/>
          <a:ea typeface="+mn-ea"/>
          <a:cs typeface="+mn-cs"/>
        </a:defRPr>
      </a:lvl1pPr>
      <a:lvl2pPr marL="554866" algn="l" defTabSz="1109731" rtl="0" eaLnBrk="1" latinLnBrk="0" hangingPunct="1">
        <a:defRPr sz="2244" kern="1200">
          <a:solidFill>
            <a:schemeClr val="tx1"/>
          </a:solidFill>
          <a:latin typeface="+mn-lt"/>
          <a:ea typeface="+mn-ea"/>
          <a:cs typeface="+mn-cs"/>
        </a:defRPr>
      </a:lvl2pPr>
      <a:lvl3pPr marL="1109731" algn="l" defTabSz="1109731" rtl="0" eaLnBrk="1" latinLnBrk="0" hangingPunct="1">
        <a:defRPr sz="2244" kern="1200">
          <a:solidFill>
            <a:schemeClr val="tx1"/>
          </a:solidFill>
          <a:latin typeface="+mn-lt"/>
          <a:ea typeface="+mn-ea"/>
          <a:cs typeface="+mn-cs"/>
        </a:defRPr>
      </a:lvl3pPr>
      <a:lvl4pPr marL="1664597" algn="l" defTabSz="1109731" rtl="0" eaLnBrk="1" latinLnBrk="0" hangingPunct="1">
        <a:defRPr sz="2244" kern="1200">
          <a:solidFill>
            <a:schemeClr val="tx1"/>
          </a:solidFill>
          <a:latin typeface="+mn-lt"/>
          <a:ea typeface="+mn-ea"/>
          <a:cs typeface="+mn-cs"/>
        </a:defRPr>
      </a:lvl4pPr>
      <a:lvl5pPr marL="2219462" algn="l" defTabSz="1109731" rtl="0" eaLnBrk="1" latinLnBrk="0" hangingPunct="1">
        <a:defRPr sz="2244" kern="1200">
          <a:solidFill>
            <a:schemeClr val="tx1"/>
          </a:solidFill>
          <a:latin typeface="+mn-lt"/>
          <a:ea typeface="+mn-ea"/>
          <a:cs typeface="+mn-cs"/>
        </a:defRPr>
      </a:lvl5pPr>
      <a:lvl6pPr marL="2774328" algn="l" defTabSz="1109731" rtl="0" eaLnBrk="1" latinLnBrk="0" hangingPunct="1">
        <a:defRPr sz="2244" kern="1200">
          <a:solidFill>
            <a:schemeClr val="tx1"/>
          </a:solidFill>
          <a:latin typeface="+mn-lt"/>
          <a:ea typeface="+mn-ea"/>
          <a:cs typeface="+mn-cs"/>
        </a:defRPr>
      </a:lvl6pPr>
      <a:lvl7pPr marL="3329192" algn="l" defTabSz="1109731" rtl="0" eaLnBrk="1" latinLnBrk="0" hangingPunct="1">
        <a:defRPr sz="2244" kern="1200">
          <a:solidFill>
            <a:schemeClr val="tx1"/>
          </a:solidFill>
          <a:latin typeface="+mn-lt"/>
          <a:ea typeface="+mn-ea"/>
          <a:cs typeface="+mn-cs"/>
        </a:defRPr>
      </a:lvl7pPr>
      <a:lvl8pPr marL="3884059" algn="l" defTabSz="1109731" rtl="0" eaLnBrk="1" latinLnBrk="0" hangingPunct="1">
        <a:defRPr sz="2244" kern="1200">
          <a:solidFill>
            <a:schemeClr val="tx1"/>
          </a:solidFill>
          <a:latin typeface="+mn-lt"/>
          <a:ea typeface="+mn-ea"/>
          <a:cs typeface="+mn-cs"/>
        </a:defRPr>
      </a:lvl8pPr>
      <a:lvl9pPr marL="4438925" algn="l" defTabSz="1109731" rtl="0" eaLnBrk="1" latinLnBrk="0" hangingPunct="1">
        <a:defRPr sz="224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4127">
          <p15:clr>
            <a:srgbClr val="5ACBF0"/>
          </p15:clr>
        </p15:guide>
        <p15:guide id="3" orient="horz" pos="1872">
          <p15:clr>
            <a:srgbClr val="5ACBF0"/>
          </p15:clr>
        </p15:guide>
        <p15:guide id="4" orient="horz" pos="2448">
          <p15:clr>
            <a:srgbClr val="5ACBF0"/>
          </p15:clr>
        </p15:guide>
        <p15:guide id="5" pos="3839">
          <p15:clr>
            <a:srgbClr val="F26B43"/>
          </p15:clr>
        </p15:guide>
        <p15:guide id="6" orient="horz" pos="2160">
          <p15:clr>
            <a:srgbClr val="F26B43"/>
          </p15:clr>
        </p15:guide>
        <p15:guide id="7" orient="horz" pos="816">
          <p15:clr>
            <a:srgbClr val="F26B43"/>
          </p15:clr>
        </p15:guide>
        <p15:guide id="8" orient="horz" pos="1008">
          <p15:clr>
            <a:srgbClr val="F26B43"/>
          </p15:clr>
        </p15:guide>
        <p15:guide id="52" pos="2976">
          <p15:clr>
            <a:srgbClr val="5ACBF0"/>
          </p15:clr>
        </p15:guide>
        <p15:guide id="53" pos="2424">
          <p15:clr>
            <a:srgbClr val="5ACBF0"/>
          </p15:clr>
        </p15:guide>
        <p15:guide id="54" pos="1848">
          <p15:clr>
            <a:srgbClr val="5ACBF0"/>
          </p15:clr>
        </p15:guide>
        <p15:guide id="55" pos="1296">
          <p15:clr>
            <a:srgbClr val="5ACBF0"/>
          </p15:clr>
        </p15:guide>
        <p15:guide id="56" pos="720">
          <p15:clr>
            <a:srgbClr val="5ACBF0"/>
          </p15:clr>
        </p15:guide>
        <p15:guide id="57" pos="144">
          <p15:clr>
            <a:srgbClr val="5ACBF0"/>
          </p15:clr>
        </p15:guide>
        <p15:guide id="58" pos="4680">
          <p15:clr>
            <a:srgbClr val="5ACBF0"/>
          </p15:clr>
        </p15:guide>
        <p15:guide id="59" pos="5256">
          <p15:clr>
            <a:srgbClr val="5ACBF0"/>
          </p15:clr>
        </p15:guide>
        <p15:guide id="60" pos="5808">
          <p15:clr>
            <a:srgbClr val="5ACBF0"/>
          </p15:clr>
        </p15:guide>
        <p15:guide id="61" pos="6384">
          <p15:clr>
            <a:srgbClr val="5ACBF0"/>
          </p15:clr>
        </p15:guide>
        <p15:guide id="62" pos="6936">
          <p15:clr>
            <a:srgbClr val="5ACBF0"/>
          </p15:clr>
        </p15:guide>
        <p15:guide id="63" pos="7512">
          <p15:clr>
            <a:srgbClr val="5ACBF0"/>
          </p15:clr>
        </p15:guide>
        <p15:guide id="64" orient="horz" pos="168">
          <p15:clr>
            <a:srgbClr val="5ACBF0"/>
          </p15:clr>
        </p15:guide>
        <p15:guide id="65" orient="horz" pos="744">
          <p15:clr>
            <a:srgbClr val="5ACBF0"/>
          </p15:clr>
        </p15:guide>
        <p15:guide id="66" orient="horz" pos="1320">
          <p15:clr>
            <a:srgbClr val="5ACBF0"/>
          </p15:clr>
        </p15:guide>
        <p15:guide id="67" orient="horz" pos="3000">
          <p15:clr>
            <a:srgbClr val="5ACBF0"/>
          </p15:clr>
        </p15:guide>
        <p15:guide id="68" orient="horz" pos="3576">
          <p15:clr>
            <a:srgbClr val="5ACBF0"/>
          </p15:clr>
        </p15:guide>
        <p15:guide id="69" orient="horz" pos="4128">
          <p15:clr>
            <a:srgbClr val="5ACBF0"/>
          </p15:clr>
        </p15:guide>
        <p15:guide id="70" pos="240">
          <p15:clr>
            <a:srgbClr val="F26B43"/>
          </p15:clr>
        </p15:guide>
        <p15:guide id="71" pos="7440">
          <p15:clr>
            <a:srgbClr val="F26B43"/>
          </p15:clr>
        </p15:guide>
        <p15:guide id="72" orient="horz" pos="264">
          <p15:clr>
            <a:srgbClr val="F26B43"/>
          </p15:clr>
        </p15:guide>
        <p15:guide id="73" orient="horz" pos="40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91" cstate="email">
            <a:extLst>
              <a:ext uri="{28A0092B-C50C-407E-A947-70E740481C1C}">
                <a14:useLocalDpi xmlns:a14="http://schemas.microsoft.com/office/drawing/2010/main"/>
              </a:ext>
            </a:extLst>
          </a:blip>
          <a:stretch>
            <a:fillRect/>
          </a:stretch>
        </p:blipFill>
        <p:spPr>
          <a:xfrm rot="5400000">
            <a:off x="9371795" y="3072299"/>
            <a:ext cx="6995160" cy="849926"/>
          </a:xfrm>
          <a:prstGeom prst="rect">
            <a:avLst/>
          </a:prstGeom>
        </p:spPr>
      </p:pic>
    </p:spTree>
    <p:extLst>
      <p:ext uri="{BB962C8B-B14F-4D97-AF65-F5344CB8AC3E}">
        <p14:creationId xmlns:p14="http://schemas.microsoft.com/office/powerpoint/2010/main" val="1362965901"/>
      </p:ext>
    </p:extLst>
  </p:cSld>
  <p:clrMap bg1="lt1" tx1="dk1" bg2="lt2" tx2="dk2" accent1="accent1" accent2="accent2" accent3="accent3" accent4="accent4" accent5="accent5" accent6="accent6" hlink="hlink" folHlink="folHlink"/>
  <p:sldLayoutIdLst>
    <p:sldLayoutId id="2147485078" r:id="rId1"/>
    <p:sldLayoutId id="2147485079" r:id="rId2"/>
    <p:sldLayoutId id="2147485080" r:id="rId3"/>
    <p:sldLayoutId id="2147485081" r:id="rId4"/>
    <p:sldLayoutId id="2147485082" r:id="rId5"/>
    <p:sldLayoutId id="2147485083" r:id="rId6"/>
    <p:sldLayoutId id="2147485084" r:id="rId7"/>
    <p:sldLayoutId id="2147485085" r:id="rId8"/>
    <p:sldLayoutId id="2147485086" r:id="rId9"/>
    <p:sldLayoutId id="2147485087" r:id="rId10"/>
    <p:sldLayoutId id="2147485088" r:id="rId11"/>
    <p:sldLayoutId id="2147485089" r:id="rId12"/>
    <p:sldLayoutId id="2147485090" r:id="rId13"/>
    <p:sldLayoutId id="2147485091" r:id="rId14"/>
    <p:sldLayoutId id="2147485092" r:id="rId15"/>
    <p:sldLayoutId id="2147485093" r:id="rId16"/>
    <p:sldLayoutId id="2147485094" r:id="rId17"/>
    <p:sldLayoutId id="2147485095" r:id="rId18"/>
    <p:sldLayoutId id="2147485096" r:id="rId19"/>
    <p:sldLayoutId id="2147485097" r:id="rId20"/>
    <p:sldLayoutId id="2147485098" r:id="rId21"/>
    <p:sldLayoutId id="2147485099" r:id="rId22"/>
    <p:sldLayoutId id="2147485100" r:id="rId23"/>
    <p:sldLayoutId id="2147485101" r:id="rId24"/>
    <p:sldLayoutId id="2147485102" r:id="rId25"/>
    <p:sldLayoutId id="2147485103" r:id="rId26"/>
    <p:sldLayoutId id="2147485104" r:id="rId27"/>
    <p:sldLayoutId id="2147485105" r:id="rId28"/>
    <p:sldLayoutId id="2147485106" r:id="rId29"/>
    <p:sldLayoutId id="2147485107" r:id="rId30"/>
    <p:sldLayoutId id="2147485108" r:id="rId31"/>
    <p:sldLayoutId id="2147485110" r:id="rId32"/>
    <p:sldLayoutId id="2147485111" r:id="rId33"/>
    <p:sldLayoutId id="2147485112" r:id="rId34"/>
    <p:sldLayoutId id="2147485113" r:id="rId35"/>
    <p:sldLayoutId id="2147485114" r:id="rId36"/>
    <p:sldLayoutId id="2147485115" r:id="rId37"/>
    <p:sldLayoutId id="2147485116" r:id="rId38"/>
    <p:sldLayoutId id="2147485117" r:id="rId39"/>
    <p:sldLayoutId id="2147485118" r:id="rId40"/>
    <p:sldLayoutId id="2147485119" r:id="rId41"/>
    <p:sldLayoutId id="2147485120" r:id="rId42"/>
    <p:sldLayoutId id="2147485121" r:id="rId43"/>
    <p:sldLayoutId id="2147485122" r:id="rId44"/>
    <p:sldLayoutId id="2147485123" r:id="rId45"/>
    <p:sldLayoutId id="2147485124" r:id="rId46"/>
    <p:sldLayoutId id="2147485125" r:id="rId47"/>
    <p:sldLayoutId id="2147485126" r:id="rId48"/>
    <p:sldLayoutId id="2147485127" r:id="rId49"/>
    <p:sldLayoutId id="2147485128" r:id="rId50"/>
    <p:sldLayoutId id="2147485129" r:id="rId51"/>
    <p:sldLayoutId id="2147485130" r:id="rId52"/>
    <p:sldLayoutId id="2147485131" r:id="rId53"/>
    <p:sldLayoutId id="2147485132" r:id="rId54"/>
    <p:sldLayoutId id="2147485133" r:id="rId55"/>
    <p:sldLayoutId id="2147485134" r:id="rId56"/>
    <p:sldLayoutId id="2147485135" r:id="rId57"/>
    <p:sldLayoutId id="2147485136" r:id="rId58"/>
    <p:sldLayoutId id="2147485137" r:id="rId59"/>
    <p:sldLayoutId id="2147485138" r:id="rId60"/>
    <p:sldLayoutId id="2147485139" r:id="rId61"/>
    <p:sldLayoutId id="2147485140" r:id="rId62"/>
    <p:sldLayoutId id="2147485141" r:id="rId63"/>
    <p:sldLayoutId id="2147485142" r:id="rId64"/>
    <p:sldLayoutId id="2147485143" r:id="rId65"/>
    <p:sldLayoutId id="2147485144" r:id="rId66"/>
    <p:sldLayoutId id="2147485145" r:id="rId67"/>
    <p:sldLayoutId id="2147485146" r:id="rId68"/>
    <p:sldLayoutId id="2147485147" r:id="rId69"/>
    <p:sldLayoutId id="2147485148" r:id="rId70"/>
    <p:sldLayoutId id="2147485149" r:id="rId71"/>
    <p:sldLayoutId id="2147485150" r:id="rId72"/>
    <p:sldLayoutId id="2147485151" r:id="rId73"/>
    <p:sldLayoutId id="2147485152" r:id="rId74"/>
    <p:sldLayoutId id="2147485153" r:id="rId75"/>
    <p:sldLayoutId id="2147485154" r:id="rId76"/>
    <p:sldLayoutId id="2147485155" r:id="rId77"/>
    <p:sldLayoutId id="2147485156" r:id="rId78"/>
    <p:sldLayoutId id="2147485157" r:id="rId79"/>
    <p:sldLayoutId id="2147485158" r:id="rId80"/>
    <p:sldLayoutId id="2147485159" r:id="rId81"/>
    <p:sldLayoutId id="2147485160" r:id="rId82"/>
    <p:sldLayoutId id="2147485161" r:id="rId83"/>
    <p:sldLayoutId id="2147485162" r:id="rId84"/>
    <p:sldLayoutId id="2147485163" r:id="rId85"/>
    <p:sldLayoutId id="2147485164" r:id="rId86"/>
    <p:sldLayoutId id="2147485165" r:id="rId87"/>
    <p:sldLayoutId id="2147485195" r:id="rId88"/>
    <p:sldLayoutId id="2147485197" r:id="rId89"/>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1" y="296898"/>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74638" y="6689365"/>
            <a:ext cx="3937000" cy="137160"/>
          </a:xfrm>
          <a:prstGeom prst="rect">
            <a:avLst/>
          </a:prstGeom>
        </p:spPr>
        <p:txBody>
          <a:bodyPr vert="horz" lIns="0" tIns="0" rIns="91440" bIns="0" rtlCol="0" anchor="ctr"/>
          <a:lstStyle>
            <a:lvl1pPr marL="0" algn="l" defTabSz="932563" rtl="0" eaLnBrk="1" latinLnBrk="0" hangingPunct="1">
              <a:defRPr lang="en-US" sz="900" kern="1200">
                <a:gradFill>
                  <a:gsLst>
                    <a:gs pos="2239">
                      <a:schemeClr val="tx1"/>
                    </a:gs>
                    <a:gs pos="11940">
                      <a:schemeClr val="tx1"/>
                    </a:gs>
                  </a:gsLst>
                  <a:lin ang="5400000" scaled="0"/>
                </a:gradFill>
                <a:latin typeface="+mn-lt"/>
                <a:ea typeface="+mn-ea"/>
                <a:cs typeface="+mn-cs"/>
              </a:defRPr>
            </a:lvl1pPr>
          </a:lstStyle>
          <a:p>
            <a:r>
              <a:rPr lang="en-US"/>
              <a:t>Microsoft Confidential</a:t>
            </a:r>
          </a:p>
        </p:txBody>
      </p:sp>
      <p:sp>
        <p:nvSpPr>
          <p:cNvPr id="6" name="Slide Number Placeholder 4"/>
          <p:cNvSpPr>
            <a:spLocks noGrp="1"/>
          </p:cNvSpPr>
          <p:nvPr>
            <p:ph type="sldNum" sz="quarter" idx="4"/>
          </p:nvPr>
        </p:nvSpPr>
        <p:spPr>
          <a:xfrm>
            <a:off x="11595101" y="6689365"/>
            <a:ext cx="566737" cy="137160"/>
          </a:xfrm>
          <a:prstGeom prst="rect">
            <a:avLst/>
          </a:prstGeom>
        </p:spPr>
        <p:txBody>
          <a:bodyPr vert="horz" lIns="91440" tIns="0" rIns="0" bIns="0" rtlCol="0" anchor="ctr"/>
          <a:lstStyle>
            <a:lvl1pPr algn="r">
              <a:defRPr lang="en-US" sz="900"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4234927746"/>
      </p:ext>
    </p:extLst>
  </p:cSld>
  <p:clrMap bg1="lt1" tx1="dk1" bg2="lt2" tx2="dk2" accent1="accent1" accent2="accent2" accent3="accent3" accent4="accent4" accent5="accent5" accent6="accent6" hlink="hlink" folHlink="folHlink"/>
  <p:sldLayoutIdLst>
    <p:sldLayoutId id="2147485167" r:id="rId1"/>
    <p:sldLayoutId id="2147485168" r:id="rId2"/>
    <p:sldLayoutId id="2147485169" r:id="rId3"/>
    <p:sldLayoutId id="2147485170" r:id="rId4"/>
    <p:sldLayoutId id="2147485171" r:id="rId5"/>
    <p:sldLayoutId id="2147485172" r:id="rId6"/>
    <p:sldLayoutId id="2147485173" r:id="rId7"/>
    <p:sldLayoutId id="2147485174" r:id="rId8"/>
    <p:sldLayoutId id="2147485175" r:id="rId9"/>
    <p:sldLayoutId id="2147485176" r:id="rId10"/>
    <p:sldLayoutId id="2147485177" r:id="rId11"/>
    <p:sldLayoutId id="2147485178" r:id="rId12"/>
    <p:sldLayoutId id="2147485179" r:id="rId13"/>
    <p:sldLayoutId id="2147485180" r:id="rId14"/>
    <p:sldLayoutId id="2147485181" r:id="rId15"/>
    <p:sldLayoutId id="2147485182" r:id="rId16"/>
    <p:sldLayoutId id="2147485183" r:id="rId17"/>
    <p:sldLayoutId id="2147485184" r:id="rId18"/>
    <p:sldLayoutId id="2147485185" r:id="rId19"/>
    <p:sldLayoutId id="2147485186" r:id="rId20"/>
    <p:sldLayoutId id="2147485187" r:id="rId21"/>
    <p:sldLayoutId id="2147485188" r:id="rId22"/>
    <p:sldLayoutId id="2147485189" r:id="rId23"/>
    <p:sldLayoutId id="2147485190" r:id="rId24"/>
    <p:sldLayoutId id="2147485191" r:id="rId25"/>
    <p:sldLayoutId id="2147485192" r:id="rId26"/>
    <p:sldLayoutId id="2147485193" r:id="rId27"/>
  </p:sldLayoutIdLst>
  <p:transition>
    <p:fade/>
  </p:transition>
  <p:hf sldNum="0" hdr="0" dt="0"/>
  <p:txStyles>
    <p:titleStyle>
      <a:lvl1pPr algn="l" defTabSz="932563" rtl="0" eaLnBrk="1" latinLnBrk="0" hangingPunct="1">
        <a:lnSpc>
          <a:spcPct val="90000"/>
        </a:lnSpc>
        <a:spcBef>
          <a:spcPct val="0"/>
        </a:spcBef>
        <a:buNone/>
        <a:defRPr lang="en-US" sz="39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0.xml"/><Relationship Id="rId1" Type="http://schemas.openxmlformats.org/officeDocument/2006/relationships/slideLayout" Target="../slideLayouts/slideLayout192.xml"/><Relationship Id="rId6" Type="http://schemas.openxmlformats.org/officeDocument/2006/relationships/image" Target="../media/image142.png"/><Relationship Id="rId5" Type="http://schemas.openxmlformats.org/officeDocument/2006/relationships/image" Target="../media/image141.png"/><Relationship Id="rId4" Type="http://schemas.openxmlformats.org/officeDocument/2006/relationships/image" Target="../media/image14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8.emf"/><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09.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110.pn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8" Type="http://schemas.openxmlformats.org/officeDocument/2006/relationships/image" Target="../media/image116.svg"/><Relationship Id="rId13" Type="http://schemas.openxmlformats.org/officeDocument/2006/relationships/image" Target="../media/image121.png"/><Relationship Id="rId18" Type="http://schemas.openxmlformats.org/officeDocument/2006/relationships/image" Target="../media/image126.svg"/><Relationship Id="rId26" Type="http://schemas.openxmlformats.org/officeDocument/2006/relationships/image" Target="../media/image134.png"/><Relationship Id="rId3" Type="http://schemas.openxmlformats.org/officeDocument/2006/relationships/image" Target="../media/image111.png"/><Relationship Id="rId21" Type="http://schemas.openxmlformats.org/officeDocument/2006/relationships/image" Target="../media/image129.png"/><Relationship Id="rId7" Type="http://schemas.openxmlformats.org/officeDocument/2006/relationships/image" Target="../media/image115.png"/><Relationship Id="rId12" Type="http://schemas.openxmlformats.org/officeDocument/2006/relationships/image" Target="../media/image120.svg"/><Relationship Id="rId17" Type="http://schemas.openxmlformats.org/officeDocument/2006/relationships/image" Target="../media/image125.png"/><Relationship Id="rId25" Type="http://schemas.openxmlformats.org/officeDocument/2006/relationships/image" Target="../media/image133.png"/><Relationship Id="rId2" Type="http://schemas.openxmlformats.org/officeDocument/2006/relationships/notesSlide" Target="../notesSlides/notesSlide8.xml"/><Relationship Id="rId16" Type="http://schemas.openxmlformats.org/officeDocument/2006/relationships/image" Target="../media/image124.svg"/><Relationship Id="rId20" Type="http://schemas.openxmlformats.org/officeDocument/2006/relationships/image" Target="../media/image128.svg"/><Relationship Id="rId1" Type="http://schemas.openxmlformats.org/officeDocument/2006/relationships/slideLayout" Target="../slideLayouts/slideLayout206.xml"/><Relationship Id="rId6" Type="http://schemas.openxmlformats.org/officeDocument/2006/relationships/image" Target="../media/image114.svg"/><Relationship Id="rId11" Type="http://schemas.openxmlformats.org/officeDocument/2006/relationships/image" Target="../media/image119.png"/><Relationship Id="rId24" Type="http://schemas.openxmlformats.org/officeDocument/2006/relationships/image" Target="../media/image132.png"/><Relationship Id="rId5" Type="http://schemas.openxmlformats.org/officeDocument/2006/relationships/image" Target="../media/image113.png"/><Relationship Id="rId15" Type="http://schemas.openxmlformats.org/officeDocument/2006/relationships/image" Target="../media/image123.png"/><Relationship Id="rId23" Type="http://schemas.openxmlformats.org/officeDocument/2006/relationships/image" Target="../media/image131.png"/><Relationship Id="rId28" Type="http://schemas.openxmlformats.org/officeDocument/2006/relationships/image" Target="../media/image136.png"/><Relationship Id="rId10" Type="http://schemas.openxmlformats.org/officeDocument/2006/relationships/image" Target="../media/image118.svg"/><Relationship Id="rId19" Type="http://schemas.openxmlformats.org/officeDocument/2006/relationships/image" Target="../media/image127.png"/><Relationship Id="rId4" Type="http://schemas.openxmlformats.org/officeDocument/2006/relationships/image" Target="../media/image112.svg"/><Relationship Id="rId9" Type="http://schemas.openxmlformats.org/officeDocument/2006/relationships/image" Target="../media/image117.png"/><Relationship Id="rId14" Type="http://schemas.openxmlformats.org/officeDocument/2006/relationships/image" Target="../media/image122.svg"/><Relationship Id="rId22" Type="http://schemas.openxmlformats.org/officeDocument/2006/relationships/image" Target="../media/image130.svg"/><Relationship Id="rId27" Type="http://schemas.openxmlformats.org/officeDocument/2006/relationships/image" Target="../media/image135.png"/></Relationships>
</file>

<file path=ppt/slides/_rels/slide9.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notesSlide" Target="../notesSlides/notesSlide9.xml"/><Relationship Id="rId1" Type="http://schemas.openxmlformats.org/officeDocument/2006/relationships/slideLayout" Target="../slideLayouts/slideLayout255.xml"/><Relationship Id="rId5" Type="http://schemas.openxmlformats.org/officeDocument/2006/relationships/hyperlink" Target="https://business.linkedin.com/content/dam/me/business/en-us/talent-solutions/cx/2017/PDFs/digital_workforce_future.pdf" TargetMode="External"/><Relationship Id="rId4" Type="http://schemas.openxmlformats.org/officeDocument/2006/relationships/image" Target="../media/image13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igital Manufacturing:</a:t>
            </a:r>
            <a:br>
              <a:rPr lang="en-US" dirty="0"/>
            </a:br>
            <a:r>
              <a:rPr lang="en-US" dirty="0"/>
              <a:t>Global Trends </a:t>
            </a:r>
            <a:br>
              <a:rPr lang="en-US" dirty="0"/>
            </a:br>
            <a:endParaRPr lang="en-US" dirty="0"/>
          </a:p>
        </p:txBody>
      </p:sp>
    </p:spTree>
    <p:extLst>
      <p:ext uri="{BB962C8B-B14F-4D97-AF65-F5344CB8AC3E}">
        <p14:creationId xmlns:p14="http://schemas.microsoft.com/office/powerpoint/2010/main" val="7027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210C3BF-79C2-461A-A730-5F23675E2804}"/>
              </a:ext>
            </a:extLst>
          </p:cNvPr>
          <p:cNvSpPr/>
          <p:nvPr/>
        </p:nvSpPr>
        <p:spPr>
          <a:xfrm>
            <a:off x="249953" y="2586324"/>
            <a:ext cx="4265270" cy="824193"/>
          </a:xfrm>
          <a:prstGeom prst="rect">
            <a:avLst/>
          </a:prstGeom>
        </p:spPr>
        <p:txBody>
          <a:bodyPr anchor="ctr">
            <a:spAutoFit/>
          </a:bodyPr>
          <a:lstStyle/>
          <a:p>
            <a:pPr defTabSz="932293">
              <a:lnSpc>
                <a:spcPct val="95000"/>
              </a:lnSpc>
              <a:spcAft>
                <a:spcPts val="1199"/>
              </a:spcAft>
              <a:defRPr/>
            </a:pPr>
            <a:r>
              <a:rPr lang="en-US" sz="4896" kern="0" spc="-100" dirty="0">
                <a:ln w="3175">
                  <a:noFill/>
                </a:ln>
                <a:gradFill>
                  <a:gsLst>
                    <a:gs pos="19444">
                      <a:srgbClr val="666666"/>
                    </a:gs>
                    <a:gs pos="47000">
                      <a:srgbClr val="666666"/>
                    </a:gs>
                  </a:gsLst>
                  <a:lin ang="5400000" scaled="1"/>
                </a:gradFill>
                <a:latin typeface="Segoe UI Light"/>
                <a:ea typeface="Segoe UI" pitchFamily="34" charset="0"/>
                <a:cs typeface="Segoe UI" pitchFamily="34" charset="0"/>
              </a:rPr>
              <a:t>Our mission</a:t>
            </a:r>
          </a:p>
        </p:txBody>
      </p:sp>
      <p:sp>
        <p:nvSpPr>
          <p:cNvPr id="6" name="Rectangle 5">
            <a:extLst>
              <a:ext uri="{FF2B5EF4-FFF2-40B4-BE49-F238E27FC236}">
                <a16:creationId xmlns:a16="http://schemas.microsoft.com/office/drawing/2014/main" id="{83F8F108-2F9E-407D-8CF3-609F1336F410}"/>
              </a:ext>
            </a:extLst>
          </p:cNvPr>
          <p:cNvSpPr/>
          <p:nvPr/>
        </p:nvSpPr>
        <p:spPr>
          <a:xfrm>
            <a:off x="237387" y="3413042"/>
            <a:ext cx="5391973" cy="734534"/>
          </a:xfrm>
          <a:prstGeom prst="rect">
            <a:avLst/>
          </a:prstGeom>
        </p:spPr>
        <p:txBody>
          <a:bodyPr>
            <a:spAutoFit/>
          </a:bodyPr>
          <a:lstStyle/>
          <a:p>
            <a:pPr marL="28569" defTabSz="932293">
              <a:defRPr/>
            </a:pPr>
            <a:r>
              <a:rPr lang="en-US" sz="2040" kern="0" dirty="0">
                <a:gradFill>
                  <a:gsLst>
                    <a:gs pos="19444">
                      <a:srgbClr val="666666"/>
                    </a:gs>
                    <a:gs pos="47000">
                      <a:srgbClr val="666666"/>
                    </a:gs>
                  </a:gsLst>
                  <a:lin ang="5400000" scaled="1"/>
                </a:gradFill>
                <a:latin typeface="Segoe UI Semilight" panose="020B0502040204020203" pitchFamily="34" charset="0"/>
                <a:cs typeface="Segoe UI Semilight" panose="020B0502040204020203" pitchFamily="34" charset="0"/>
              </a:rPr>
              <a:t>Empower every person and every organization on the planet to achieve more</a:t>
            </a:r>
          </a:p>
        </p:txBody>
      </p:sp>
      <p:pic>
        <p:nvPicPr>
          <p:cNvPr id="10" name="Picture 9">
            <a:extLst>
              <a:ext uri="{FF2B5EF4-FFF2-40B4-BE49-F238E27FC236}">
                <a16:creationId xmlns:a16="http://schemas.microsoft.com/office/drawing/2014/main" id="{EB557B57-2CD7-4950-8896-6D9D52BEC5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1260" y="27525"/>
            <a:ext cx="3594409" cy="3594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278AB695-FC67-4DD1-BD48-0C4F1ADFDD0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823374" y="27525"/>
            <a:ext cx="3594409" cy="3594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3F948120-01BA-497E-BCC3-86E40AA7C1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91260" y="3369353"/>
            <a:ext cx="3594409" cy="3594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99E20871-F563-4C52-8223-E392F793FFF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23374" y="3369353"/>
            <a:ext cx="3594409" cy="3594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0296" name="Group 15">
            <a:extLst>
              <a:ext uri="{FF2B5EF4-FFF2-40B4-BE49-F238E27FC236}">
                <a16:creationId xmlns:a16="http://schemas.microsoft.com/office/drawing/2014/main" id="{F83AC85C-48C3-4960-8353-BC39E8C98B40}"/>
              </a:ext>
            </a:extLst>
          </p:cNvPr>
          <p:cNvGrpSpPr>
            <a:grpSpLocks/>
          </p:cNvGrpSpPr>
          <p:nvPr/>
        </p:nvGrpSpPr>
        <p:grpSpPr bwMode="auto">
          <a:xfrm>
            <a:off x="5473450" y="-6477"/>
            <a:ext cx="6962143" cy="7001001"/>
            <a:chOff x="5473874" y="-6346"/>
            <a:chExt cx="6962601" cy="7000872"/>
          </a:xfrm>
        </p:grpSpPr>
        <p:sp useBgFill="1">
          <p:nvSpPr>
            <p:cNvPr id="17" name="Rectangle 16">
              <a:extLst>
                <a:ext uri="{FF2B5EF4-FFF2-40B4-BE49-F238E27FC236}">
                  <a16:creationId xmlns:a16="http://schemas.microsoft.com/office/drawing/2014/main" id="{91680BBC-DD19-4D73-9212-0C913E416BB1}"/>
                </a:ext>
              </a:extLst>
            </p:cNvPr>
            <p:cNvSpPr/>
            <p:nvPr/>
          </p:nvSpPr>
          <p:spPr bwMode="auto">
            <a:xfrm>
              <a:off x="5473874" y="-6346"/>
              <a:ext cx="6962601" cy="323815"/>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lnSpc>
                  <a:spcPct val="90000"/>
                </a:lnSpc>
                <a:defRPr/>
              </a:pPr>
              <a:endParaRPr lang="en-US" altLang="en-US" sz="2346">
                <a:cs typeface="Segoe UI" panose="020B0502040204020203" pitchFamily="34" charset="0"/>
              </a:endParaRPr>
            </a:p>
          </p:txBody>
        </p:sp>
        <p:sp useBgFill="1">
          <p:nvSpPr>
            <p:cNvPr id="18" name="Rectangle 17">
              <a:extLst>
                <a:ext uri="{FF2B5EF4-FFF2-40B4-BE49-F238E27FC236}">
                  <a16:creationId xmlns:a16="http://schemas.microsoft.com/office/drawing/2014/main" id="{F598F144-FCDF-45DC-A7BF-8C1D8C8AE0D1}"/>
                </a:ext>
              </a:extLst>
            </p:cNvPr>
            <p:cNvSpPr/>
            <p:nvPr/>
          </p:nvSpPr>
          <p:spPr bwMode="auto">
            <a:xfrm>
              <a:off x="12141779" y="130"/>
              <a:ext cx="294696" cy="6991158"/>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lnSpc>
                  <a:spcPct val="90000"/>
                </a:lnSpc>
                <a:defRPr/>
              </a:pPr>
              <a:endParaRPr lang="en-US" altLang="en-US" sz="2346">
                <a:cs typeface="Segoe UI" panose="020B0502040204020203" pitchFamily="34" charset="0"/>
              </a:endParaRPr>
            </a:p>
          </p:txBody>
        </p:sp>
        <p:sp useBgFill="1">
          <p:nvSpPr>
            <p:cNvPr id="19" name="Rectangle 18">
              <a:extLst>
                <a:ext uri="{FF2B5EF4-FFF2-40B4-BE49-F238E27FC236}">
                  <a16:creationId xmlns:a16="http://schemas.microsoft.com/office/drawing/2014/main" id="{3D1132D7-9464-488F-80CC-47AFCC10986B}"/>
                </a:ext>
              </a:extLst>
            </p:cNvPr>
            <p:cNvSpPr/>
            <p:nvPr/>
          </p:nvSpPr>
          <p:spPr bwMode="auto">
            <a:xfrm>
              <a:off x="5473874" y="3332183"/>
              <a:ext cx="6667905" cy="31572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lnSpc>
                  <a:spcPct val="90000"/>
                </a:lnSpc>
                <a:defRPr/>
              </a:pPr>
              <a:endParaRPr lang="en-US" altLang="en-US" sz="2346">
                <a:cs typeface="Segoe UI" panose="020B0502040204020203" pitchFamily="34" charset="0"/>
              </a:endParaRPr>
            </a:p>
          </p:txBody>
        </p:sp>
        <p:sp useBgFill="1">
          <p:nvSpPr>
            <p:cNvPr id="20" name="Rectangle 19">
              <a:extLst>
                <a:ext uri="{FF2B5EF4-FFF2-40B4-BE49-F238E27FC236}">
                  <a16:creationId xmlns:a16="http://schemas.microsoft.com/office/drawing/2014/main" id="{92479AF2-2590-428C-93B5-5F66DF253C9F}"/>
                </a:ext>
              </a:extLst>
            </p:cNvPr>
            <p:cNvSpPr/>
            <p:nvPr/>
          </p:nvSpPr>
          <p:spPr bwMode="auto">
            <a:xfrm>
              <a:off x="8807827" y="152323"/>
              <a:ext cx="302792" cy="6842203"/>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lnSpc>
                  <a:spcPct val="90000"/>
                </a:lnSpc>
                <a:defRPr/>
              </a:pPr>
              <a:endParaRPr lang="en-US" altLang="en-US" sz="2346">
                <a:cs typeface="Segoe UI" panose="020B0502040204020203" pitchFamily="34" charset="0"/>
              </a:endParaRPr>
            </a:p>
          </p:txBody>
        </p:sp>
        <p:sp useBgFill="1">
          <p:nvSpPr>
            <p:cNvPr id="21" name="Rectangle 20">
              <a:extLst>
                <a:ext uri="{FF2B5EF4-FFF2-40B4-BE49-F238E27FC236}">
                  <a16:creationId xmlns:a16="http://schemas.microsoft.com/office/drawing/2014/main" id="{085BDA78-E7A8-4638-A1C5-3D337EA9A8B4}"/>
                </a:ext>
              </a:extLst>
            </p:cNvPr>
            <p:cNvSpPr/>
            <p:nvPr/>
          </p:nvSpPr>
          <p:spPr bwMode="auto">
            <a:xfrm>
              <a:off x="5473874" y="6664235"/>
              <a:ext cx="6815253" cy="33029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lnSpc>
                  <a:spcPct val="90000"/>
                </a:lnSpc>
                <a:defRPr/>
              </a:pPr>
              <a:endParaRPr lang="en-US" altLang="en-US" sz="2346">
                <a:cs typeface="Segoe UI" panose="020B0502040204020203" pitchFamily="34" charset="0"/>
              </a:endParaRPr>
            </a:p>
          </p:txBody>
        </p:sp>
        <p:sp useBgFill="1">
          <p:nvSpPr>
            <p:cNvPr id="22" name="Rectangle 21">
              <a:extLst>
                <a:ext uri="{FF2B5EF4-FFF2-40B4-BE49-F238E27FC236}">
                  <a16:creationId xmlns:a16="http://schemas.microsoft.com/office/drawing/2014/main" id="{31696207-62E2-4B14-9493-87F1A543C109}"/>
                </a:ext>
              </a:extLst>
            </p:cNvPr>
            <p:cNvSpPr/>
            <p:nvPr/>
          </p:nvSpPr>
          <p:spPr bwMode="auto">
            <a:xfrm>
              <a:off x="5473874" y="-3108"/>
              <a:ext cx="294696" cy="678877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lvl1pPr defTabSz="912813">
                <a:defRPr>
                  <a:solidFill>
                    <a:schemeClr val="tx1"/>
                  </a:solidFill>
                  <a:latin typeface="Segoe UI" panose="020B0502040204020203" pitchFamily="34" charset="0"/>
                </a:defRPr>
              </a:lvl1pPr>
              <a:lvl2pPr marL="742950" indent="-285750" defTabSz="912813">
                <a:defRPr>
                  <a:solidFill>
                    <a:schemeClr val="tx1"/>
                  </a:solidFill>
                  <a:latin typeface="Segoe UI" panose="020B0502040204020203" pitchFamily="34" charset="0"/>
                </a:defRPr>
              </a:lvl2pPr>
              <a:lvl3pPr marL="1143000" indent="-228600" defTabSz="912813">
                <a:defRPr>
                  <a:solidFill>
                    <a:schemeClr val="tx1"/>
                  </a:solidFill>
                  <a:latin typeface="Segoe UI" panose="020B0502040204020203" pitchFamily="34" charset="0"/>
                </a:defRPr>
              </a:lvl3pPr>
              <a:lvl4pPr marL="1600200" indent="-228600" defTabSz="912813">
                <a:defRPr>
                  <a:solidFill>
                    <a:schemeClr val="tx1"/>
                  </a:solidFill>
                  <a:latin typeface="Segoe UI" panose="020B0502040204020203" pitchFamily="34" charset="0"/>
                </a:defRPr>
              </a:lvl4pPr>
              <a:lvl5pPr marL="2057400" indent="-228600" defTabSz="912813">
                <a:defRPr>
                  <a:solidFill>
                    <a:schemeClr val="tx1"/>
                  </a:solidFill>
                  <a:latin typeface="Segoe UI" panose="020B0502040204020203" pitchFamily="34" charset="0"/>
                </a:defRPr>
              </a:lvl5pPr>
              <a:lvl6pPr marL="2514600" indent="-228600" defTabSz="912813" fontAlgn="base">
                <a:spcBef>
                  <a:spcPct val="0"/>
                </a:spcBef>
                <a:spcAft>
                  <a:spcPct val="0"/>
                </a:spcAft>
                <a:defRPr>
                  <a:solidFill>
                    <a:schemeClr val="tx1"/>
                  </a:solidFill>
                  <a:latin typeface="Segoe UI" panose="020B0502040204020203" pitchFamily="34" charset="0"/>
                </a:defRPr>
              </a:lvl6pPr>
              <a:lvl7pPr marL="2971800" indent="-228600" defTabSz="912813" fontAlgn="base">
                <a:spcBef>
                  <a:spcPct val="0"/>
                </a:spcBef>
                <a:spcAft>
                  <a:spcPct val="0"/>
                </a:spcAft>
                <a:defRPr>
                  <a:solidFill>
                    <a:schemeClr val="tx1"/>
                  </a:solidFill>
                  <a:latin typeface="Segoe UI" panose="020B0502040204020203" pitchFamily="34" charset="0"/>
                </a:defRPr>
              </a:lvl7pPr>
              <a:lvl8pPr marL="3429000" indent="-228600" defTabSz="912813" fontAlgn="base">
                <a:spcBef>
                  <a:spcPct val="0"/>
                </a:spcBef>
                <a:spcAft>
                  <a:spcPct val="0"/>
                </a:spcAft>
                <a:defRPr>
                  <a:solidFill>
                    <a:schemeClr val="tx1"/>
                  </a:solidFill>
                  <a:latin typeface="Segoe UI" panose="020B0502040204020203" pitchFamily="34" charset="0"/>
                </a:defRPr>
              </a:lvl8pPr>
              <a:lvl9pPr marL="3886200" indent="-228600" defTabSz="912813" fontAlgn="base">
                <a:spcBef>
                  <a:spcPct val="0"/>
                </a:spcBef>
                <a:spcAft>
                  <a:spcPct val="0"/>
                </a:spcAft>
                <a:defRPr>
                  <a:solidFill>
                    <a:schemeClr val="tx1"/>
                  </a:solidFill>
                  <a:latin typeface="Segoe UI" panose="020B0502040204020203" pitchFamily="34" charset="0"/>
                </a:defRPr>
              </a:lvl9pPr>
            </a:lstStyle>
            <a:p>
              <a:pPr algn="ctr" eaLnBrk="1" hangingPunct="1">
                <a:lnSpc>
                  <a:spcPct val="90000"/>
                </a:lnSpc>
                <a:defRPr/>
              </a:pPr>
              <a:endParaRPr lang="en-US" altLang="en-US" sz="2346">
                <a:cs typeface="Segoe UI" panose="020B0502040204020203" pitchFamily="34" charset="0"/>
              </a:endParaRPr>
            </a:p>
          </p:txBody>
        </p:sp>
      </p:gr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350"/>
                                        <p:tgtEl>
                                          <p:spTgt spid="6"/>
                                        </p:tgtEl>
                                      </p:cBhvr>
                                    </p:animEffect>
                                  </p:childTnLst>
                                </p:cTn>
                              </p:par>
                              <p:par>
                                <p:cTn id="8" presetID="42" presetClass="path" presetSubtype="0" decel="100000" fill="hold" nodeType="withEffect">
                                  <p:stCondLst>
                                    <p:cond delay="0"/>
                                  </p:stCondLst>
                                  <p:childTnLst>
                                    <p:animMotion origin="layout" path="M -0.1388 4.44444E-6 L -1.45833E-6 4.44444E-6 " pathEditMode="relative" rAng="0" ptsTypes="AA">
                                      <p:cBhvr>
                                        <p:cTn id="9" dur="1250" fill="hold"/>
                                        <p:tgtEl>
                                          <p:spTgt spid="6"/>
                                        </p:tgtEl>
                                        <p:attrNameLst>
                                          <p:attrName>ppt_x</p:attrName>
                                          <p:attrName>ppt_y</p:attrName>
                                        </p:attrNameLst>
                                      </p:cBhvr>
                                      <p:rCtr x="6940" y="0"/>
                                    </p:animMotion>
                                  </p:childTnLst>
                                </p:cTn>
                              </p:par>
                              <p:par>
                                <p:cTn id="10" presetID="10" presetClass="entr" presetSubtype="0" fill="hold" nodeType="withEffect">
                                  <p:stCondLst>
                                    <p:cond delay="50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350"/>
                                        <p:tgtEl>
                                          <p:spTgt spid="15"/>
                                        </p:tgtEl>
                                      </p:cBhvr>
                                    </p:animEffect>
                                  </p:childTnLst>
                                </p:cTn>
                              </p:par>
                              <p:par>
                                <p:cTn id="13" presetID="42" presetClass="path" presetSubtype="0" decel="100000" fill="hold" nodeType="withEffect">
                                  <p:stCondLst>
                                    <p:cond delay="0"/>
                                  </p:stCondLst>
                                  <p:childTnLst>
                                    <p:animMotion origin="layout" path="M -0.08997 1.48148E-6 L -3.95833E-6 1.48148E-6 " pathEditMode="relative" rAng="0" ptsTypes="AA">
                                      <p:cBhvr>
                                        <p:cTn id="14" dur="1250" fill="hold"/>
                                        <p:tgtEl>
                                          <p:spTgt spid="15"/>
                                        </p:tgtEl>
                                        <p:attrNameLst>
                                          <p:attrName>ppt_x</p:attrName>
                                          <p:attrName>ppt_y</p:attrName>
                                        </p:attrNameLst>
                                      </p:cBhvr>
                                      <p:rCtr x="4492" y="0"/>
                                    </p:animMotion>
                                  </p:childTnLst>
                                </p:cTn>
                              </p:par>
                              <p:par>
                                <p:cTn id="15" presetID="10" presetClass="entr" presetSubtype="0" fill="hold" nodeType="withEffect">
                                  <p:stCondLst>
                                    <p:cond delay="9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250"/>
                                        <p:tgtEl>
                                          <p:spTgt spid="10"/>
                                        </p:tgtEl>
                                      </p:cBhvr>
                                    </p:animEffect>
                                  </p:childTnLst>
                                </p:cTn>
                              </p:par>
                              <p:par>
                                <p:cTn id="18" presetID="6" presetClass="emph" presetSubtype="0" accel="100000" autoRev="1" fill="hold" nodeType="withEffect">
                                  <p:stCondLst>
                                    <p:cond delay="0"/>
                                  </p:stCondLst>
                                  <p:childTnLst>
                                    <p:animScale>
                                      <p:cBhvr>
                                        <p:cTn id="19" dur="750" fill="hold"/>
                                        <p:tgtEl>
                                          <p:spTgt spid="10"/>
                                        </p:tgtEl>
                                      </p:cBhvr>
                                      <p:by x="85000" y="85000"/>
                                    </p:animScale>
                                  </p:childTnLst>
                                </p:cTn>
                              </p:par>
                              <p:par>
                                <p:cTn id="20" presetID="10" presetClass="entr" presetSubtype="0" fill="hold" nodeType="withEffect">
                                  <p:stCondLst>
                                    <p:cond delay="10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6" presetClass="emph" presetSubtype="0" accel="100000" autoRev="1" fill="hold" nodeType="withEffect">
                                  <p:stCondLst>
                                    <p:cond delay="100"/>
                                  </p:stCondLst>
                                  <p:childTnLst>
                                    <p:animScale>
                                      <p:cBhvr>
                                        <p:cTn id="24" dur="750" fill="hold"/>
                                        <p:tgtEl>
                                          <p:spTgt spid="12"/>
                                        </p:tgtEl>
                                      </p:cBhvr>
                                      <p:by x="85000" y="85000"/>
                                    </p:animScale>
                                  </p:childTnLst>
                                </p:cTn>
                              </p:par>
                              <p:par>
                                <p:cTn id="25" presetID="10" presetClass="entr" presetSubtype="0" fill="hold" nodeType="withEffect">
                                  <p:stCondLst>
                                    <p:cond delay="11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6" presetClass="emph" presetSubtype="0" accel="100000" autoRev="1" fill="hold" nodeType="withEffect">
                                  <p:stCondLst>
                                    <p:cond delay="200"/>
                                  </p:stCondLst>
                                  <p:childTnLst>
                                    <p:animScale>
                                      <p:cBhvr>
                                        <p:cTn id="29" dur="750" fill="hold"/>
                                        <p:tgtEl>
                                          <p:spTgt spid="13"/>
                                        </p:tgtEl>
                                      </p:cBhvr>
                                      <p:by x="85000" y="85000"/>
                                    </p:animScale>
                                  </p:childTnLst>
                                </p:cTn>
                              </p:par>
                              <p:par>
                                <p:cTn id="30" presetID="10" presetClass="entr" presetSubtype="0" fill="hold" nodeType="withEffect">
                                  <p:stCondLst>
                                    <p:cond delay="1200"/>
                                  </p:stCondLst>
                                  <p:childTnLst>
                                    <p:set>
                                      <p:cBhvr>
                                        <p:cTn id="31" dur="1" fill="hold">
                                          <p:stCondLst>
                                            <p:cond delay="0"/>
                                          </p:stCondLst>
                                        </p:cTn>
                                        <p:tgtEl>
                                          <p:spTgt spid="14"/>
                                        </p:tgtEl>
                                        <p:attrNameLst>
                                          <p:attrName>style.visibility</p:attrName>
                                        </p:attrNameLst>
                                      </p:cBhvr>
                                      <p:to>
                                        <p:strVal val="visible"/>
                                      </p:to>
                                    </p:set>
                                    <p:animEffect transition="in" filter="fade">
                                      <p:cBhvr>
                                        <p:cTn id="32" dur="250"/>
                                        <p:tgtEl>
                                          <p:spTgt spid="14"/>
                                        </p:tgtEl>
                                      </p:cBhvr>
                                    </p:animEffect>
                                  </p:childTnLst>
                                </p:cTn>
                              </p:par>
                              <p:par>
                                <p:cTn id="33" presetID="6" presetClass="emph" presetSubtype="0" accel="100000" autoRev="1" fill="hold" nodeType="withEffect">
                                  <p:stCondLst>
                                    <p:cond delay="300"/>
                                  </p:stCondLst>
                                  <p:childTnLst>
                                    <p:animScale>
                                      <p:cBhvr>
                                        <p:cTn id="34" dur="750" fill="hold"/>
                                        <p:tgtEl>
                                          <p:spTgt spid="14"/>
                                        </p:tgtEl>
                                      </p:cBhvr>
                                      <p:by x="85000" y="8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a:t>Technology is enabling the 4</a:t>
            </a:r>
            <a:r>
              <a:rPr lang="en-US" sz="4400" baseline="30000"/>
              <a:t>th</a:t>
            </a:r>
            <a:r>
              <a:rPr lang="en-US" sz="4400"/>
              <a:t> industrial revolution</a:t>
            </a:r>
          </a:p>
        </p:txBody>
      </p:sp>
      <p:sp>
        <p:nvSpPr>
          <p:cNvPr id="636" name="Rectangle 635"/>
          <p:cNvSpPr/>
          <p:nvPr/>
        </p:nvSpPr>
        <p:spPr bwMode="auto">
          <a:xfrm>
            <a:off x="251927" y="3314556"/>
            <a:ext cx="2663682" cy="8050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fontAlgn="base">
              <a:lnSpc>
                <a:spcPct val="90000"/>
              </a:lnSpc>
              <a:spcBef>
                <a:spcPts val="600"/>
              </a:spcBef>
              <a:spcAft>
                <a:spcPts val="600"/>
              </a:spcAft>
              <a:defRPr/>
            </a:pPr>
            <a:r>
              <a:rPr lang="en-US" sz="2400" kern="0">
                <a:gradFill>
                  <a:gsLst>
                    <a:gs pos="90196">
                      <a:schemeClr val="accent1"/>
                    </a:gs>
                    <a:gs pos="66667">
                      <a:schemeClr val="accent1"/>
                    </a:gs>
                  </a:gsLst>
                  <a:lin ang="0" scaled="1"/>
                </a:gradFill>
              </a:rPr>
              <a:t>Physical</a:t>
            </a:r>
            <a:r>
              <a:rPr lang="en-US" sz="2000" kern="0">
                <a:gradFill>
                  <a:gsLst>
                    <a:gs pos="90196">
                      <a:schemeClr val="accent1"/>
                    </a:gs>
                    <a:gs pos="66667">
                      <a:schemeClr val="accent1"/>
                    </a:gs>
                  </a:gsLst>
                  <a:lin ang="0" scaled="1"/>
                </a:gradFill>
              </a:rPr>
              <a:t> </a:t>
            </a:r>
          </a:p>
          <a:p>
            <a:pPr algn="r" defTabSz="931935" fontAlgn="base">
              <a:lnSpc>
                <a:spcPct val="90000"/>
              </a:lnSpc>
              <a:spcBef>
                <a:spcPts val="600"/>
              </a:spcBef>
              <a:spcAft>
                <a:spcPts val="306"/>
              </a:spcAft>
              <a:defRPr/>
            </a:pPr>
            <a:r>
              <a:rPr lang="en-US" sz="1600">
                <a:ln w="0" cap="rnd">
                  <a:noFill/>
                </a:ln>
                <a:gradFill>
                  <a:gsLst>
                    <a:gs pos="29412">
                      <a:schemeClr val="tx1"/>
                    </a:gs>
                    <a:gs pos="45000">
                      <a:schemeClr val="tx1"/>
                    </a:gs>
                  </a:gsLst>
                  <a:lin ang="0" scaled="1"/>
                </a:gradFill>
                <a:latin typeface="Segoe UI Semilight" panose="020B0402040204020203" pitchFamily="34" charset="0"/>
                <a:cs typeface="Segoe UI Semilight" panose="020B0402040204020203" pitchFamily="34" charset="0"/>
              </a:rPr>
              <a:t>Production assets</a:t>
            </a:r>
          </a:p>
          <a:p>
            <a:pPr algn="r" defTabSz="931935" fontAlgn="base">
              <a:lnSpc>
                <a:spcPct val="90000"/>
              </a:lnSpc>
              <a:spcBef>
                <a:spcPts val="600"/>
              </a:spcBef>
              <a:spcAft>
                <a:spcPts val="306"/>
              </a:spcAft>
              <a:defRPr/>
            </a:pPr>
            <a:r>
              <a:rPr lang="en-US" sz="1600">
                <a:ln w="0" cap="rnd">
                  <a:noFill/>
                </a:ln>
                <a:gradFill>
                  <a:gsLst>
                    <a:gs pos="29412">
                      <a:schemeClr val="tx1"/>
                    </a:gs>
                    <a:gs pos="45000">
                      <a:schemeClr val="tx1"/>
                    </a:gs>
                  </a:gsLst>
                  <a:lin ang="0" scaled="1"/>
                </a:gradFill>
                <a:latin typeface="Segoe UI Semilight" panose="020B0402040204020203" pitchFamily="34" charset="0"/>
                <a:cs typeface="Segoe UI Semilight" panose="020B0402040204020203" pitchFamily="34" charset="0"/>
              </a:rPr>
              <a:t>Raw materials and products</a:t>
            </a:r>
          </a:p>
          <a:p>
            <a:pPr algn="r" defTabSz="931935" fontAlgn="base">
              <a:lnSpc>
                <a:spcPct val="90000"/>
              </a:lnSpc>
              <a:spcBef>
                <a:spcPts val="600"/>
              </a:spcBef>
              <a:spcAft>
                <a:spcPts val="306"/>
              </a:spcAft>
              <a:defRPr/>
            </a:pPr>
            <a:r>
              <a:rPr lang="en-US" sz="1600">
                <a:ln w="0" cap="rnd">
                  <a:noFill/>
                </a:ln>
                <a:gradFill>
                  <a:gsLst>
                    <a:gs pos="29412">
                      <a:schemeClr val="tx1"/>
                    </a:gs>
                    <a:gs pos="45000">
                      <a:schemeClr val="tx1"/>
                    </a:gs>
                  </a:gsLst>
                  <a:lin ang="0" scaled="1"/>
                </a:gradFill>
                <a:latin typeface="Segoe UI Semilight" panose="020B0402040204020203" pitchFamily="34" charset="0"/>
                <a:cs typeface="Segoe UI Semilight" panose="020B0402040204020203" pitchFamily="34" charset="0"/>
              </a:rPr>
              <a:t>Preventive maintenance</a:t>
            </a:r>
          </a:p>
        </p:txBody>
      </p:sp>
      <p:sp>
        <p:nvSpPr>
          <p:cNvPr id="440" name="Rectangle 439">
            <a:extLst>
              <a:ext uri="{FF2B5EF4-FFF2-40B4-BE49-F238E27FC236}">
                <a16:creationId xmlns:a16="http://schemas.microsoft.com/office/drawing/2014/main" id="{0EC107A3-1BCA-4D20-90BE-7A0FE8F5FDD5}"/>
              </a:ext>
            </a:extLst>
          </p:cNvPr>
          <p:cNvSpPr/>
          <p:nvPr/>
        </p:nvSpPr>
        <p:spPr bwMode="auto">
          <a:xfrm flipH="1">
            <a:off x="1762" y="6080994"/>
            <a:ext cx="12432948" cy="9243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71" name="TextBox 270"/>
          <p:cNvSpPr txBox="1"/>
          <p:nvPr/>
        </p:nvSpPr>
        <p:spPr>
          <a:xfrm>
            <a:off x="2915610" y="6162921"/>
            <a:ext cx="6729764" cy="746354"/>
          </a:xfrm>
          <a:prstGeom prst="rect">
            <a:avLst/>
          </a:prstGeom>
          <a:noFill/>
        </p:spPr>
        <p:txBody>
          <a:bodyPr wrap="square" lIns="0" tIns="146241" rIns="182802" bIns="146241" rtlCol="0" anchor="ctr">
            <a:noAutofit/>
          </a:bodyPr>
          <a:lstStyle/>
          <a:p>
            <a:pPr algn="ctr" defTabSz="912507">
              <a:spcAft>
                <a:spcPts val="600"/>
              </a:spcAft>
              <a:defRPr/>
            </a:pPr>
            <a:r>
              <a:rPr lang="en-US" sz="1600" kern="0">
                <a:solidFill>
                  <a:schemeClr val="tx2">
                    <a:lumMod val="40000"/>
                    <a:lumOff val="60000"/>
                  </a:schemeClr>
                </a:solidFill>
                <a:latin typeface="Segoe UI" panose="020B0502040204020203" pitchFamily="34" charset="0"/>
                <a:cs typeface="Segoe UI" panose="020B0502040204020203" pitchFamily="34" charset="0"/>
              </a:rPr>
              <a:t>Modern manufacturers are embracing customer centricity, </a:t>
            </a:r>
            <a:br>
              <a:rPr lang="en-US" sz="1600" kern="0">
                <a:solidFill>
                  <a:schemeClr val="tx2">
                    <a:lumMod val="40000"/>
                    <a:lumOff val="60000"/>
                  </a:schemeClr>
                </a:solidFill>
                <a:latin typeface="Segoe UI" panose="020B0502040204020203" pitchFamily="34" charset="0"/>
                <a:cs typeface="Segoe UI" panose="020B0502040204020203" pitchFamily="34" charset="0"/>
              </a:rPr>
            </a:br>
            <a:r>
              <a:rPr lang="en-US" sz="1600" kern="0">
                <a:solidFill>
                  <a:schemeClr val="tx2">
                    <a:lumMod val="40000"/>
                    <a:lumOff val="60000"/>
                  </a:schemeClr>
                </a:solidFill>
                <a:latin typeface="Segoe UI" panose="020B0502040204020203" pitchFamily="34" charset="0"/>
                <a:cs typeface="Segoe UI" panose="020B0502040204020203" pitchFamily="34" charset="0"/>
              </a:rPr>
              <a:t>innovating faster, and becoming more agile</a:t>
            </a:r>
          </a:p>
        </p:txBody>
      </p:sp>
      <p:sp>
        <p:nvSpPr>
          <p:cNvPr id="213" name="Isosceles Triangle 212">
            <a:extLst>
              <a:ext uri="{FF2B5EF4-FFF2-40B4-BE49-F238E27FC236}">
                <a16:creationId xmlns:a16="http://schemas.microsoft.com/office/drawing/2014/main" id="{EA7EA1B2-BCE6-4E44-A741-DC516286BA23}"/>
              </a:ext>
            </a:extLst>
          </p:cNvPr>
          <p:cNvSpPr/>
          <p:nvPr/>
        </p:nvSpPr>
        <p:spPr bwMode="auto">
          <a:xfrm rot="10800000" flipH="1" flipV="1">
            <a:off x="5601962" y="5738444"/>
            <a:ext cx="1232553" cy="427711"/>
          </a:xfrm>
          <a:prstGeom prst="triangl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430" name="Rectangle 429">
            <a:extLst>
              <a:ext uri="{FF2B5EF4-FFF2-40B4-BE49-F238E27FC236}">
                <a16:creationId xmlns:a16="http://schemas.microsoft.com/office/drawing/2014/main" id="{13FA6214-5A31-46EB-8A20-1B39F1038D47}"/>
              </a:ext>
            </a:extLst>
          </p:cNvPr>
          <p:cNvSpPr/>
          <p:nvPr/>
        </p:nvSpPr>
        <p:spPr bwMode="auto">
          <a:xfrm>
            <a:off x="9567252" y="3314556"/>
            <a:ext cx="2663682" cy="80501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1935" fontAlgn="base">
              <a:lnSpc>
                <a:spcPct val="90000"/>
              </a:lnSpc>
              <a:spcBef>
                <a:spcPts val="600"/>
              </a:spcBef>
              <a:spcAft>
                <a:spcPts val="612"/>
              </a:spcAft>
              <a:defRPr/>
            </a:pPr>
            <a:r>
              <a:rPr lang="en-US" sz="2400" kern="0">
                <a:gradFill>
                  <a:gsLst>
                    <a:gs pos="90196">
                      <a:schemeClr val="accent1"/>
                    </a:gs>
                    <a:gs pos="66667">
                      <a:schemeClr val="accent1"/>
                    </a:gs>
                  </a:gsLst>
                  <a:lin ang="0" scaled="1"/>
                </a:gradFill>
              </a:rPr>
              <a:t>Digital</a:t>
            </a:r>
            <a:r>
              <a:rPr lang="en-US" sz="1600" b="1">
                <a:ln w="0" cap="rnd">
                  <a:noFill/>
                </a:ln>
                <a:gradFill>
                  <a:gsLst>
                    <a:gs pos="29412">
                      <a:schemeClr val="tx1"/>
                    </a:gs>
                    <a:gs pos="45000">
                      <a:schemeClr val="tx1"/>
                    </a:gs>
                  </a:gsLst>
                  <a:lin ang="0" scaled="1"/>
                </a:gradFill>
                <a:latin typeface="Segoe UI"/>
              </a:rPr>
              <a:t> </a:t>
            </a:r>
          </a:p>
          <a:p>
            <a:pPr defTabSz="931935" fontAlgn="base">
              <a:lnSpc>
                <a:spcPct val="90000"/>
              </a:lnSpc>
              <a:spcBef>
                <a:spcPts val="600"/>
              </a:spcBef>
              <a:spcAft>
                <a:spcPts val="306"/>
              </a:spcAft>
              <a:defRPr/>
            </a:pPr>
            <a:r>
              <a:rPr lang="en-US" sz="1600">
                <a:ln w="0" cap="rnd">
                  <a:noFill/>
                </a:ln>
                <a:gradFill>
                  <a:gsLst>
                    <a:gs pos="29412">
                      <a:schemeClr val="tx1"/>
                    </a:gs>
                    <a:gs pos="45000">
                      <a:schemeClr val="tx1"/>
                    </a:gs>
                  </a:gsLst>
                  <a:lin ang="0" scaled="1"/>
                </a:gradFill>
                <a:latin typeface="Segoe UI Semilight" panose="020B0402040204020203" pitchFamily="34" charset="0"/>
                <a:cs typeface="Segoe UI Semilight" panose="020B0402040204020203" pitchFamily="34" charset="0"/>
              </a:rPr>
              <a:t>Smart products</a:t>
            </a:r>
          </a:p>
          <a:p>
            <a:pPr defTabSz="931935" fontAlgn="base">
              <a:lnSpc>
                <a:spcPct val="90000"/>
              </a:lnSpc>
              <a:spcBef>
                <a:spcPts val="600"/>
              </a:spcBef>
              <a:spcAft>
                <a:spcPts val="306"/>
              </a:spcAft>
              <a:defRPr/>
            </a:pPr>
            <a:r>
              <a:rPr lang="en-US" sz="1600">
                <a:ln w="0" cap="rnd">
                  <a:noFill/>
                </a:ln>
                <a:gradFill>
                  <a:gsLst>
                    <a:gs pos="29412">
                      <a:schemeClr val="tx1"/>
                    </a:gs>
                    <a:gs pos="45000">
                      <a:schemeClr val="tx1"/>
                    </a:gs>
                  </a:gsLst>
                  <a:lin ang="0" scaled="1"/>
                </a:gradFill>
                <a:latin typeface="Segoe UI Semilight" panose="020B0402040204020203" pitchFamily="34" charset="0"/>
                <a:cs typeface="Segoe UI Semilight" panose="020B0402040204020203" pitchFamily="34" charset="0"/>
              </a:rPr>
              <a:t>Service ecosystems</a:t>
            </a:r>
          </a:p>
          <a:p>
            <a:pPr defTabSz="931935" fontAlgn="base">
              <a:lnSpc>
                <a:spcPct val="90000"/>
              </a:lnSpc>
              <a:spcBef>
                <a:spcPts val="600"/>
              </a:spcBef>
              <a:spcAft>
                <a:spcPts val="306"/>
              </a:spcAft>
              <a:defRPr/>
            </a:pPr>
            <a:r>
              <a:rPr lang="en-US" sz="1600">
                <a:ln w="0" cap="rnd">
                  <a:noFill/>
                </a:ln>
                <a:gradFill>
                  <a:gsLst>
                    <a:gs pos="29412">
                      <a:schemeClr val="tx1"/>
                    </a:gs>
                    <a:gs pos="45000">
                      <a:schemeClr val="tx1"/>
                    </a:gs>
                  </a:gsLst>
                  <a:lin ang="0" scaled="1"/>
                </a:gradFill>
                <a:latin typeface="Segoe UI Semilight" panose="020B0402040204020203" pitchFamily="34" charset="0"/>
                <a:cs typeface="Segoe UI Semilight" panose="020B0402040204020203" pitchFamily="34" charset="0"/>
              </a:rPr>
              <a:t>Connected customers</a:t>
            </a:r>
          </a:p>
        </p:txBody>
      </p:sp>
      <p:sp>
        <p:nvSpPr>
          <p:cNvPr id="218" name="Freeform: Shape 217">
            <a:extLst>
              <a:ext uri="{FF2B5EF4-FFF2-40B4-BE49-F238E27FC236}">
                <a16:creationId xmlns:a16="http://schemas.microsoft.com/office/drawing/2014/main" id="{31CFD64B-4517-43AF-B44B-5FF6DBE69E2D}"/>
              </a:ext>
            </a:extLst>
          </p:cNvPr>
          <p:cNvSpPr/>
          <p:nvPr/>
        </p:nvSpPr>
        <p:spPr bwMode="auto">
          <a:xfrm rot="18891322" flipH="1">
            <a:off x="4442435" y="1940167"/>
            <a:ext cx="3553798" cy="3553798"/>
          </a:xfrm>
          <a:custGeom>
            <a:avLst/>
            <a:gdLst>
              <a:gd name="connsiteX0" fmla="*/ 510357 w 3484926"/>
              <a:gd name="connsiteY0" fmla="*/ 510356 h 3484926"/>
              <a:gd name="connsiteX1" fmla="*/ 507395 w 3484926"/>
              <a:gd name="connsiteY1" fmla="*/ 513614 h 3484926"/>
              <a:gd name="connsiteX2" fmla="*/ 504152 w 3484926"/>
              <a:gd name="connsiteY2" fmla="*/ 516592 h 3484926"/>
              <a:gd name="connsiteX3" fmla="*/ 451511 w 3484926"/>
              <a:gd name="connsiteY3" fmla="*/ 575102 h 3484926"/>
              <a:gd name="connsiteX4" fmla="*/ 397895 w 3484926"/>
              <a:gd name="connsiteY4" fmla="*/ 634095 h 3484926"/>
              <a:gd name="connsiteX5" fmla="*/ 395230 w 3484926"/>
              <a:gd name="connsiteY5" fmla="*/ 637659 h 3484926"/>
              <a:gd name="connsiteX6" fmla="*/ 392316 w 3484926"/>
              <a:gd name="connsiteY6" fmla="*/ 640897 h 3484926"/>
              <a:gd name="connsiteX7" fmla="*/ 345904 w 3484926"/>
              <a:gd name="connsiteY7" fmla="*/ 703621 h 3484926"/>
              <a:gd name="connsiteX8" fmla="*/ 297586 w 3484926"/>
              <a:gd name="connsiteY8" fmla="*/ 768235 h 3484926"/>
              <a:gd name="connsiteX9" fmla="*/ 295262 w 3484926"/>
              <a:gd name="connsiteY9" fmla="*/ 772061 h 3484926"/>
              <a:gd name="connsiteX10" fmla="*/ 292686 w 3484926"/>
              <a:gd name="connsiteY10" fmla="*/ 775543 h 3484926"/>
              <a:gd name="connsiteX11" fmla="*/ 252508 w 3484926"/>
              <a:gd name="connsiteY11" fmla="*/ 842437 h 3484926"/>
              <a:gd name="connsiteX12" fmla="*/ 210307 w 3484926"/>
              <a:gd name="connsiteY12" fmla="*/ 911901 h 3484926"/>
              <a:gd name="connsiteX13" fmla="*/ 208367 w 3484926"/>
              <a:gd name="connsiteY13" fmla="*/ 915928 h 3484926"/>
              <a:gd name="connsiteX14" fmla="*/ 206133 w 3484926"/>
              <a:gd name="connsiteY14" fmla="*/ 919648 h 3484926"/>
              <a:gd name="connsiteX15" fmla="*/ 172240 w 3484926"/>
              <a:gd name="connsiteY15" fmla="*/ 990923 h 3484926"/>
              <a:gd name="connsiteX16" fmla="*/ 136932 w 3484926"/>
              <a:gd name="connsiteY16" fmla="*/ 1064218 h 3484926"/>
              <a:gd name="connsiteX17" fmla="*/ 135412 w 3484926"/>
              <a:gd name="connsiteY17" fmla="*/ 1068371 h 3484926"/>
              <a:gd name="connsiteX18" fmla="*/ 133529 w 3484926"/>
              <a:gd name="connsiteY18" fmla="*/ 1072332 h 3484926"/>
              <a:gd name="connsiteX19" fmla="*/ 106177 w 3484926"/>
              <a:gd name="connsiteY19" fmla="*/ 1148247 h 3484926"/>
              <a:gd name="connsiteX20" fmla="*/ 78339 w 3484926"/>
              <a:gd name="connsiteY20" fmla="*/ 1224308 h 3484926"/>
              <a:gd name="connsiteX21" fmla="*/ 77255 w 3484926"/>
              <a:gd name="connsiteY21" fmla="*/ 1228521 h 3484926"/>
              <a:gd name="connsiteX22" fmla="*/ 75744 w 3484926"/>
              <a:gd name="connsiteY22" fmla="*/ 1232716 h 3484926"/>
              <a:gd name="connsiteX23" fmla="*/ 55476 w 3484926"/>
              <a:gd name="connsiteY23" fmla="*/ 1313224 h 3484926"/>
              <a:gd name="connsiteX24" fmla="*/ 35402 w 3484926"/>
              <a:gd name="connsiteY24" fmla="*/ 1391296 h 3484926"/>
              <a:gd name="connsiteX25" fmla="*/ 34756 w 3484926"/>
              <a:gd name="connsiteY25" fmla="*/ 1395529 h 3484926"/>
              <a:gd name="connsiteX26" fmla="*/ 33651 w 3484926"/>
              <a:gd name="connsiteY26" fmla="*/ 1399919 h 3484926"/>
              <a:gd name="connsiteX27" fmla="*/ 21221 w 3484926"/>
              <a:gd name="connsiteY27" fmla="*/ 1484213 h 3484926"/>
              <a:gd name="connsiteX28" fmla="*/ 8997 w 3484926"/>
              <a:gd name="connsiteY28" fmla="*/ 1564306 h 3484926"/>
              <a:gd name="connsiteX29" fmla="*/ 8782 w 3484926"/>
              <a:gd name="connsiteY29" fmla="*/ 1568570 h 3484926"/>
              <a:gd name="connsiteX30" fmla="*/ 8120 w 3484926"/>
              <a:gd name="connsiteY30" fmla="*/ 1573060 h 3484926"/>
              <a:gd name="connsiteX31" fmla="*/ 4211 w 3484926"/>
              <a:gd name="connsiteY31" fmla="*/ 1659089 h 3484926"/>
              <a:gd name="connsiteX32" fmla="*/ 1 w 3484926"/>
              <a:gd name="connsiteY32" fmla="*/ 1742463 h 3484926"/>
              <a:gd name="connsiteX33" fmla="*/ 0 w 3484926"/>
              <a:gd name="connsiteY33" fmla="*/ 1742463 h 3484926"/>
              <a:gd name="connsiteX34" fmla="*/ 223 w 3484926"/>
              <a:gd name="connsiteY34" fmla="*/ 1746874 h 3484926"/>
              <a:gd name="connsiteX35" fmla="*/ 23 w 3484926"/>
              <a:gd name="connsiteY35" fmla="*/ 1751260 h 3484926"/>
              <a:gd name="connsiteX36" fmla="*/ 141201 w 3484926"/>
              <a:gd name="connsiteY36" fmla="*/ 3359976 h 3484926"/>
              <a:gd name="connsiteX37" fmla="*/ 1348872 w 3484926"/>
              <a:gd name="connsiteY37" fmla="*/ 3478618 h 3484926"/>
              <a:gd name="connsiteX38" fmla="*/ 1737855 w 3484926"/>
              <a:gd name="connsiteY38" fmla="*/ 3484693 h 3484926"/>
              <a:gd name="connsiteX39" fmla="*/ 1742463 w 3484926"/>
              <a:gd name="connsiteY39" fmla="*/ 3484926 h 3484926"/>
              <a:gd name="connsiteX40" fmla="*/ 1744894 w 3484926"/>
              <a:gd name="connsiteY40" fmla="*/ 3484803 h 3484926"/>
              <a:gd name="connsiteX41" fmla="*/ 1751261 w 3484926"/>
              <a:gd name="connsiteY41" fmla="*/ 3484903 h 3484926"/>
              <a:gd name="connsiteX42" fmla="*/ 1834407 w 3484926"/>
              <a:gd name="connsiteY42" fmla="*/ 3480283 h 3484926"/>
              <a:gd name="connsiteX43" fmla="*/ 1920620 w 3484926"/>
              <a:gd name="connsiteY43" fmla="*/ 3475930 h 3484926"/>
              <a:gd name="connsiteX44" fmla="*/ 1925116 w 3484926"/>
              <a:gd name="connsiteY44" fmla="*/ 3475243 h 3484926"/>
              <a:gd name="connsiteX45" fmla="*/ 1929370 w 3484926"/>
              <a:gd name="connsiteY45" fmla="*/ 3475007 h 3484926"/>
              <a:gd name="connsiteX46" fmla="*/ 2009216 w 3484926"/>
              <a:gd name="connsiteY46" fmla="*/ 3462409 h 3484926"/>
              <a:gd name="connsiteX47" fmla="*/ 2093630 w 3484926"/>
              <a:gd name="connsiteY47" fmla="*/ 3449525 h 3484926"/>
              <a:gd name="connsiteX48" fmla="*/ 2098023 w 3484926"/>
              <a:gd name="connsiteY48" fmla="*/ 3448395 h 3484926"/>
              <a:gd name="connsiteX49" fmla="*/ 2102245 w 3484926"/>
              <a:gd name="connsiteY49" fmla="*/ 3447730 h 3484926"/>
              <a:gd name="connsiteX50" fmla="*/ 2180053 w 3484926"/>
              <a:gd name="connsiteY50" fmla="*/ 3427304 h 3484926"/>
              <a:gd name="connsiteX51" fmla="*/ 2260618 w 3484926"/>
              <a:gd name="connsiteY51" fmla="*/ 3406588 h 3484926"/>
              <a:gd name="connsiteX52" fmla="*/ 2264814 w 3484926"/>
              <a:gd name="connsiteY52" fmla="*/ 3405053 h 3484926"/>
              <a:gd name="connsiteX53" fmla="*/ 2269014 w 3484926"/>
              <a:gd name="connsiteY53" fmla="*/ 3403950 h 3484926"/>
              <a:gd name="connsiteX54" fmla="*/ 2344802 w 3484926"/>
              <a:gd name="connsiteY54" fmla="*/ 3375777 h 3484926"/>
              <a:gd name="connsiteX55" fmla="*/ 2420708 w 3484926"/>
              <a:gd name="connsiteY55" fmla="*/ 3347994 h 3484926"/>
              <a:gd name="connsiteX56" fmla="*/ 2424667 w 3484926"/>
              <a:gd name="connsiteY56" fmla="*/ 3346088 h 3484926"/>
              <a:gd name="connsiteX57" fmla="*/ 2428806 w 3484926"/>
              <a:gd name="connsiteY57" fmla="*/ 3344549 h 3484926"/>
              <a:gd name="connsiteX58" fmla="*/ 2501823 w 3484926"/>
              <a:gd name="connsiteY58" fmla="*/ 3308919 h 3484926"/>
              <a:gd name="connsiteX59" fmla="*/ 2573024 w 3484926"/>
              <a:gd name="connsiteY59" fmla="*/ 3274620 h 3484926"/>
              <a:gd name="connsiteX60" fmla="*/ 2576738 w 3484926"/>
              <a:gd name="connsiteY60" fmla="*/ 3272364 h 3484926"/>
              <a:gd name="connsiteX61" fmla="*/ 2580750 w 3484926"/>
              <a:gd name="connsiteY61" fmla="*/ 3270406 h 3484926"/>
              <a:gd name="connsiteX62" fmla="*/ 2649936 w 3484926"/>
              <a:gd name="connsiteY62" fmla="*/ 3227895 h 3484926"/>
              <a:gd name="connsiteX63" fmla="*/ 2716690 w 3484926"/>
              <a:gd name="connsiteY63" fmla="*/ 3187341 h 3484926"/>
              <a:gd name="connsiteX64" fmla="*/ 2720161 w 3484926"/>
              <a:gd name="connsiteY64" fmla="*/ 3184745 h 3484926"/>
              <a:gd name="connsiteX65" fmla="*/ 2723974 w 3484926"/>
              <a:gd name="connsiteY65" fmla="*/ 3182403 h 3484926"/>
              <a:gd name="connsiteX66" fmla="*/ 2788307 w 3484926"/>
              <a:gd name="connsiteY66" fmla="*/ 3133787 h 3484926"/>
              <a:gd name="connsiteX67" fmla="*/ 2850831 w 3484926"/>
              <a:gd name="connsiteY67" fmla="*/ 3087032 h 3484926"/>
              <a:gd name="connsiteX68" fmla="*/ 2854057 w 3484926"/>
              <a:gd name="connsiteY68" fmla="*/ 3084101 h 3484926"/>
              <a:gd name="connsiteX69" fmla="*/ 2857606 w 3484926"/>
              <a:gd name="connsiteY69" fmla="*/ 3081418 h 3484926"/>
              <a:gd name="connsiteX70" fmla="*/ 2916317 w 3484926"/>
              <a:gd name="connsiteY70" fmla="*/ 3027515 h 3484926"/>
              <a:gd name="connsiteX71" fmla="*/ 2974570 w 3484926"/>
              <a:gd name="connsiteY71" fmla="*/ 2974571 h 3484926"/>
              <a:gd name="connsiteX72" fmla="*/ 2977532 w 3484926"/>
              <a:gd name="connsiteY72" fmla="*/ 2971312 h 3484926"/>
              <a:gd name="connsiteX73" fmla="*/ 2980776 w 3484926"/>
              <a:gd name="connsiteY73" fmla="*/ 2968333 h 3484926"/>
              <a:gd name="connsiteX74" fmla="*/ 3033426 w 3484926"/>
              <a:gd name="connsiteY74" fmla="*/ 2909813 h 3484926"/>
              <a:gd name="connsiteX75" fmla="*/ 3087032 w 3484926"/>
              <a:gd name="connsiteY75" fmla="*/ 2850831 h 3484926"/>
              <a:gd name="connsiteX76" fmla="*/ 3089697 w 3484926"/>
              <a:gd name="connsiteY76" fmla="*/ 2847268 h 3484926"/>
              <a:gd name="connsiteX77" fmla="*/ 3092612 w 3484926"/>
              <a:gd name="connsiteY77" fmla="*/ 2844028 h 3484926"/>
              <a:gd name="connsiteX78" fmla="*/ 3139050 w 3484926"/>
              <a:gd name="connsiteY78" fmla="*/ 2781269 h 3484926"/>
              <a:gd name="connsiteX79" fmla="*/ 3187341 w 3484926"/>
              <a:gd name="connsiteY79" fmla="*/ 2716691 h 3484926"/>
              <a:gd name="connsiteX80" fmla="*/ 3189664 w 3484926"/>
              <a:gd name="connsiteY80" fmla="*/ 2712866 h 3484926"/>
              <a:gd name="connsiteX81" fmla="*/ 3192242 w 3484926"/>
              <a:gd name="connsiteY81" fmla="*/ 2709382 h 3484926"/>
              <a:gd name="connsiteX82" fmla="*/ 3232458 w 3484926"/>
              <a:gd name="connsiteY82" fmla="*/ 2642424 h 3484926"/>
              <a:gd name="connsiteX83" fmla="*/ 3274620 w 3484926"/>
              <a:gd name="connsiteY83" fmla="*/ 2573024 h 3484926"/>
              <a:gd name="connsiteX84" fmla="*/ 3276558 w 3484926"/>
              <a:gd name="connsiteY84" fmla="*/ 2569003 h 3484926"/>
              <a:gd name="connsiteX85" fmla="*/ 3278795 w 3484926"/>
              <a:gd name="connsiteY85" fmla="*/ 2565277 h 3484926"/>
              <a:gd name="connsiteX86" fmla="*/ 3312734 w 3484926"/>
              <a:gd name="connsiteY86" fmla="*/ 2493904 h 3484926"/>
              <a:gd name="connsiteX87" fmla="*/ 3347994 w 3484926"/>
              <a:gd name="connsiteY87" fmla="*/ 2420708 h 3484926"/>
              <a:gd name="connsiteX88" fmla="*/ 3349512 w 3484926"/>
              <a:gd name="connsiteY88" fmla="*/ 2416561 h 3484926"/>
              <a:gd name="connsiteX89" fmla="*/ 3351399 w 3484926"/>
              <a:gd name="connsiteY89" fmla="*/ 2412593 h 3484926"/>
              <a:gd name="connsiteX90" fmla="*/ 3378798 w 3484926"/>
              <a:gd name="connsiteY90" fmla="*/ 2336548 h 3484926"/>
              <a:gd name="connsiteX91" fmla="*/ 3406588 w 3484926"/>
              <a:gd name="connsiteY91" fmla="*/ 2260618 h 3484926"/>
              <a:gd name="connsiteX92" fmla="*/ 3407670 w 3484926"/>
              <a:gd name="connsiteY92" fmla="*/ 2256412 h 3484926"/>
              <a:gd name="connsiteX93" fmla="*/ 3409184 w 3484926"/>
              <a:gd name="connsiteY93" fmla="*/ 2252209 h 3484926"/>
              <a:gd name="connsiteX94" fmla="*/ 3429493 w 3484926"/>
              <a:gd name="connsiteY94" fmla="*/ 2171540 h 3484926"/>
              <a:gd name="connsiteX95" fmla="*/ 3449525 w 3484926"/>
              <a:gd name="connsiteY95" fmla="*/ 2093630 h 3484926"/>
              <a:gd name="connsiteX96" fmla="*/ 3450170 w 3484926"/>
              <a:gd name="connsiteY96" fmla="*/ 2089405 h 3484926"/>
              <a:gd name="connsiteX97" fmla="*/ 3451277 w 3484926"/>
              <a:gd name="connsiteY97" fmla="*/ 2085006 h 3484926"/>
              <a:gd name="connsiteX98" fmla="*/ 3463734 w 3484926"/>
              <a:gd name="connsiteY98" fmla="*/ 2000528 h 3484926"/>
              <a:gd name="connsiteX99" fmla="*/ 3475930 w 3484926"/>
              <a:gd name="connsiteY99" fmla="*/ 1920619 h 3484926"/>
              <a:gd name="connsiteX100" fmla="*/ 3476144 w 3484926"/>
              <a:gd name="connsiteY100" fmla="*/ 1916365 h 3484926"/>
              <a:gd name="connsiteX101" fmla="*/ 3476808 w 3484926"/>
              <a:gd name="connsiteY101" fmla="*/ 1911865 h 3484926"/>
              <a:gd name="connsiteX102" fmla="*/ 3480726 w 3484926"/>
              <a:gd name="connsiteY102" fmla="*/ 1825631 h 3484926"/>
              <a:gd name="connsiteX103" fmla="*/ 3484926 w 3484926"/>
              <a:gd name="connsiteY103" fmla="*/ 1742463 h 3484926"/>
              <a:gd name="connsiteX104" fmla="*/ 3484794 w 3484926"/>
              <a:gd name="connsiteY104" fmla="*/ 1736096 h 3484926"/>
              <a:gd name="connsiteX105" fmla="*/ 3484905 w 3484926"/>
              <a:gd name="connsiteY105" fmla="*/ 1733665 h 3484926"/>
              <a:gd name="connsiteX106" fmla="*/ 3484649 w 3484926"/>
              <a:gd name="connsiteY106" fmla="*/ 1729058 h 3484926"/>
              <a:gd name="connsiteX107" fmla="*/ 3476610 w 3484926"/>
              <a:gd name="connsiteY107" fmla="*/ 1340111 h 3484926"/>
              <a:gd name="connsiteX108" fmla="*/ 3351872 w 3484926"/>
              <a:gd name="connsiteY108" fmla="*/ 133054 h 3484926"/>
              <a:gd name="connsiteX109" fmla="*/ 1742464 w 3484926"/>
              <a:gd name="connsiteY109" fmla="*/ 0 h 3484926"/>
              <a:gd name="connsiteX110" fmla="*/ 1738079 w 3484926"/>
              <a:gd name="connsiteY110" fmla="*/ 222 h 3484926"/>
              <a:gd name="connsiteX111" fmla="*/ 1733667 w 3484926"/>
              <a:gd name="connsiteY111" fmla="*/ 21 h 3484926"/>
              <a:gd name="connsiteX112" fmla="*/ 1733667 w 3484926"/>
              <a:gd name="connsiteY112" fmla="*/ 22 h 3484926"/>
              <a:gd name="connsiteX113" fmla="*/ 1650316 w 3484926"/>
              <a:gd name="connsiteY113" fmla="*/ 4653 h 3484926"/>
              <a:gd name="connsiteX114" fmla="*/ 1564307 w 3484926"/>
              <a:gd name="connsiteY114" fmla="*/ 8996 h 3484926"/>
              <a:gd name="connsiteX115" fmla="*/ 1559821 w 3484926"/>
              <a:gd name="connsiteY115" fmla="*/ 9681 h 3484926"/>
              <a:gd name="connsiteX116" fmla="*/ 1555558 w 3484926"/>
              <a:gd name="connsiteY116" fmla="*/ 9918 h 3484926"/>
              <a:gd name="connsiteX117" fmla="*/ 1475527 w 3484926"/>
              <a:gd name="connsiteY117" fmla="*/ 22546 h 3484926"/>
              <a:gd name="connsiteX118" fmla="*/ 1391297 w 3484926"/>
              <a:gd name="connsiteY118" fmla="*/ 35401 h 3484926"/>
              <a:gd name="connsiteX119" fmla="*/ 1386913 w 3484926"/>
              <a:gd name="connsiteY119" fmla="*/ 36528 h 3484926"/>
              <a:gd name="connsiteX120" fmla="*/ 1382683 w 3484926"/>
              <a:gd name="connsiteY120" fmla="*/ 37196 h 3484926"/>
              <a:gd name="connsiteX121" fmla="*/ 1304713 w 3484926"/>
              <a:gd name="connsiteY121" fmla="*/ 57664 h 3484926"/>
              <a:gd name="connsiteX122" fmla="*/ 1224309 w 3484926"/>
              <a:gd name="connsiteY122" fmla="*/ 78338 h 3484926"/>
              <a:gd name="connsiteX123" fmla="*/ 1220121 w 3484926"/>
              <a:gd name="connsiteY123" fmla="*/ 79870 h 3484926"/>
              <a:gd name="connsiteX124" fmla="*/ 1215914 w 3484926"/>
              <a:gd name="connsiteY124" fmla="*/ 80975 h 3484926"/>
              <a:gd name="connsiteX125" fmla="*/ 1139995 w 3484926"/>
              <a:gd name="connsiteY125" fmla="*/ 109197 h 3484926"/>
              <a:gd name="connsiteX126" fmla="*/ 1064219 w 3484926"/>
              <a:gd name="connsiteY126" fmla="*/ 136931 h 3484926"/>
              <a:gd name="connsiteX127" fmla="*/ 1060267 w 3484926"/>
              <a:gd name="connsiteY127" fmla="*/ 138835 h 3484926"/>
              <a:gd name="connsiteX128" fmla="*/ 1056122 w 3484926"/>
              <a:gd name="connsiteY128" fmla="*/ 140376 h 3484926"/>
              <a:gd name="connsiteX129" fmla="*/ 983006 w 3484926"/>
              <a:gd name="connsiteY129" fmla="*/ 176053 h 3484926"/>
              <a:gd name="connsiteX130" fmla="*/ 911903 w 3484926"/>
              <a:gd name="connsiteY130" fmla="*/ 210306 h 3484926"/>
              <a:gd name="connsiteX131" fmla="*/ 908194 w 3484926"/>
              <a:gd name="connsiteY131" fmla="*/ 212559 h 3484926"/>
              <a:gd name="connsiteX132" fmla="*/ 904178 w 3484926"/>
              <a:gd name="connsiteY132" fmla="*/ 214519 h 3484926"/>
              <a:gd name="connsiteX133" fmla="*/ 834927 w 3484926"/>
              <a:gd name="connsiteY133" fmla="*/ 257070 h 3484926"/>
              <a:gd name="connsiteX134" fmla="*/ 768236 w 3484926"/>
              <a:gd name="connsiteY134" fmla="*/ 297585 h 3484926"/>
              <a:gd name="connsiteX135" fmla="*/ 764768 w 3484926"/>
              <a:gd name="connsiteY135" fmla="*/ 300179 h 3484926"/>
              <a:gd name="connsiteX136" fmla="*/ 760954 w 3484926"/>
              <a:gd name="connsiteY136" fmla="*/ 302522 h 3484926"/>
              <a:gd name="connsiteX137" fmla="*/ 696585 w 3484926"/>
              <a:gd name="connsiteY137" fmla="*/ 351165 h 3484926"/>
              <a:gd name="connsiteX138" fmla="*/ 634096 w 3484926"/>
              <a:gd name="connsiteY138" fmla="*/ 397894 h 3484926"/>
              <a:gd name="connsiteX139" fmla="*/ 630872 w 3484926"/>
              <a:gd name="connsiteY139" fmla="*/ 400824 h 3484926"/>
              <a:gd name="connsiteX140" fmla="*/ 627321 w 3484926"/>
              <a:gd name="connsiteY140" fmla="*/ 403507 h 3484926"/>
              <a:gd name="connsiteX141" fmla="*/ 568600 w 3484926"/>
              <a:gd name="connsiteY141" fmla="*/ 457420 h 348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3484926" h="3484926">
                <a:moveTo>
                  <a:pt x="510357" y="510356"/>
                </a:moveTo>
                <a:lnTo>
                  <a:pt x="507395" y="513614"/>
                </a:lnTo>
                <a:lnTo>
                  <a:pt x="504152" y="516592"/>
                </a:lnTo>
                <a:lnTo>
                  <a:pt x="451511" y="575102"/>
                </a:lnTo>
                <a:lnTo>
                  <a:pt x="397895" y="634095"/>
                </a:lnTo>
                <a:lnTo>
                  <a:pt x="395230" y="637659"/>
                </a:lnTo>
                <a:lnTo>
                  <a:pt x="392316" y="640897"/>
                </a:lnTo>
                <a:lnTo>
                  <a:pt x="345904" y="703621"/>
                </a:lnTo>
                <a:lnTo>
                  <a:pt x="297586" y="768235"/>
                </a:lnTo>
                <a:lnTo>
                  <a:pt x="295262" y="772061"/>
                </a:lnTo>
                <a:lnTo>
                  <a:pt x="292686" y="775543"/>
                </a:lnTo>
                <a:lnTo>
                  <a:pt x="252508" y="842437"/>
                </a:lnTo>
                <a:lnTo>
                  <a:pt x="210307" y="911901"/>
                </a:lnTo>
                <a:lnTo>
                  <a:pt x="208367" y="915928"/>
                </a:lnTo>
                <a:lnTo>
                  <a:pt x="206133" y="919648"/>
                </a:lnTo>
                <a:lnTo>
                  <a:pt x="172240" y="990923"/>
                </a:lnTo>
                <a:lnTo>
                  <a:pt x="136932" y="1064218"/>
                </a:lnTo>
                <a:lnTo>
                  <a:pt x="135412" y="1068371"/>
                </a:lnTo>
                <a:lnTo>
                  <a:pt x="133529" y="1072332"/>
                </a:lnTo>
                <a:lnTo>
                  <a:pt x="106177" y="1148247"/>
                </a:lnTo>
                <a:lnTo>
                  <a:pt x="78339" y="1224308"/>
                </a:lnTo>
                <a:lnTo>
                  <a:pt x="77255" y="1228521"/>
                </a:lnTo>
                <a:lnTo>
                  <a:pt x="75744" y="1232716"/>
                </a:lnTo>
                <a:lnTo>
                  <a:pt x="55476" y="1313224"/>
                </a:lnTo>
                <a:lnTo>
                  <a:pt x="35402" y="1391296"/>
                </a:lnTo>
                <a:lnTo>
                  <a:pt x="34756" y="1395529"/>
                </a:lnTo>
                <a:lnTo>
                  <a:pt x="33651" y="1399919"/>
                </a:lnTo>
                <a:lnTo>
                  <a:pt x="21221" y="1484213"/>
                </a:lnTo>
                <a:lnTo>
                  <a:pt x="8997" y="1564306"/>
                </a:lnTo>
                <a:lnTo>
                  <a:pt x="8782" y="1568570"/>
                </a:lnTo>
                <a:lnTo>
                  <a:pt x="8120" y="1573060"/>
                </a:lnTo>
                <a:lnTo>
                  <a:pt x="4211" y="1659089"/>
                </a:lnTo>
                <a:lnTo>
                  <a:pt x="1" y="1742463"/>
                </a:lnTo>
                <a:lnTo>
                  <a:pt x="0" y="1742463"/>
                </a:lnTo>
                <a:lnTo>
                  <a:pt x="223" y="1746874"/>
                </a:lnTo>
                <a:lnTo>
                  <a:pt x="23" y="1751260"/>
                </a:lnTo>
                <a:cubicBezTo>
                  <a:pt x="2732" y="2287722"/>
                  <a:pt x="49791" y="2823961"/>
                  <a:pt x="141201" y="3359976"/>
                </a:cubicBezTo>
                <a:cubicBezTo>
                  <a:pt x="543883" y="3424471"/>
                  <a:pt x="946441" y="3464018"/>
                  <a:pt x="1348872" y="3478618"/>
                </a:cubicBezTo>
                <a:lnTo>
                  <a:pt x="1737855" y="3484693"/>
                </a:lnTo>
                <a:lnTo>
                  <a:pt x="1742463" y="3484926"/>
                </a:lnTo>
                <a:lnTo>
                  <a:pt x="1744894" y="3484803"/>
                </a:lnTo>
                <a:lnTo>
                  <a:pt x="1751261" y="3484903"/>
                </a:lnTo>
                <a:lnTo>
                  <a:pt x="1834407" y="3480283"/>
                </a:lnTo>
                <a:lnTo>
                  <a:pt x="1920620" y="3475930"/>
                </a:lnTo>
                <a:lnTo>
                  <a:pt x="1925116" y="3475243"/>
                </a:lnTo>
                <a:lnTo>
                  <a:pt x="1929370" y="3475007"/>
                </a:lnTo>
                <a:lnTo>
                  <a:pt x="2009216" y="3462409"/>
                </a:lnTo>
                <a:lnTo>
                  <a:pt x="2093630" y="3449525"/>
                </a:lnTo>
                <a:lnTo>
                  <a:pt x="2098023" y="3448395"/>
                </a:lnTo>
                <a:lnTo>
                  <a:pt x="2102245" y="3447730"/>
                </a:lnTo>
                <a:lnTo>
                  <a:pt x="2180053" y="3427304"/>
                </a:lnTo>
                <a:lnTo>
                  <a:pt x="2260618" y="3406588"/>
                </a:lnTo>
                <a:lnTo>
                  <a:pt x="2264814" y="3405053"/>
                </a:lnTo>
                <a:lnTo>
                  <a:pt x="2269014" y="3403950"/>
                </a:lnTo>
                <a:lnTo>
                  <a:pt x="2344802" y="3375777"/>
                </a:lnTo>
                <a:lnTo>
                  <a:pt x="2420708" y="3347994"/>
                </a:lnTo>
                <a:lnTo>
                  <a:pt x="2424667" y="3346088"/>
                </a:lnTo>
                <a:lnTo>
                  <a:pt x="2428806" y="3344549"/>
                </a:lnTo>
                <a:lnTo>
                  <a:pt x="2501823" y="3308919"/>
                </a:lnTo>
                <a:lnTo>
                  <a:pt x="2573024" y="3274620"/>
                </a:lnTo>
                <a:lnTo>
                  <a:pt x="2576738" y="3272364"/>
                </a:lnTo>
                <a:lnTo>
                  <a:pt x="2580750" y="3270406"/>
                </a:lnTo>
                <a:lnTo>
                  <a:pt x="2649936" y="3227895"/>
                </a:lnTo>
                <a:lnTo>
                  <a:pt x="2716690" y="3187341"/>
                </a:lnTo>
                <a:lnTo>
                  <a:pt x="2720161" y="3184745"/>
                </a:lnTo>
                <a:lnTo>
                  <a:pt x="2723974" y="3182403"/>
                </a:lnTo>
                <a:lnTo>
                  <a:pt x="2788307" y="3133787"/>
                </a:lnTo>
                <a:lnTo>
                  <a:pt x="2850831" y="3087032"/>
                </a:lnTo>
                <a:lnTo>
                  <a:pt x="2854057" y="3084101"/>
                </a:lnTo>
                <a:lnTo>
                  <a:pt x="2857606" y="3081418"/>
                </a:lnTo>
                <a:lnTo>
                  <a:pt x="2916317" y="3027515"/>
                </a:lnTo>
                <a:lnTo>
                  <a:pt x="2974570" y="2974571"/>
                </a:lnTo>
                <a:lnTo>
                  <a:pt x="2977532" y="2971312"/>
                </a:lnTo>
                <a:lnTo>
                  <a:pt x="2980776" y="2968333"/>
                </a:lnTo>
                <a:lnTo>
                  <a:pt x="3033426" y="2909813"/>
                </a:lnTo>
                <a:lnTo>
                  <a:pt x="3087032" y="2850831"/>
                </a:lnTo>
                <a:lnTo>
                  <a:pt x="3089697" y="2847268"/>
                </a:lnTo>
                <a:lnTo>
                  <a:pt x="3092612" y="2844028"/>
                </a:lnTo>
                <a:lnTo>
                  <a:pt x="3139050" y="2781269"/>
                </a:lnTo>
                <a:lnTo>
                  <a:pt x="3187341" y="2716691"/>
                </a:lnTo>
                <a:lnTo>
                  <a:pt x="3189664" y="2712866"/>
                </a:lnTo>
                <a:lnTo>
                  <a:pt x="3192242" y="2709382"/>
                </a:lnTo>
                <a:lnTo>
                  <a:pt x="3232458" y="2642424"/>
                </a:lnTo>
                <a:lnTo>
                  <a:pt x="3274620" y="2573024"/>
                </a:lnTo>
                <a:lnTo>
                  <a:pt x="3276558" y="2569003"/>
                </a:lnTo>
                <a:lnTo>
                  <a:pt x="3278795" y="2565277"/>
                </a:lnTo>
                <a:lnTo>
                  <a:pt x="3312734" y="2493904"/>
                </a:lnTo>
                <a:lnTo>
                  <a:pt x="3347994" y="2420708"/>
                </a:lnTo>
                <a:lnTo>
                  <a:pt x="3349512" y="2416561"/>
                </a:lnTo>
                <a:lnTo>
                  <a:pt x="3351399" y="2412593"/>
                </a:lnTo>
                <a:lnTo>
                  <a:pt x="3378798" y="2336548"/>
                </a:lnTo>
                <a:lnTo>
                  <a:pt x="3406588" y="2260618"/>
                </a:lnTo>
                <a:lnTo>
                  <a:pt x="3407670" y="2256412"/>
                </a:lnTo>
                <a:lnTo>
                  <a:pt x="3409184" y="2252209"/>
                </a:lnTo>
                <a:lnTo>
                  <a:pt x="3429493" y="2171540"/>
                </a:lnTo>
                <a:lnTo>
                  <a:pt x="3449525" y="2093630"/>
                </a:lnTo>
                <a:lnTo>
                  <a:pt x="3450170" y="2089405"/>
                </a:lnTo>
                <a:lnTo>
                  <a:pt x="3451277" y="2085006"/>
                </a:lnTo>
                <a:lnTo>
                  <a:pt x="3463734" y="2000528"/>
                </a:lnTo>
                <a:lnTo>
                  <a:pt x="3475930" y="1920619"/>
                </a:lnTo>
                <a:lnTo>
                  <a:pt x="3476144" y="1916365"/>
                </a:lnTo>
                <a:lnTo>
                  <a:pt x="3476808" y="1911865"/>
                </a:lnTo>
                <a:lnTo>
                  <a:pt x="3480726" y="1825631"/>
                </a:lnTo>
                <a:lnTo>
                  <a:pt x="3484926" y="1742463"/>
                </a:lnTo>
                <a:lnTo>
                  <a:pt x="3484794" y="1736096"/>
                </a:lnTo>
                <a:lnTo>
                  <a:pt x="3484905" y="1733665"/>
                </a:lnTo>
                <a:lnTo>
                  <a:pt x="3484649" y="1729058"/>
                </a:lnTo>
                <a:lnTo>
                  <a:pt x="3476610" y="1340111"/>
                </a:lnTo>
                <a:cubicBezTo>
                  <a:pt x="3459979" y="937758"/>
                  <a:pt x="3418399" y="535406"/>
                  <a:pt x="3351872" y="133054"/>
                </a:cubicBezTo>
                <a:cubicBezTo>
                  <a:pt x="2815403" y="44351"/>
                  <a:pt x="2278933" y="0"/>
                  <a:pt x="1742464" y="0"/>
                </a:cubicBezTo>
                <a:lnTo>
                  <a:pt x="1738079" y="222"/>
                </a:lnTo>
                <a:lnTo>
                  <a:pt x="1733667" y="21"/>
                </a:lnTo>
                <a:lnTo>
                  <a:pt x="1733667" y="22"/>
                </a:lnTo>
                <a:lnTo>
                  <a:pt x="1650316" y="4653"/>
                </a:lnTo>
                <a:lnTo>
                  <a:pt x="1564307" y="8996"/>
                </a:lnTo>
                <a:lnTo>
                  <a:pt x="1559821" y="9681"/>
                </a:lnTo>
                <a:lnTo>
                  <a:pt x="1555558" y="9918"/>
                </a:lnTo>
                <a:lnTo>
                  <a:pt x="1475527" y="22546"/>
                </a:lnTo>
                <a:lnTo>
                  <a:pt x="1391297" y="35401"/>
                </a:lnTo>
                <a:lnTo>
                  <a:pt x="1386913" y="36528"/>
                </a:lnTo>
                <a:lnTo>
                  <a:pt x="1382683" y="37196"/>
                </a:lnTo>
                <a:lnTo>
                  <a:pt x="1304713" y="57664"/>
                </a:lnTo>
                <a:lnTo>
                  <a:pt x="1224309" y="78338"/>
                </a:lnTo>
                <a:lnTo>
                  <a:pt x="1220121" y="79870"/>
                </a:lnTo>
                <a:lnTo>
                  <a:pt x="1215914" y="80975"/>
                </a:lnTo>
                <a:lnTo>
                  <a:pt x="1139995" y="109197"/>
                </a:lnTo>
                <a:lnTo>
                  <a:pt x="1064219" y="136931"/>
                </a:lnTo>
                <a:lnTo>
                  <a:pt x="1060267" y="138835"/>
                </a:lnTo>
                <a:lnTo>
                  <a:pt x="1056122" y="140376"/>
                </a:lnTo>
                <a:lnTo>
                  <a:pt x="983006" y="176053"/>
                </a:lnTo>
                <a:lnTo>
                  <a:pt x="911903" y="210306"/>
                </a:lnTo>
                <a:lnTo>
                  <a:pt x="908194" y="212559"/>
                </a:lnTo>
                <a:lnTo>
                  <a:pt x="904178" y="214519"/>
                </a:lnTo>
                <a:lnTo>
                  <a:pt x="834927" y="257070"/>
                </a:lnTo>
                <a:lnTo>
                  <a:pt x="768236" y="297585"/>
                </a:lnTo>
                <a:lnTo>
                  <a:pt x="764768" y="300179"/>
                </a:lnTo>
                <a:lnTo>
                  <a:pt x="760954" y="302522"/>
                </a:lnTo>
                <a:lnTo>
                  <a:pt x="696585" y="351165"/>
                </a:lnTo>
                <a:lnTo>
                  <a:pt x="634096" y="397894"/>
                </a:lnTo>
                <a:lnTo>
                  <a:pt x="630872" y="400824"/>
                </a:lnTo>
                <a:lnTo>
                  <a:pt x="627321" y="403507"/>
                </a:lnTo>
                <a:lnTo>
                  <a:pt x="568600" y="457420"/>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28" name="Freeform: Shape 227">
            <a:extLst>
              <a:ext uri="{FF2B5EF4-FFF2-40B4-BE49-F238E27FC236}">
                <a16:creationId xmlns:a16="http://schemas.microsoft.com/office/drawing/2014/main" id="{E0591C4F-05C3-402B-915B-35D9959463D2}"/>
              </a:ext>
            </a:extLst>
          </p:cNvPr>
          <p:cNvSpPr/>
          <p:nvPr/>
        </p:nvSpPr>
        <p:spPr bwMode="auto">
          <a:xfrm rot="18891322" flipH="1">
            <a:off x="-198863" y="1940167"/>
            <a:ext cx="3553798" cy="3553798"/>
          </a:xfrm>
          <a:custGeom>
            <a:avLst/>
            <a:gdLst>
              <a:gd name="connsiteX0" fmla="*/ 504152 w 3484926"/>
              <a:gd name="connsiteY0" fmla="*/ 516592 h 3484926"/>
              <a:gd name="connsiteX1" fmla="*/ 451511 w 3484926"/>
              <a:gd name="connsiteY1" fmla="*/ 575102 h 3484926"/>
              <a:gd name="connsiteX2" fmla="*/ 397895 w 3484926"/>
              <a:gd name="connsiteY2" fmla="*/ 634095 h 3484926"/>
              <a:gd name="connsiteX3" fmla="*/ 395230 w 3484926"/>
              <a:gd name="connsiteY3" fmla="*/ 637659 h 3484926"/>
              <a:gd name="connsiteX4" fmla="*/ 392316 w 3484926"/>
              <a:gd name="connsiteY4" fmla="*/ 640897 h 3484926"/>
              <a:gd name="connsiteX5" fmla="*/ 345904 w 3484926"/>
              <a:gd name="connsiteY5" fmla="*/ 703621 h 3484926"/>
              <a:gd name="connsiteX6" fmla="*/ 297586 w 3484926"/>
              <a:gd name="connsiteY6" fmla="*/ 768235 h 3484926"/>
              <a:gd name="connsiteX7" fmla="*/ 295262 w 3484926"/>
              <a:gd name="connsiteY7" fmla="*/ 772061 h 3484926"/>
              <a:gd name="connsiteX8" fmla="*/ 292686 w 3484926"/>
              <a:gd name="connsiteY8" fmla="*/ 775543 h 3484926"/>
              <a:gd name="connsiteX9" fmla="*/ 252508 w 3484926"/>
              <a:gd name="connsiteY9" fmla="*/ 842437 h 3484926"/>
              <a:gd name="connsiteX10" fmla="*/ 210307 w 3484926"/>
              <a:gd name="connsiteY10" fmla="*/ 911901 h 3484926"/>
              <a:gd name="connsiteX11" fmla="*/ 208367 w 3484926"/>
              <a:gd name="connsiteY11" fmla="*/ 915928 h 3484926"/>
              <a:gd name="connsiteX12" fmla="*/ 206133 w 3484926"/>
              <a:gd name="connsiteY12" fmla="*/ 919648 h 3484926"/>
              <a:gd name="connsiteX13" fmla="*/ 172240 w 3484926"/>
              <a:gd name="connsiteY13" fmla="*/ 990923 h 3484926"/>
              <a:gd name="connsiteX14" fmla="*/ 136932 w 3484926"/>
              <a:gd name="connsiteY14" fmla="*/ 1064218 h 3484926"/>
              <a:gd name="connsiteX15" fmla="*/ 135412 w 3484926"/>
              <a:gd name="connsiteY15" fmla="*/ 1068371 h 3484926"/>
              <a:gd name="connsiteX16" fmla="*/ 133529 w 3484926"/>
              <a:gd name="connsiteY16" fmla="*/ 1072332 h 3484926"/>
              <a:gd name="connsiteX17" fmla="*/ 106177 w 3484926"/>
              <a:gd name="connsiteY17" fmla="*/ 1148247 h 3484926"/>
              <a:gd name="connsiteX18" fmla="*/ 78339 w 3484926"/>
              <a:gd name="connsiteY18" fmla="*/ 1224308 h 3484926"/>
              <a:gd name="connsiteX19" fmla="*/ 77255 w 3484926"/>
              <a:gd name="connsiteY19" fmla="*/ 1228521 h 3484926"/>
              <a:gd name="connsiteX20" fmla="*/ 75744 w 3484926"/>
              <a:gd name="connsiteY20" fmla="*/ 1232716 h 3484926"/>
              <a:gd name="connsiteX21" fmla="*/ 55476 w 3484926"/>
              <a:gd name="connsiteY21" fmla="*/ 1313224 h 3484926"/>
              <a:gd name="connsiteX22" fmla="*/ 35402 w 3484926"/>
              <a:gd name="connsiteY22" fmla="*/ 1391296 h 3484926"/>
              <a:gd name="connsiteX23" fmla="*/ 34756 w 3484926"/>
              <a:gd name="connsiteY23" fmla="*/ 1395529 h 3484926"/>
              <a:gd name="connsiteX24" fmla="*/ 33651 w 3484926"/>
              <a:gd name="connsiteY24" fmla="*/ 1399919 h 3484926"/>
              <a:gd name="connsiteX25" fmla="*/ 21221 w 3484926"/>
              <a:gd name="connsiteY25" fmla="*/ 1484213 h 3484926"/>
              <a:gd name="connsiteX26" fmla="*/ 8997 w 3484926"/>
              <a:gd name="connsiteY26" fmla="*/ 1564306 h 3484926"/>
              <a:gd name="connsiteX27" fmla="*/ 8782 w 3484926"/>
              <a:gd name="connsiteY27" fmla="*/ 1568570 h 3484926"/>
              <a:gd name="connsiteX28" fmla="*/ 8120 w 3484926"/>
              <a:gd name="connsiteY28" fmla="*/ 1573060 h 3484926"/>
              <a:gd name="connsiteX29" fmla="*/ 4211 w 3484926"/>
              <a:gd name="connsiteY29" fmla="*/ 1659089 h 3484926"/>
              <a:gd name="connsiteX30" fmla="*/ 1 w 3484926"/>
              <a:gd name="connsiteY30" fmla="*/ 1742463 h 3484926"/>
              <a:gd name="connsiteX31" fmla="*/ 0 w 3484926"/>
              <a:gd name="connsiteY31" fmla="*/ 1742463 h 3484926"/>
              <a:gd name="connsiteX32" fmla="*/ 223 w 3484926"/>
              <a:gd name="connsiteY32" fmla="*/ 1746874 h 3484926"/>
              <a:gd name="connsiteX33" fmla="*/ 23 w 3484926"/>
              <a:gd name="connsiteY33" fmla="*/ 1751260 h 3484926"/>
              <a:gd name="connsiteX34" fmla="*/ 141201 w 3484926"/>
              <a:gd name="connsiteY34" fmla="*/ 3359976 h 3484926"/>
              <a:gd name="connsiteX35" fmla="*/ 1348872 w 3484926"/>
              <a:gd name="connsiteY35" fmla="*/ 3478618 h 3484926"/>
              <a:gd name="connsiteX36" fmla="*/ 1737855 w 3484926"/>
              <a:gd name="connsiteY36" fmla="*/ 3484693 h 3484926"/>
              <a:gd name="connsiteX37" fmla="*/ 1742463 w 3484926"/>
              <a:gd name="connsiteY37" fmla="*/ 3484926 h 3484926"/>
              <a:gd name="connsiteX38" fmla="*/ 1744894 w 3484926"/>
              <a:gd name="connsiteY38" fmla="*/ 3484803 h 3484926"/>
              <a:gd name="connsiteX39" fmla="*/ 1751261 w 3484926"/>
              <a:gd name="connsiteY39" fmla="*/ 3484903 h 3484926"/>
              <a:gd name="connsiteX40" fmla="*/ 1834407 w 3484926"/>
              <a:gd name="connsiteY40" fmla="*/ 3480283 h 3484926"/>
              <a:gd name="connsiteX41" fmla="*/ 1920620 w 3484926"/>
              <a:gd name="connsiteY41" fmla="*/ 3475930 h 3484926"/>
              <a:gd name="connsiteX42" fmla="*/ 1925116 w 3484926"/>
              <a:gd name="connsiteY42" fmla="*/ 3475243 h 3484926"/>
              <a:gd name="connsiteX43" fmla="*/ 1929370 w 3484926"/>
              <a:gd name="connsiteY43" fmla="*/ 3475007 h 3484926"/>
              <a:gd name="connsiteX44" fmla="*/ 2009216 w 3484926"/>
              <a:gd name="connsiteY44" fmla="*/ 3462409 h 3484926"/>
              <a:gd name="connsiteX45" fmla="*/ 2093630 w 3484926"/>
              <a:gd name="connsiteY45" fmla="*/ 3449525 h 3484926"/>
              <a:gd name="connsiteX46" fmla="*/ 2098023 w 3484926"/>
              <a:gd name="connsiteY46" fmla="*/ 3448395 h 3484926"/>
              <a:gd name="connsiteX47" fmla="*/ 2102245 w 3484926"/>
              <a:gd name="connsiteY47" fmla="*/ 3447730 h 3484926"/>
              <a:gd name="connsiteX48" fmla="*/ 2180053 w 3484926"/>
              <a:gd name="connsiteY48" fmla="*/ 3427304 h 3484926"/>
              <a:gd name="connsiteX49" fmla="*/ 2260618 w 3484926"/>
              <a:gd name="connsiteY49" fmla="*/ 3406588 h 3484926"/>
              <a:gd name="connsiteX50" fmla="*/ 2264814 w 3484926"/>
              <a:gd name="connsiteY50" fmla="*/ 3405053 h 3484926"/>
              <a:gd name="connsiteX51" fmla="*/ 2269014 w 3484926"/>
              <a:gd name="connsiteY51" fmla="*/ 3403950 h 3484926"/>
              <a:gd name="connsiteX52" fmla="*/ 2344802 w 3484926"/>
              <a:gd name="connsiteY52" fmla="*/ 3375777 h 3484926"/>
              <a:gd name="connsiteX53" fmla="*/ 2420708 w 3484926"/>
              <a:gd name="connsiteY53" fmla="*/ 3347994 h 3484926"/>
              <a:gd name="connsiteX54" fmla="*/ 2424667 w 3484926"/>
              <a:gd name="connsiteY54" fmla="*/ 3346088 h 3484926"/>
              <a:gd name="connsiteX55" fmla="*/ 2428806 w 3484926"/>
              <a:gd name="connsiteY55" fmla="*/ 3344549 h 3484926"/>
              <a:gd name="connsiteX56" fmla="*/ 2501823 w 3484926"/>
              <a:gd name="connsiteY56" fmla="*/ 3308919 h 3484926"/>
              <a:gd name="connsiteX57" fmla="*/ 2573024 w 3484926"/>
              <a:gd name="connsiteY57" fmla="*/ 3274620 h 3484926"/>
              <a:gd name="connsiteX58" fmla="*/ 2576738 w 3484926"/>
              <a:gd name="connsiteY58" fmla="*/ 3272364 h 3484926"/>
              <a:gd name="connsiteX59" fmla="*/ 2580750 w 3484926"/>
              <a:gd name="connsiteY59" fmla="*/ 3270406 h 3484926"/>
              <a:gd name="connsiteX60" fmla="*/ 2649936 w 3484926"/>
              <a:gd name="connsiteY60" fmla="*/ 3227895 h 3484926"/>
              <a:gd name="connsiteX61" fmla="*/ 2716690 w 3484926"/>
              <a:gd name="connsiteY61" fmla="*/ 3187341 h 3484926"/>
              <a:gd name="connsiteX62" fmla="*/ 2720161 w 3484926"/>
              <a:gd name="connsiteY62" fmla="*/ 3184745 h 3484926"/>
              <a:gd name="connsiteX63" fmla="*/ 2723974 w 3484926"/>
              <a:gd name="connsiteY63" fmla="*/ 3182403 h 3484926"/>
              <a:gd name="connsiteX64" fmla="*/ 2788307 w 3484926"/>
              <a:gd name="connsiteY64" fmla="*/ 3133787 h 3484926"/>
              <a:gd name="connsiteX65" fmla="*/ 2850831 w 3484926"/>
              <a:gd name="connsiteY65" fmla="*/ 3087032 h 3484926"/>
              <a:gd name="connsiteX66" fmla="*/ 2854057 w 3484926"/>
              <a:gd name="connsiteY66" fmla="*/ 3084101 h 3484926"/>
              <a:gd name="connsiteX67" fmla="*/ 2857606 w 3484926"/>
              <a:gd name="connsiteY67" fmla="*/ 3081418 h 3484926"/>
              <a:gd name="connsiteX68" fmla="*/ 2916317 w 3484926"/>
              <a:gd name="connsiteY68" fmla="*/ 3027515 h 3484926"/>
              <a:gd name="connsiteX69" fmla="*/ 2974570 w 3484926"/>
              <a:gd name="connsiteY69" fmla="*/ 2974571 h 3484926"/>
              <a:gd name="connsiteX70" fmla="*/ 2977532 w 3484926"/>
              <a:gd name="connsiteY70" fmla="*/ 2971312 h 3484926"/>
              <a:gd name="connsiteX71" fmla="*/ 2980776 w 3484926"/>
              <a:gd name="connsiteY71" fmla="*/ 2968333 h 3484926"/>
              <a:gd name="connsiteX72" fmla="*/ 3033426 w 3484926"/>
              <a:gd name="connsiteY72" fmla="*/ 2909813 h 3484926"/>
              <a:gd name="connsiteX73" fmla="*/ 3087032 w 3484926"/>
              <a:gd name="connsiteY73" fmla="*/ 2850831 h 3484926"/>
              <a:gd name="connsiteX74" fmla="*/ 3089697 w 3484926"/>
              <a:gd name="connsiteY74" fmla="*/ 2847268 h 3484926"/>
              <a:gd name="connsiteX75" fmla="*/ 3092612 w 3484926"/>
              <a:gd name="connsiteY75" fmla="*/ 2844028 h 3484926"/>
              <a:gd name="connsiteX76" fmla="*/ 3139050 w 3484926"/>
              <a:gd name="connsiteY76" fmla="*/ 2781269 h 3484926"/>
              <a:gd name="connsiteX77" fmla="*/ 3187341 w 3484926"/>
              <a:gd name="connsiteY77" fmla="*/ 2716691 h 3484926"/>
              <a:gd name="connsiteX78" fmla="*/ 3189664 w 3484926"/>
              <a:gd name="connsiteY78" fmla="*/ 2712866 h 3484926"/>
              <a:gd name="connsiteX79" fmla="*/ 3192242 w 3484926"/>
              <a:gd name="connsiteY79" fmla="*/ 2709382 h 3484926"/>
              <a:gd name="connsiteX80" fmla="*/ 3232458 w 3484926"/>
              <a:gd name="connsiteY80" fmla="*/ 2642424 h 3484926"/>
              <a:gd name="connsiteX81" fmla="*/ 3274620 w 3484926"/>
              <a:gd name="connsiteY81" fmla="*/ 2573024 h 3484926"/>
              <a:gd name="connsiteX82" fmla="*/ 3276558 w 3484926"/>
              <a:gd name="connsiteY82" fmla="*/ 2569003 h 3484926"/>
              <a:gd name="connsiteX83" fmla="*/ 3278795 w 3484926"/>
              <a:gd name="connsiteY83" fmla="*/ 2565277 h 3484926"/>
              <a:gd name="connsiteX84" fmla="*/ 3312734 w 3484926"/>
              <a:gd name="connsiteY84" fmla="*/ 2493904 h 3484926"/>
              <a:gd name="connsiteX85" fmla="*/ 3347994 w 3484926"/>
              <a:gd name="connsiteY85" fmla="*/ 2420708 h 3484926"/>
              <a:gd name="connsiteX86" fmla="*/ 3349512 w 3484926"/>
              <a:gd name="connsiteY86" fmla="*/ 2416561 h 3484926"/>
              <a:gd name="connsiteX87" fmla="*/ 3351399 w 3484926"/>
              <a:gd name="connsiteY87" fmla="*/ 2412593 h 3484926"/>
              <a:gd name="connsiteX88" fmla="*/ 3378798 w 3484926"/>
              <a:gd name="connsiteY88" fmla="*/ 2336548 h 3484926"/>
              <a:gd name="connsiteX89" fmla="*/ 3406588 w 3484926"/>
              <a:gd name="connsiteY89" fmla="*/ 2260618 h 3484926"/>
              <a:gd name="connsiteX90" fmla="*/ 3407670 w 3484926"/>
              <a:gd name="connsiteY90" fmla="*/ 2256412 h 3484926"/>
              <a:gd name="connsiteX91" fmla="*/ 3409184 w 3484926"/>
              <a:gd name="connsiteY91" fmla="*/ 2252209 h 3484926"/>
              <a:gd name="connsiteX92" fmla="*/ 3429493 w 3484926"/>
              <a:gd name="connsiteY92" fmla="*/ 2171540 h 3484926"/>
              <a:gd name="connsiteX93" fmla="*/ 3449525 w 3484926"/>
              <a:gd name="connsiteY93" fmla="*/ 2093630 h 3484926"/>
              <a:gd name="connsiteX94" fmla="*/ 3450170 w 3484926"/>
              <a:gd name="connsiteY94" fmla="*/ 2089405 h 3484926"/>
              <a:gd name="connsiteX95" fmla="*/ 3451277 w 3484926"/>
              <a:gd name="connsiteY95" fmla="*/ 2085006 h 3484926"/>
              <a:gd name="connsiteX96" fmla="*/ 3463734 w 3484926"/>
              <a:gd name="connsiteY96" fmla="*/ 2000528 h 3484926"/>
              <a:gd name="connsiteX97" fmla="*/ 3475930 w 3484926"/>
              <a:gd name="connsiteY97" fmla="*/ 1920619 h 3484926"/>
              <a:gd name="connsiteX98" fmla="*/ 3476144 w 3484926"/>
              <a:gd name="connsiteY98" fmla="*/ 1916365 h 3484926"/>
              <a:gd name="connsiteX99" fmla="*/ 3476808 w 3484926"/>
              <a:gd name="connsiteY99" fmla="*/ 1911865 h 3484926"/>
              <a:gd name="connsiteX100" fmla="*/ 3480726 w 3484926"/>
              <a:gd name="connsiteY100" fmla="*/ 1825631 h 3484926"/>
              <a:gd name="connsiteX101" fmla="*/ 3484926 w 3484926"/>
              <a:gd name="connsiteY101" fmla="*/ 1742463 h 3484926"/>
              <a:gd name="connsiteX102" fmla="*/ 3484794 w 3484926"/>
              <a:gd name="connsiteY102" fmla="*/ 1736096 h 3484926"/>
              <a:gd name="connsiteX103" fmla="*/ 3484905 w 3484926"/>
              <a:gd name="connsiteY103" fmla="*/ 1733665 h 3484926"/>
              <a:gd name="connsiteX104" fmla="*/ 3484649 w 3484926"/>
              <a:gd name="connsiteY104" fmla="*/ 1729058 h 3484926"/>
              <a:gd name="connsiteX105" fmla="*/ 3476610 w 3484926"/>
              <a:gd name="connsiteY105" fmla="*/ 1340111 h 3484926"/>
              <a:gd name="connsiteX106" fmla="*/ 3471209 w 3484926"/>
              <a:gd name="connsiteY106" fmla="*/ 1265447 h 3484926"/>
              <a:gd name="connsiteX107" fmla="*/ 2211895 w 3484926"/>
              <a:gd name="connsiteY107" fmla="*/ 12475 h 3484926"/>
              <a:gd name="connsiteX108" fmla="*/ 2144816 w 3484926"/>
              <a:gd name="connsiteY108" fmla="*/ 8316 h 3484926"/>
              <a:gd name="connsiteX109" fmla="*/ 1742464 w 3484926"/>
              <a:gd name="connsiteY109" fmla="*/ 0 h 3484926"/>
              <a:gd name="connsiteX110" fmla="*/ 1738079 w 3484926"/>
              <a:gd name="connsiteY110" fmla="*/ 222 h 3484926"/>
              <a:gd name="connsiteX111" fmla="*/ 1733667 w 3484926"/>
              <a:gd name="connsiteY111" fmla="*/ 21 h 3484926"/>
              <a:gd name="connsiteX112" fmla="*/ 1733667 w 3484926"/>
              <a:gd name="connsiteY112" fmla="*/ 22 h 3484926"/>
              <a:gd name="connsiteX113" fmla="*/ 1650316 w 3484926"/>
              <a:gd name="connsiteY113" fmla="*/ 4653 h 3484926"/>
              <a:gd name="connsiteX114" fmla="*/ 1564307 w 3484926"/>
              <a:gd name="connsiteY114" fmla="*/ 8996 h 3484926"/>
              <a:gd name="connsiteX115" fmla="*/ 1559821 w 3484926"/>
              <a:gd name="connsiteY115" fmla="*/ 9681 h 3484926"/>
              <a:gd name="connsiteX116" fmla="*/ 1555558 w 3484926"/>
              <a:gd name="connsiteY116" fmla="*/ 9918 h 3484926"/>
              <a:gd name="connsiteX117" fmla="*/ 1475527 w 3484926"/>
              <a:gd name="connsiteY117" fmla="*/ 22546 h 3484926"/>
              <a:gd name="connsiteX118" fmla="*/ 1391297 w 3484926"/>
              <a:gd name="connsiteY118" fmla="*/ 35401 h 3484926"/>
              <a:gd name="connsiteX119" fmla="*/ 1386913 w 3484926"/>
              <a:gd name="connsiteY119" fmla="*/ 36528 h 3484926"/>
              <a:gd name="connsiteX120" fmla="*/ 1382683 w 3484926"/>
              <a:gd name="connsiteY120" fmla="*/ 37196 h 3484926"/>
              <a:gd name="connsiteX121" fmla="*/ 1304713 w 3484926"/>
              <a:gd name="connsiteY121" fmla="*/ 57664 h 3484926"/>
              <a:gd name="connsiteX122" fmla="*/ 1224309 w 3484926"/>
              <a:gd name="connsiteY122" fmla="*/ 78338 h 3484926"/>
              <a:gd name="connsiteX123" fmla="*/ 1220121 w 3484926"/>
              <a:gd name="connsiteY123" fmla="*/ 79870 h 3484926"/>
              <a:gd name="connsiteX124" fmla="*/ 1215914 w 3484926"/>
              <a:gd name="connsiteY124" fmla="*/ 80975 h 3484926"/>
              <a:gd name="connsiteX125" fmla="*/ 1139995 w 3484926"/>
              <a:gd name="connsiteY125" fmla="*/ 109197 h 3484926"/>
              <a:gd name="connsiteX126" fmla="*/ 1064219 w 3484926"/>
              <a:gd name="connsiteY126" fmla="*/ 136931 h 3484926"/>
              <a:gd name="connsiteX127" fmla="*/ 1060267 w 3484926"/>
              <a:gd name="connsiteY127" fmla="*/ 138835 h 3484926"/>
              <a:gd name="connsiteX128" fmla="*/ 1056122 w 3484926"/>
              <a:gd name="connsiteY128" fmla="*/ 140376 h 3484926"/>
              <a:gd name="connsiteX129" fmla="*/ 983006 w 3484926"/>
              <a:gd name="connsiteY129" fmla="*/ 176053 h 3484926"/>
              <a:gd name="connsiteX130" fmla="*/ 911903 w 3484926"/>
              <a:gd name="connsiteY130" fmla="*/ 210306 h 3484926"/>
              <a:gd name="connsiteX131" fmla="*/ 908194 w 3484926"/>
              <a:gd name="connsiteY131" fmla="*/ 212559 h 3484926"/>
              <a:gd name="connsiteX132" fmla="*/ 904178 w 3484926"/>
              <a:gd name="connsiteY132" fmla="*/ 214519 h 3484926"/>
              <a:gd name="connsiteX133" fmla="*/ 834927 w 3484926"/>
              <a:gd name="connsiteY133" fmla="*/ 257070 h 3484926"/>
              <a:gd name="connsiteX134" fmla="*/ 768236 w 3484926"/>
              <a:gd name="connsiteY134" fmla="*/ 297585 h 3484926"/>
              <a:gd name="connsiteX135" fmla="*/ 764768 w 3484926"/>
              <a:gd name="connsiteY135" fmla="*/ 300179 h 3484926"/>
              <a:gd name="connsiteX136" fmla="*/ 760954 w 3484926"/>
              <a:gd name="connsiteY136" fmla="*/ 302522 h 3484926"/>
              <a:gd name="connsiteX137" fmla="*/ 696585 w 3484926"/>
              <a:gd name="connsiteY137" fmla="*/ 351165 h 3484926"/>
              <a:gd name="connsiteX138" fmla="*/ 634096 w 3484926"/>
              <a:gd name="connsiteY138" fmla="*/ 397894 h 3484926"/>
              <a:gd name="connsiteX139" fmla="*/ 630872 w 3484926"/>
              <a:gd name="connsiteY139" fmla="*/ 400824 h 3484926"/>
              <a:gd name="connsiteX140" fmla="*/ 627321 w 3484926"/>
              <a:gd name="connsiteY140" fmla="*/ 403507 h 3484926"/>
              <a:gd name="connsiteX141" fmla="*/ 568600 w 3484926"/>
              <a:gd name="connsiteY141" fmla="*/ 457420 h 3484926"/>
              <a:gd name="connsiteX142" fmla="*/ 510357 w 3484926"/>
              <a:gd name="connsiteY142" fmla="*/ 510356 h 3484926"/>
              <a:gd name="connsiteX143" fmla="*/ 507395 w 3484926"/>
              <a:gd name="connsiteY143" fmla="*/ 513614 h 348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3484926" h="3484926">
                <a:moveTo>
                  <a:pt x="504152" y="516592"/>
                </a:moveTo>
                <a:lnTo>
                  <a:pt x="451511" y="575102"/>
                </a:lnTo>
                <a:lnTo>
                  <a:pt x="397895" y="634095"/>
                </a:lnTo>
                <a:lnTo>
                  <a:pt x="395230" y="637659"/>
                </a:lnTo>
                <a:lnTo>
                  <a:pt x="392316" y="640897"/>
                </a:lnTo>
                <a:lnTo>
                  <a:pt x="345904" y="703621"/>
                </a:lnTo>
                <a:lnTo>
                  <a:pt x="297586" y="768235"/>
                </a:lnTo>
                <a:lnTo>
                  <a:pt x="295262" y="772061"/>
                </a:lnTo>
                <a:lnTo>
                  <a:pt x="292686" y="775543"/>
                </a:lnTo>
                <a:lnTo>
                  <a:pt x="252508" y="842437"/>
                </a:lnTo>
                <a:lnTo>
                  <a:pt x="210307" y="911901"/>
                </a:lnTo>
                <a:lnTo>
                  <a:pt x="208367" y="915928"/>
                </a:lnTo>
                <a:lnTo>
                  <a:pt x="206133" y="919648"/>
                </a:lnTo>
                <a:lnTo>
                  <a:pt x="172240" y="990923"/>
                </a:lnTo>
                <a:lnTo>
                  <a:pt x="136932" y="1064218"/>
                </a:lnTo>
                <a:lnTo>
                  <a:pt x="135412" y="1068371"/>
                </a:lnTo>
                <a:lnTo>
                  <a:pt x="133529" y="1072332"/>
                </a:lnTo>
                <a:lnTo>
                  <a:pt x="106177" y="1148247"/>
                </a:lnTo>
                <a:lnTo>
                  <a:pt x="78339" y="1224308"/>
                </a:lnTo>
                <a:lnTo>
                  <a:pt x="77255" y="1228521"/>
                </a:lnTo>
                <a:lnTo>
                  <a:pt x="75744" y="1232716"/>
                </a:lnTo>
                <a:lnTo>
                  <a:pt x="55476" y="1313224"/>
                </a:lnTo>
                <a:lnTo>
                  <a:pt x="35402" y="1391296"/>
                </a:lnTo>
                <a:lnTo>
                  <a:pt x="34756" y="1395529"/>
                </a:lnTo>
                <a:lnTo>
                  <a:pt x="33651" y="1399919"/>
                </a:lnTo>
                <a:lnTo>
                  <a:pt x="21221" y="1484213"/>
                </a:lnTo>
                <a:lnTo>
                  <a:pt x="8997" y="1564306"/>
                </a:lnTo>
                <a:lnTo>
                  <a:pt x="8782" y="1568570"/>
                </a:lnTo>
                <a:lnTo>
                  <a:pt x="8120" y="1573060"/>
                </a:lnTo>
                <a:lnTo>
                  <a:pt x="4211" y="1659089"/>
                </a:lnTo>
                <a:lnTo>
                  <a:pt x="1" y="1742463"/>
                </a:lnTo>
                <a:lnTo>
                  <a:pt x="0" y="1742463"/>
                </a:lnTo>
                <a:lnTo>
                  <a:pt x="223" y="1746874"/>
                </a:lnTo>
                <a:lnTo>
                  <a:pt x="23" y="1751260"/>
                </a:lnTo>
                <a:cubicBezTo>
                  <a:pt x="2732" y="2287722"/>
                  <a:pt x="49791" y="2823961"/>
                  <a:pt x="141201" y="3359976"/>
                </a:cubicBezTo>
                <a:cubicBezTo>
                  <a:pt x="543883" y="3424471"/>
                  <a:pt x="946441" y="3464018"/>
                  <a:pt x="1348872" y="3478618"/>
                </a:cubicBezTo>
                <a:lnTo>
                  <a:pt x="1737855" y="3484693"/>
                </a:lnTo>
                <a:lnTo>
                  <a:pt x="1742463" y="3484926"/>
                </a:lnTo>
                <a:lnTo>
                  <a:pt x="1744894" y="3484803"/>
                </a:lnTo>
                <a:lnTo>
                  <a:pt x="1751261" y="3484903"/>
                </a:lnTo>
                <a:lnTo>
                  <a:pt x="1834407" y="3480283"/>
                </a:lnTo>
                <a:lnTo>
                  <a:pt x="1920620" y="3475930"/>
                </a:lnTo>
                <a:lnTo>
                  <a:pt x="1925116" y="3475243"/>
                </a:lnTo>
                <a:lnTo>
                  <a:pt x="1929370" y="3475007"/>
                </a:lnTo>
                <a:lnTo>
                  <a:pt x="2009216" y="3462409"/>
                </a:lnTo>
                <a:lnTo>
                  <a:pt x="2093630" y="3449525"/>
                </a:lnTo>
                <a:lnTo>
                  <a:pt x="2098023" y="3448395"/>
                </a:lnTo>
                <a:lnTo>
                  <a:pt x="2102245" y="3447730"/>
                </a:lnTo>
                <a:lnTo>
                  <a:pt x="2180053" y="3427304"/>
                </a:lnTo>
                <a:lnTo>
                  <a:pt x="2260618" y="3406588"/>
                </a:lnTo>
                <a:lnTo>
                  <a:pt x="2264814" y="3405053"/>
                </a:lnTo>
                <a:lnTo>
                  <a:pt x="2269014" y="3403950"/>
                </a:lnTo>
                <a:lnTo>
                  <a:pt x="2344802" y="3375777"/>
                </a:lnTo>
                <a:lnTo>
                  <a:pt x="2420708" y="3347994"/>
                </a:lnTo>
                <a:lnTo>
                  <a:pt x="2424667" y="3346088"/>
                </a:lnTo>
                <a:lnTo>
                  <a:pt x="2428806" y="3344549"/>
                </a:lnTo>
                <a:lnTo>
                  <a:pt x="2501823" y="3308919"/>
                </a:lnTo>
                <a:lnTo>
                  <a:pt x="2573024" y="3274620"/>
                </a:lnTo>
                <a:lnTo>
                  <a:pt x="2576738" y="3272364"/>
                </a:lnTo>
                <a:lnTo>
                  <a:pt x="2580750" y="3270406"/>
                </a:lnTo>
                <a:lnTo>
                  <a:pt x="2649936" y="3227895"/>
                </a:lnTo>
                <a:lnTo>
                  <a:pt x="2716690" y="3187341"/>
                </a:lnTo>
                <a:lnTo>
                  <a:pt x="2720161" y="3184745"/>
                </a:lnTo>
                <a:lnTo>
                  <a:pt x="2723974" y="3182403"/>
                </a:lnTo>
                <a:lnTo>
                  <a:pt x="2788307" y="3133787"/>
                </a:lnTo>
                <a:lnTo>
                  <a:pt x="2850831" y="3087032"/>
                </a:lnTo>
                <a:lnTo>
                  <a:pt x="2854057" y="3084101"/>
                </a:lnTo>
                <a:lnTo>
                  <a:pt x="2857606" y="3081418"/>
                </a:lnTo>
                <a:lnTo>
                  <a:pt x="2916317" y="3027515"/>
                </a:lnTo>
                <a:lnTo>
                  <a:pt x="2974570" y="2974571"/>
                </a:lnTo>
                <a:lnTo>
                  <a:pt x="2977532" y="2971312"/>
                </a:lnTo>
                <a:lnTo>
                  <a:pt x="2980776" y="2968333"/>
                </a:lnTo>
                <a:lnTo>
                  <a:pt x="3033426" y="2909813"/>
                </a:lnTo>
                <a:lnTo>
                  <a:pt x="3087032" y="2850831"/>
                </a:lnTo>
                <a:lnTo>
                  <a:pt x="3089697" y="2847268"/>
                </a:lnTo>
                <a:lnTo>
                  <a:pt x="3092612" y="2844028"/>
                </a:lnTo>
                <a:lnTo>
                  <a:pt x="3139050" y="2781269"/>
                </a:lnTo>
                <a:lnTo>
                  <a:pt x="3187341" y="2716691"/>
                </a:lnTo>
                <a:lnTo>
                  <a:pt x="3189664" y="2712866"/>
                </a:lnTo>
                <a:lnTo>
                  <a:pt x="3192242" y="2709382"/>
                </a:lnTo>
                <a:lnTo>
                  <a:pt x="3232458" y="2642424"/>
                </a:lnTo>
                <a:lnTo>
                  <a:pt x="3274620" y="2573024"/>
                </a:lnTo>
                <a:lnTo>
                  <a:pt x="3276558" y="2569003"/>
                </a:lnTo>
                <a:lnTo>
                  <a:pt x="3278795" y="2565277"/>
                </a:lnTo>
                <a:lnTo>
                  <a:pt x="3312734" y="2493904"/>
                </a:lnTo>
                <a:lnTo>
                  <a:pt x="3347994" y="2420708"/>
                </a:lnTo>
                <a:lnTo>
                  <a:pt x="3349512" y="2416561"/>
                </a:lnTo>
                <a:lnTo>
                  <a:pt x="3351399" y="2412593"/>
                </a:lnTo>
                <a:lnTo>
                  <a:pt x="3378798" y="2336548"/>
                </a:lnTo>
                <a:lnTo>
                  <a:pt x="3406588" y="2260618"/>
                </a:lnTo>
                <a:lnTo>
                  <a:pt x="3407670" y="2256412"/>
                </a:lnTo>
                <a:lnTo>
                  <a:pt x="3409184" y="2252209"/>
                </a:lnTo>
                <a:lnTo>
                  <a:pt x="3429493" y="2171540"/>
                </a:lnTo>
                <a:lnTo>
                  <a:pt x="3449525" y="2093630"/>
                </a:lnTo>
                <a:lnTo>
                  <a:pt x="3450170" y="2089405"/>
                </a:lnTo>
                <a:lnTo>
                  <a:pt x="3451277" y="2085006"/>
                </a:lnTo>
                <a:lnTo>
                  <a:pt x="3463734" y="2000528"/>
                </a:lnTo>
                <a:lnTo>
                  <a:pt x="3475930" y="1920619"/>
                </a:lnTo>
                <a:lnTo>
                  <a:pt x="3476144" y="1916365"/>
                </a:lnTo>
                <a:lnTo>
                  <a:pt x="3476808" y="1911865"/>
                </a:lnTo>
                <a:lnTo>
                  <a:pt x="3480726" y="1825631"/>
                </a:lnTo>
                <a:lnTo>
                  <a:pt x="3484926" y="1742463"/>
                </a:lnTo>
                <a:lnTo>
                  <a:pt x="3484794" y="1736096"/>
                </a:lnTo>
                <a:lnTo>
                  <a:pt x="3484905" y="1733665"/>
                </a:lnTo>
                <a:lnTo>
                  <a:pt x="3484649" y="1729058"/>
                </a:lnTo>
                <a:lnTo>
                  <a:pt x="3476610" y="1340111"/>
                </a:lnTo>
                <a:lnTo>
                  <a:pt x="3471209" y="1265447"/>
                </a:lnTo>
                <a:lnTo>
                  <a:pt x="2211895" y="12475"/>
                </a:lnTo>
                <a:lnTo>
                  <a:pt x="2144816" y="8316"/>
                </a:lnTo>
                <a:cubicBezTo>
                  <a:pt x="2010699" y="2772"/>
                  <a:pt x="1876581" y="0"/>
                  <a:pt x="1742464" y="0"/>
                </a:cubicBezTo>
                <a:lnTo>
                  <a:pt x="1738079" y="222"/>
                </a:lnTo>
                <a:lnTo>
                  <a:pt x="1733667" y="21"/>
                </a:lnTo>
                <a:lnTo>
                  <a:pt x="1733667" y="22"/>
                </a:lnTo>
                <a:lnTo>
                  <a:pt x="1650316" y="4653"/>
                </a:lnTo>
                <a:lnTo>
                  <a:pt x="1564307" y="8996"/>
                </a:lnTo>
                <a:lnTo>
                  <a:pt x="1559821" y="9681"/>
                </a:lnTo>
                <a:lnTo>
                  <a:pt x="1555558" y="9918"/>
                </a:lnTo>
                <a:lnTo>
                  <a:pt x="1475527" y="22546"/>
                </a:lnTo>
                <a:lnTo>
                  <a:pt x="1391297" y="35401"/>
                </a:lnTo>
                <a:lnTo>
                  <a:pt x="1386913" y="36528"/>
                </a:lnTo>
                <a:lnTo>
                  <a:pt x="1382683" y="37196"/>
                </a:lnTo>
                <a:lnTo>
                  <a:pt x="1304713" y="57664"/>
                </a:lnTo>
                <a:lnTo>
                  <a:pt x="1224309" y="78338"/>
                </a:lnTo>
                <a:lnTo>
                  <a:pt x="1220121" y="79870"/>
                </a:lnTo>
                <a:lnTo>
                  <a:pt x="1215914" y="80975"/>
                </a:lnTo>
                <a:lnTo>
                  <a:pt x="1139995" y="109197"/>
                </a:lnTo>
                <a:lnTo>
                  <a:pt x="1064219" y="136931"/>
                </a:lnTo>
                <a:lnTo>
                  <a:pt x="1060267" y="138835"/>
                </a:lnTo>
                <a:lnTo>
                  <a:pt x="1056122" y="140376"/>
                </a:lnTo>
                <a:lnTo>
                  <a:pt x="983006" y="176053"/>
                </a:lnTo>
                <a:lnTo>
                  <a:pt x="911903" y="210306"/>
                </a:lnTo>
                <a:lnTo>
                  <a:pt x="908194" y="212559"/>
                </a:lnTo>
                <a:lnTo>
                  <a:pt x="904178" y="214519"/>
                </a:lnTo>
                <a:lnTo>
                  <a:pt x="834927" y="257070"/>
                </a:lnTo>
                <a:lnTo>
                  <a:pt x="768236" y="297585"/>
                </a:lnTo>
                <a:lnTo>
                  <a:pt x="764768" y="300179"/>
                </a:lnTo>
                <a:lnTo>
                  <a:pt x="760954" y="302522"/>
                </a:lnTo>
                <a:lnTo>
                  <a:pt x="696585" y="351165"/>
                </a:lnTo>
                <a:lnTo>
                  <a:pt x="634096" y="397894"/>
                </a:lnTo>
                <a:lnTo>
                  <a:pt x="630872" y="400824"/>
                </a:lnTo>
                <a:lnTo>
                  <a:pt x="627321" y="403507"/>
                </a:lnTo>
                <a:lnTo>
                  <a:pt x="568600" y="457420"/>
                </a:lnTo>
                <a:lnTo>
                  <a:pt x="510357" y="510356"/>
                </a:lnTo>
                <a:lnTo>
                  <a:pt x="507395" y="513614"/>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32" name="Freeform: Shape 231">
            <a:extLst>
              <a:ext uri="{FF2B5EF4-FFF2-40B4-BE49-F238E27FC236}">
                <a16:creationId xmlns:a16="http://schemas.microsoft.com/office/drawing/2014/main" id="{EF3A3114-FDEE-40D8-B657-F9A98909AA83}"/>
              </a:ext>
            </a:extLst>
          </p:cNvPr>
          <p:cNvSpPr/>
          <p:nvPr/>
        </p:nvSpPr>
        <p:spPr bwMode="auto">
          <a:xfrm rot="2708678">
            <a:off x="9081538" y="1940166"/>
            <a:ext cx="3553798" cy="3553798"/>
          </a:xfrm>
          <a:custGeom>
            <a:avLst/>
            <a:gdLst>
              <a:gd name="connsiteX0" fmla="*/ 504152 w 3484926"/>
              <a:gd name="connsiteY0" fmla="*/ 516592 h 3484926"/>
              <a:gd name="connsiteX1" fmla="*/ 451511 w 3484926"/>
              <a:gd name="connsiteY1" fmla="*/ 575102 h 3484926"/>
              <a:gd name="connsiteX2" fmla="*/ 397895 w 3484926"/>
              <a:gd name="connsiteY2" fmla="*/ 634095 h 3484926"/>
              <a:gd name="connsiteX3" fmla="*/ 395230 w 3484926"/>
              <a:gd name="connsiteY3" fmla="*/ 637659 h 3484926"/>
              <a:gd name="connsiteX4" fmla="*/ 392316 w 3484926"/>
              <a:gd name="connsiteY4" fmla="*/ 640897 h 3484926"/>
              <a:gd name="connsiteX5" fmla="*/ 345904 w 3484926"/>
              <a:gd name="connsiteY5" fmla="*/ 703621 h 3484926"/>
              <a:gd name="connsiteX6" fmla="*/ 297586 w 3484926"/>
              <a:gd name="connsiteY6" fmla="*/ 768235 h 3484926"/>
              <a:gd name="connsiteX7" fmla="*/ 295262 w 3484926"/>
              <a:gd name="connsiteY7" fmla="*/ 772061 h 3484926"/>
              <a:gd name="connsiteX8" fmla="*/ 292686 w 3484926"/>
              <a:gd name="connsiteY8" fmla="*/ 775543 h 3484926"/>
              <a:gd name="connsiteX9" fmla="*/ 252508 w 3484926"/>
              <a:gd name="connsiteY9" fmla="*/ 842437 h 3484926"/>
              <a:gd name="connsiteX10" fmla="*/ 210307 w 3484926"/>
              <a:gd name="connsiteY10" fmla="*/ 911901 h 3484926"/>
              <a:gd name="connsiteX11" fmla="*/ 208367 w 3484926"/>
              <a:gd name="connsiteY11" fmla="*/ 915928 h 3484926"/>
              <a:gd name="connsiteX12" fmla="*/ 206133 w 3484926"/>
              <a:gd name="connsiteY12" fmla="*/ 919648 h 3484926"/>
              <a:gd name="connsiteX13" fmla="*/ 172240 w 3484926"/>
              <a:gd name="connsiteY13" fmla="*/ 990923 h 3484926"/>
              <a:gd name="connsiteX14" fmla="*/ 136932 w 3484926"/>
              <a:gd name="connsiteY14" fmla="*/ 1064218 h 3484926"/>
              <a:gd name="connsiteX15" fmla="*/ 135412 w 3484926"/>
              <a:gd name="connsiteY15" fmla="*/ 1068371 h 3484926"/>
              <a:gd name="connsiteX16" fmla="*/ 133529 w 3484926"/>
              <a:gd name="connsiteY16" fmla="*/ 1072332 h 3484926"/>
              <a:gd name="connsiteX17" fmla="*/ 106177 w 3484926"/>
              <a:gd name="connsiteY17" fmla="*/ 1148247 h 3484926"/>
              <a:gd name="connsiteX18" fmla="*/ 78339 w 3484926"/>
              <a:gd name="connsiteY18" fmla="*/ 1224308 h 3484926"/>
              <a:gd name="connsiteX19" fmla="*/ 77255 w 3484926"/>
              <a:gd name="connsiteY19" fmla="*/ 1228521 h 3484926"/>
              <a:gd name="connsiteX20" fmla="*/ 75744 w 3484926"/>
              <a:gd name="connsiteY20" fmla="*/ 1232716 h 3484926"/>
              <a:gd name="connsiteX21" fmla="*/ 55476 w 3484926"/>
              <a:gd name="connsiteY21" fmla="*/ 1313224 h 3484926"/>
              <a:gd name="connsiteX22" fmla="*/ 35402 w 3484926"/>
              <a:gd name="connsiteY22" fmla="*/ 1391296 h 3484926"/>
              <a:gd name="connsiteX23" fmla="*/ 34756 w 3484926"/>
              <a:gd name="connsiteY23" fmla="*/ 1395529 h 3484926"/>
              <a:gd name="connsiteX24" fmla="*/ 33651 w 3484926"/>
              <a:gd name="connsiteY24" fmla="*/ 1399919 h 3484926"/>
              <a:gd name="connsiteX25" fmla="*/ 21221 w 3484926"/>
              <a:gd name="connsiteY25" fmla="*/ 1484213 h 3484926"/>
              <a:gd name="connsiteX26" fmla="*/ 8997 w 3484926"/>
              <a:gd name="connsiteY26" fmla="*/ 1564306 h 3484926"/>
              <a:gd name="connsiteX27" fmla="*/ 8782 w 3484926"/>
              <a:gd name="connsiteY27" fmla="*/ 1568570 h 3484926"/>
              <a:gd name="connsiteX28" fmla="*/ 8120 w 3484926"/>
              <a:gd name="connsiteY28" fmla="*/ 1573060 h 3484926"/>
              <a:gd name="connsiteX29" fmla="*/ 4211 w 3484926"/>
              <a:gd name="connsiteY29" fmla="*/ 1659089 h 3484926"/>
              <a:gd name="connsiteX30" fmla="*/ 1 w 3484926"/>
              <a:gd name="connsiteY30" fmla="*/ 1742463 h 3484926"/>
              <a:gd name="connsiteX31" fmla="*/ 0 w 3484926"/>
              <a:gd name="connsiteY31" fmla="*/ 1742463 h 3484926"/>
              <a:gd name="connsiteX32" fmla="*/ 223 w 3484926"/>
              <a:gd name="connsiteY32" fmla="*/ 1746874 h 3484926"/>
              <a:gd name="connsiteX33" fmla="*/ 23 w 3484926"/>
              <a:gd name="connsiteY33" fmla="*/ 1751260 h 3484926"/>
              <a:gd name="connsiteX34" fmla="*/ 141201 w 3484926"/>
              <a:gd name="connsiteY34" fmla="*/ 3359976 h 3484926"/>
              <a:gd name="connsiteX35" fmla="*/ 1348872 w 3484926"/>
              <a:gd name="connsiteY35" fmla="*/ 3478618 h 3484926"/>
              <a:gd name="connsiteX36" fmla="*/ 1737855 w 3484926"/>
              <a:gd name="connsiteY36" fmla="*/ 3484693 h 3484926"/>
              <a:gd name="connsiteX37" fmla="*/ 1742463 w 3484926"/>
              <a:gd name="connsiteY37" fmla="*/ 3484926 h 3484926"/>
              <a:gd name="connsiteX38" fmla="*/ 1744894 w 3484926"/>
              <a:gd name="connsiteY38" fmla="*/ 3484803 h 3484926"/>
              <a:gd name="connsiteX39" fmla="*/ 1751261 w 3484926"/>
              <a:gd name="connsiteY39" fmla="*/ 3484903 h 3484926"/>
              <a:gd name="connsiteX40" fmla="*/ 1834407 w 3484926"/>
              <a:gd name="connsiteY40" fmla="*/ 3480283 h 3484926"/>
              <a:gd name="connsiteX41" fmla="*/ 1920620 w 3484926"/>
              <a:gd name="connsiteY41" fmla="*/ 3475930 h 3484926"/>
              <a:gd name="connsiteX42" fmla="*/ 1925116 w 3484926"/>
              <a:gd name="connsiteY42" fmla="*/ 3475243 h 3484926"/>
              <a:gd name="connsiteX43" fmla="*/ 1929370 w 3484926"/>
              <a:gd name="connsiteY43" fmla="*/ 3475007 h 3484926"/>
              <a:gd name="connsiteX44" fmla="*/ 2009216 w 3484926"/>
              <a:gd name="connsiteY44" fmla="*/ 3462409 h 3484926"/>
              <a:gd name="connsiteX45" fmla="*/ 2093630 w 3484926"/>
              <a:gd name="connsiteY45" fmla="*/ 3449525 h 3484926"/>
              <a:gd name="connsiteX46" fmla="*/ 2098023 w 3484926"/>
              <a:gd name="connsiteY46" fmla="*/ 3448395 h 3484926"/>
              <a:gd name="connsiteX47" fmla="*/ 2102245 w 3484926"/>
              <a:gd name="connsiteY47" fmla="*/ 3447730 h 3484926"/>
              <a:gd name="connsiteX48" fmla="*/ 2180053 w 3484926"/>
              <a:gd name="connsiteY48" fmla="*/ 3427304 h 3484926"/>
              <a:gd name="connsiteX49" fmla="*/ 2260618 w 3484926"/>
              <a:gd name="connsiteY49" fmla="*/ 3406588 h 3484926"/>
              <a:gd name="connsiteX50" fmla="*/ 2264814 w 3484926"/>
              <a:gd name="connsiteY50" fmla="*/ 3405053 h 3484926"/>
              <a:gd name="connsiteX51" fmla="*/ 2269014 w 3484926"/>
              <a:gd name="connsiteY51" fmla="*/ 3403950 h 3484926"/>
              <a:gd name="connsiteX52" fmla="*/ 2344802 w 3484926"/>
              <a:gd name="connsiteY52" fmla="*/ 3375777 h 3484926"/>
              <a:gd name="connsiteX53" fmla="*/ 2420708 w 3484926"/>
              <a:gd name="connsiteY53" fmla="*/ 3347994 h 3484926"/>
              <a:gd name="connsiteX54" fmla="*/ 2424667 w 3484926"/>
              <a:gd name="connsiteY54" fmla="*/ 3346088 h 3484926"/>
              <a:gd name="connsiteX55" fmla="*/ 2428806 w 3484926"/>
              <a:gd name="connsiteY55" fmla="*/ 3344549 h 3484926"/>
              <a:gd name="connsiteX56" fmla="*/ 2501823 w 3484926"/>
              <a:gd name="connsiteY56" fmla="*/ 3308919 h 3484926"/>
              <a:gd name="connsiteX57" fmla="*/ 2573024 w 3484926"/>
              <a:gd name="connsiteY57" fmla="*/ 3274620 h 3484926"/>
              <a:gd name="connsiteX58" fmla="*/ 2576738 w 3484926"/>
              <a:gd name="connsiteY58" fmla="*/ 3272364 h 3484926"/>
              <a:gd name="connsiteX59" fmla="*/ 2580750 w 3484926"/>
              <a:gd name="connsiteY59" fmla="*/ 3270406 h 3484926"/>
              <a:gd name="connsiteX60" fmla="*/ 2649936 w 3484926"/>
              <a:gd name="connsiteY60" fmla="*/ 3227895 h 3484926"/>
              <a:gd name="connsiteX61" fmla="*/ 2716690 w 3484926"/>
              <a:gd name="connsiteY61" fmla="*/ 3187341 h 3484926"/>
              <a:gd name="connsiteX62" fmla="*/ 2720161 w 3484926"/>
              <a:gd name="connsiteY62" fmla="*/ 3184745 h 3484926"/>
              <a:gd name="connsiteX63" fmla="*/ 2723974 w 3484926"/>
              <a:gd name="connsiteY63" fmla="*/ 3182403 h 3484926"/>
              <a:gd name="connsiteX64" fmla="*/ 2788307 w 3484926"/>
              <a:gd name="connsiteY64" fmla="*/ 3133787 h 3484926"/>
              <a:gd name="connsiteX65" fmla="*/ 2850831 w 3484926"/>
              <a:gd name="connsiteY65" fmla="*/ 3087032 h 3484926"/>
              <a:gd name="connsiteX66" fmla="*/ 2854057 w 3484926"/>
              <a:gd name="connsiteY66" fmla="*/ 3084101 h 3484926"/>
              <a:gd name="connsiteX67" fmla="*/ 2857606 w 3484926"/>
              <a:gd name="connsiteY67" fmla="*/ 3081418 h 3484926"/>
              <a:gd name="connsiteX68" fmla="*/ 2916317 w 3484926"/>
              <a:gd name="connsiteY68" fmla="*/ 3027515 h 3484926"/>
              <a:gd name="connsiteX69" fmla="*/ 2974570 w 3484926"/>
              <a:gd name="connsiteY69" fmla="*/ 2974571 h 3484926"/>
              <a:gd name="connsiteX70" fmla="*/ 2977532 w 3484926"/>
              <a:gd name="connsiteY70" fmla="*/ 2971312 h 3484926"/>
              <a:gd name="connsiteX71" fmla="*/ 2980776 w 3484926"/>
              <a:gd name="connsiteY71" fmla="*/ 2968333 h 3484926"/>
              <a:gd name="connsiteX72" fmla="*/ 3033426 w 3484926"/>
              <a:gd name="connsiteY72" fmla="*/ 2909813 h 3484926"/>
              <a:gd name="connsiteX73" fmla="*/ 3087032 w 3484926"/>
              <a:gd name="connsiteY73" fmla="*/ 2850831 h 3484926"/>
              <a:gd name="connsiteX74" fmla="*/ 3089697 w 3484926"/>
              <a:gd name="connsiteY74" fmla="*/ 2847268 h 3484926"/>
              <a:gd name="connsiteX75" fmla="*/ 3092612 w 3484926"/>
              <a:gd name="connsiteY75" fmla="*/ 2844028 h 3484926"/>
              <a:gd name="connsiteX76" fmla="*/ 3139050 w 3484926"/>
              <a:gd name="connsiteY76" fmla="*/ 2781269 h 3484926"/>
              <a:gd name="connsiteX77" fmla="*/ 3187341 w 3484926"/>
              <a:gd name="connsiteY77" fmla="*/ 2716691 h 3484926"/>
              <a:gd name="connsiteX78" fmla="*/ 3189664 w 3484926"/>
              <a:gd name="connsiteY78" fmla="*/ 2712866 h 3484926"/>
              <a:gd name="connsiteX79" fmla="*/ 3192242 w 3484926"/>
              <a:gd name="connsiteY79" fmla="*/ 2709382 h 3484926"/>
              <a:gd name="connsiteX80" fmla="*/ 3232458 w 3484926"/>
              <a:gd name="connsiteY80" fmla="*/ 2642424 h 3484926"/>
              <a:gd name="connsiteX81" fmla="*/ 3274620 w 3484926"/>
              <a:gd name="connsiteY81" fmla="*/ 2573024 h 3484926"/>
              <a:gd name="connsiteX82" fmla="*/ 3276558 w 3484926"/>
              <a:gd name="connsiteY82" fmla="*/ 2569003 h 3484926"/>
              <a:gd name="connsiteX83" fmla="*/ 3278795 w 3484926"/>
              <a:gd name="connsiteY83" fmla="*/ 2565277 h 3484926"/>
              <a:gd name="connsiteX84" fmla="*/ 3312734 w 3484926"/>
              <a:gd name="connsiteY84" fmla="*/ 2493904 h 3484926"/>
              <a:gd name="connsiteX85" fmla="*/ 3347994 w 3484926"/>
              <a:gd name="connsiteY85" fmla="*/ 2420708 h 3484926"/>
              <a:gd name="connsiteX86" fmla="*/ 3349512 w 3484926"/>
              <a:gd name="connsiteY86" fmla="*/ 2416561 h 3484926"/>
              <a:gd name="connsiteX87" fmla="*/ 3351399 w 3484926"/>
              <a:gd name="connsiteY87" fmla="*/ 2412593 h 3484926"/>
              <a:gd name="connsiteX88" fmla="*/ 3378798 w 3484926"/>
              <a:gd name="connsiteY88" fmla="*/ 2336548 h 3484926"/>
              <a:gd name="connsiteX89" fmla="*/ 3406588 w 3484926"/>
              <a:gd name="connsiteY89" fmla="*/ 2260618 h 3484926"/>
              <a:gd name="connsiteX90" fmla="*/ 3407670 w 3484926"/>
              <a:gd name="connsiteY90" fmla="*/ 2256412 h 3484926"/>
              <a:gd name="connsiteX91" fmla="*/ 3409184 w 3484926"/>
              <a:gd name="connsiteY91" fmla="*/ 2252209 h 3484926"/>
              <a:gd name="connsiteX92" fmla="*/ 3429493 w 3484926"/>
              <a:gd name="connsiteY92" fmla="*/ 2171540 h 3484926"/>
              <a:gd name="connsiteX93" fmla="*/ 3449525 w 3484926"/>
              <a:gd name="connsiteY93" fmla="*/ 2093630 h 3484926"/>
              <a:gd name="connsiteX94" fmla="*/ 3450170 w 3484926"/>
              <a:gd name="connsiteY94" fmla="*/ 2089405 h 3484926"/>
              <a:gd name="connsiteX95" fmla="*/ 3451277 w 3484926"/>
              <a:gd name="connsiteY95" fmla="*/ 2085006 h 3484926"/>
              <a:gd name="connsiteX96" fmla="*/ 3463734 w 3484926"/>
              <a:gd name="connsiteY96" fmla="*/ 2000528 h 3484926"/>
              <a:gd name="connsiteX97" fmla="*/ 3475930 w 3484926"/>
              <a:gd name="connsiteY97" fmla="*/ 1920619 h 3484926"/>
              <a:gd name="connsiteX98" fmla="*/ 3476144 w 3484926"/>
              <a:gd name="connsiteY98" fmla="*/ 1916365 h 3484926"/>
              <a:gd name="connsiteX99" fmla="*/ 3476808 w 3484926"/>
              <a:gd name="connsiteY99" fmla="*/ 1911865 h 3484926"/>
              <a:gd name="connsiteX100" fmla="*/ 3480726 w 3484926"/>
              <a:gd name="connsiteY100" fmla="*/ 1825631 h 3484926"/>
              <a:gd name="connsiteX101" fmla="*/ 3484926 w 3484926"/>
              <a:gd name="connsiteY101" fmla="*/ 1742463 h 3484926"/>
              <a:gd name="connsiteX102" fmla="*/ 3484794 w 3484926"/>
              <a:gd name="connsiteY102" fmla="*/ 1736096 h 3484926"/>
              <a:gd name="connsiteX103" fmla="*/ 3484905 w 3484926"/>
              <a:gd name="connsiteY103" fmla="*/ 1733665 h 3484926"/>
              <a:gd name="connsiteX104" fmla="*/ 3484649 w 3484926"/>
              <a:gd name="connsiteY104" fmla="*/ 1729058 h 3484926"/>
              <a:gd name="connsiteX105" fmla="*/ 3476610 w 3484926"/>
              <a:gd name="connsiteY105" fmla="*/ 1340111 h 3484926"/>
              <a:gd name="connsiteX106" fmla="*/ 3471209 w 3484926"/>
              <a:gd name="connsiteY106" fmla="*/ 1265447 h 3484926"/>
              <a:gd name="connsiteX107" fmla="*/ 2211895 w 3484926"/>
              <a:gd name="connsiteY107" fmla="*/ 12475 h 3484926"/>
              <a:gd name="connsiteX108" fmla="*/ 2144816 w 3484926"/>
              <a:gd name="connsiteY108" fmla="*/ 8316 h 3484926"/>
              <a:gd name="connsiteX109" fmla="*/ 1742464 w 3484926"/>
              <a:gd name="connsiteY109" fmla="*/ 0 h 3484926"/>
              <a:gd name="connsiteX110" fmla="*/ 1738079 w 3484926"/>
              <a:gd name="connsiteY110" fmla="*/ 222 h 3484926"/>
              <a:gd name="connsiteX111" fmla="*/ 1733667 w 3484926"/>
              <a:gd name="connsiteY111" fmla="*/ 21 h 3484926"/>
              <a:gd name="connsiteX112" fmla="*/ 1733667 w 3484926"/>
              <a:gd name="connsiteY112" fmla="*/ 22 h 3484926"/>
              <a:gd name="connsiteX113" fmla="*/ 1650316 w 3484926"/>
              <a:gd name="connsiteY113" fmla="*/ 4653 h 3484926"/>
              <a:gd name="connsiteX114" fmla="*/ 1564307 w 3484926"/>
              <a:gd name="connsiteY114" fmla="*/ 8996 h 3484926"/>
              <a:gd name="connsiteX115" fmla="*/ 1559821 w 3484926"/>
              <a:gd name="connsiteY115" fmla="*/ 9681 h 3484926"/>
              <a:gd name="connsiteX116" fmla="*/ 1555558 w 3484926"/>
              <a:gd name="connsiteY116" fmla="*/ 9918 h 3484926"/>
              <a:gd name="connsiteX117" fmla="*/ 1475527 w 3484926"/>
              <a:gd name="connsiteY117" fmla="*/ 22546 h 3484926"/>
              <a:gd name="connsiteX118" fmla="*/ 1391297 w 3484926"/>
              <a:gd name="connsiteY118" fmla="*/ 35401 h 3484926"/>
              <a:gd name="connsiteX119" fmla="*/ 1386913 w 3484926"/>
              <a:gd name="connsiteY119" fmla="*/ 36528 h 3484926"/>
              <a:gd name="connsiteX120" fmla="*/ 1382683 w 3484926"/>
              <a:gd name="connsiteY120" fmla="*/ 37196 h 3484926"/>
              <a:gd name="connsiteX121" fmla="*/ 1304713 w 3484926"/>
              <a:gd name="connsiteY121" fmla="*/ 57664 h 3484926"/>
              <a:gd name="connsiteX122" fmla="*/ 1224309 w 3484926"/>
              <a:gd name="connsiteY122" fmla="*/ 78338 h 3484926"/>
              <a:gd name="connsiteX123" fmla="*/ 1220121 w 3484926"/>
              <a:gd name="connsiteY123" fmla="*/ 79870 h 3484926"/>
              <a:gd name="connsiteX124" fmla="*/ 1215914 w 3484926"/>
              <a:gd name="connsiteY124" fmla="*/ 80975 h 3484926"/>
              <a:gd name="connsiteX125" fmla="*/ 1139995 w 3484926"/>
              <a:gd name="connsiteY125" fmla="*/ 109197 h 3484926"/>
              <a:gd name="connsiteX126" fmla="*/ 1064219 w 3484926"/>
              <a:gd name="connsiteY126" fmla="*/ 136931 h 3484926"/>
              <a:gd name="connsiteX127" fmla="*/ 1060267 w 3484926"/>
              <a:gd name="connsiteY127" fmla="*/ 138835 h 3484926"/>
              <a:gd name="connsiteX128" fmla="*/ 1056122 w 3484926"/>
              <a:gd name="connsiteY128" fmla="*/ 140376 h 3484926"/>
              <a:gd name="connsiteX129" fmla="*/ 983006 w 3484926"/>
              <a:gd name="connsiteY129" fmla="*/ 176053 h 3484926"/>
              <a:gd name="connsiteX130" fmla="*/ 911903 w 3484926"/>
              <a:gd name="connsiteY130" fmla="*/ 210306 h 3484926"/>
              <a:gd name="connsiteX131" fmla="*/ 908194 w 3484926"/>
              <a:gd name="connsiteY131" fmla="*/ 212559 h 3484926"/>
              <a:gd name="connsiteX132" fmla="*/ 904178 w 3484926"/>
              <a:gd name="connsiteY132" fmla="*/ 214519 h 3484926"/>
              <a:gd name="connsiteX133" fmla="*/ 834927 w 3484926"/>
              <a:gd name="connsiteY133" fmla="*/ 257070 h 3484926"/>
              <a:gd name="connsiteX134" fmla="*/ 768236 w 3484926"/>
              <a:gd name="connsiteY134" fmla="*/ 297585 h 3484926"/>
              <a:gd name="connsiteX135" fmla="*/ 764768 w 3484926"/>
              <a:gd name="connsiteY135" fmla="*/ 300179 h 3484926"/>
              <a:gd name="connsiteX136" fmla="*/ 760954 w 3484926"/>
              <a:gd name="connsiteY136" fmla="*/ 302522 h 3484926"/>
              <a:gd name="connsiteX137" fmla="*/ 696585 w 3484926"/>
              <a:gd name="connsiteY137" fmla="*/ 351165 h 3484926"/>
              <a:gd name="connsiteX138" fmla="*/ 634096 w 3484926"/>
              <a:gd name="connsiteY138" fmla="*/ 397894 h 3484926"/>
              <a:gd name="connsiteX139" fmla="*/ 630872 w 3484926"/>
              <a:gd name="connsiteY139" fmla="*/ 400824 h 3484926"/>
              <a:gd name="connsiteX140" fmla="*/ 627321 w 3484926"/>
              <a:gd name="connsiteY140" fmla="*/ 403507 h 3484926"/>
              <a:gd name="connsiteX141" fmla="*/ 568600 w 3484926"/>
              <a:gd name="connsiteY141" fmla="*/ 457420 h 3484926"/>
              <a:gd name="connsiteX142" fmla="*/ 510357 w 3484926"/>
              <a:gd name="connsiteY142" fmla="*/ 510356 h 3484926"/>
              <a:gd name="connsiteX143" fmla="*/ 507395 w 3484926"/>
              <a:gd name="connsiteY143" fmla="*/ 513614 h 348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3484926" h="3484926">
                <a:moveTo>
                  <a:pt x="504152" y="516592"/>
                </a:moveTo>
                <a:lnTo>
                  <a:pt x="451511" y="575102"/>
                </a:lnTo>
                <a:lnTo>
                  <a:pt x="397895" y="634095"/>
                </a:lnTo>
                <a:lnTo>
                  <a:pt x="395230" y="637659"/>
                </a:lnTo>
                <a:lnTo>
                  <a:pt x="392316" y="640897"/>
                </a:lnTo>
                <a:lnTo>
                  <a:pt x="345904" y="703621"/>
                </a:lnTo>
                <a:lnTo>
                  <a:pt x="297586" y="768235"/>
                </a:lnTo>
                <a:lnTo>
                  <a:pt x="295262" y="772061"/>
                </a:lnTo>
                <a:lnTo>
                  <a:pt x="292686" y="775543"/>
                </a:lnTo>
                <a:lnTo>
                  <a:pt x="252508" y="842437"/>
                </a:lnTo>
                <a:lnTo>
                  <a:pt x="210307" y="911901"/>
                </a:lnTo>
                <a:lnTo>
                  <a:pt x="208367" y="915928"/>
                </a:lnTo>
                <a:lnTo>
                  <a:pt x="206133" y="919648"/>
                </a:lnTo>
                <a:lnTo>
                  <a:pt x="172240" y="990923"/>
                </a:lnTo>
                <a:lnTo>
                  <a:pt x="136932" y="1064218"/>
                </a:lnTo>
                <a:lnTo>
                  <a:pt x="135412" y="1068371"/>
                </a:lnTo>
                <a:lnTo>
                  <a:pt x="133529" y="1072332"/>
                </a:lnTo>
                <a:lnTo>
                  <a:pt x="106177" y="1148247"/>
                </a:lnTo>
                <a:lnTo>
                  <a:pt x="78339" y="1224308"/>
                </a:lnTo>
                <a:lnTo>
                  <a:pt x="77255" y="1228521"/>
                </a:lnTo>
                <a:lnTo>
                  <a:pt x="75744" y="1232716"/>
                </a:lnTo>
                <a:lnTo>
                  <a:pt x="55476" y="1313224"/>
                </a:lnTo>
                <a:lnTo>
                  <a:pt x="35402" y="1391296"/>
                </a:lnTo>
                <a:lnTo>
                  <a:pt x="34756" y="1395529"/>
                </a:lnTo>
                <a:lnTo>
                  <a:pt x="33651" y="1399919"/>
                </a:lnTo>
                <a:lnTo>
                  <a:pt x="21221" y="1484213"/>
                </a:lnTo>
                <a:lnTo>
                  <a:pt x="8997" y="1564306"/>
                </a:lnTo>
                <a:lnTo>
                  <a:pt x="8782" y="1568570"/>
                </a:lnTo>
                <a:lnTo>
                  <a:pt x="8120" y="1573060"/>
                </a:lnTo>
                <a:lnTo>
                  <a:pt x="4211" y="1659089"/>
                </a:lnTo>
                <a:lnTo>
                  <a:pt x="1" y="1742463"/>
                </a:lnTo>
                <a:lnTo>
                  <a:pt x="0" y="1742463"/>
                </a:lnTo>
                <a:lnTo>
                  <a:pt x="223" y="1746874"/>
                </a:lnTo>
                <a:lnTo>
                  <a:pt x="23" y="1751260"/>
                </a:lnTo>
                <a:cubicBezTo>
                  <a:pt x="2732" y="2287722"/>
                  <a:pt x="49791" y="2823961"/>
                  <a:pt x="141201" y="3359976"/>
                </a:cubicBezTo>
                <a:cubicBezTo>
                  <a:pt x="543883" y="3424471"/>
                  <a:pt x="946441" y="3464018"/>
                  <a:pt x="1348872" y="3478618"/>
                </a:cubicBezTo>
                <a:lnTo>
                  <a:pt x="1737855" y="3484693"/>
                </a:lnTo>
                <a:lnTo>
                  <a:pt x="1742463" y="3484926"/>
                </a:lnTo>
                <a:lnTo>
                  <a:pt x="1744894" y="3484803"/>
                </a:lnTo>
                <a:lnTo>
                  <a:pt x="1751261" y="3484903"/>
                </a:lnTo>
                <a:lnTo>
                  <a:pt x="1834407" y="3480283"/>
                </a:lnTo>
                <a:lnTo>
                  <a:pt x="1920620" y="3475930"/>
                </a:lnTo>
                <a:lnTo>
                  <a:pt x="1925116" y="3475243"/>
                </a:lnTo>
                <a:lnTo>
                  <a:pt x="1929370" y="3475007"/>
                </a:lnTo>
                <a:lnTo>
                  <a:pt x="2009216" y="3462409"/>
                </a:lnTo>
                <a:lnTo>
                  <a:pt x="2093630" y="3449525"/>
                </a:lnTo>
                <a:lnTo>
                  <a:pt x="2098023" y="3448395"/>
                </a:lnTo>
                <a:lnTo>
                  <a:pt x="2102245" y="3447730"/>
                </a:lnTo>
                <a:lnTo>
                  <a:pt x="2180053" y="3427304"/>
                </a:lnTo>
                <a:lnTo>
                  <a:pt x="2260618" y="3406588"/>
                </a:lnTo>
                <a:lnTo>
                  <a:pt x="2264814" y="3405053"/>
                </a:lnTo>
                <a:lnTo>
                  <a:pt x="2269014" y="3403950"/>
                </a:lnTo>
                <a:lnTo>
                  <a:pt x="2344802" y="3375777"/>
                </a:lnTo>
                <a:lnTo>
                  <a:pt x="2420708" y="3347994"/>
                </a:lnTo>
                <a:lnTo>
                  <a:pt x="2424667" y="3346088"/>
                </a:lnTo>
                <a:lnTo>
                  <a:pt x="2428806" y="3344549"/>
                </a:lnTo>
                <a:lnTo>
                  <a:pt x="2501823" y="3308919"/>
                </a:lnTo>
                <a:lnTo>
                  <a:pt x="2573024" y="3274620"/>
                </a:lnTo>
                <a:lnTo>
                  <a:pt x="2576738" y="3272364"/>
                </a:lnTo>
                <a:lnTo>
                  <a:pt x="2580750" y="3270406"/>
                </a:lnTo>
                <a:lnTo>
                  <a:pt x="2649936" y="3227895"/>
                </a:lnTo>
                <a:lnTo>
                  <a:pt x="2716690" y="3187341"/>
                </a:lnTo>
                <a:lnTo>
                  <a:pt x="2720161" y="3184745"/>
                </a:lnTo>
                <a:lnTo>
                  <a:pt x="2723974" y="3182403"/>
                </a:lnTo>
                <a:lnTo>
                  <a:pt x="2788307" y="3133787"/>
                </a:lnTo>
                <a:lnTo>
                  <a:pt x="2850831" y="3087032"/>
                </a:lnTo>
                <a:lnTo>
                  <a:pt x="2854057" y="3084101"/>
                </a:lnTo>
                <a:lnTo>
                  <a:pt x="2857606" y="3081418"/>
                </a:lnTo>
                <a:lnTo>
                  <a:pt x="2916317" y="3027515"/>
                </a:lnTo>
                <a:lnTo>
                  <a:pt x="2974570" y="2974571"/>
                </a:lnTo>
                <a:lnTo>
                  <a:pt x="2977532" y="2971312"/>
                </a:lnTo>
                <a:lnTo>
                  <a:pt x="2980776" y="2968333"/>
                </a:lnTo>
                <a:lnTo>
                  <a:pt x="3033426" y="2909813"/>
                </a:lnTo>
                <a:lnTo>
                  <a:pt x="3087032" y="2850831"/>
                </a:lnTo>
                <a:lnTo>
                  <a:pt x="3089697" y="2847268"/>
                </a:lnTo>
                <a:lnTo>
                  <a:pt x="3092612" y="2844028"/>
                </a:lnTo>
                <a:lnTo>
                  <a:pt x="3139050" y="2781269"/>
                </a:lnTo>
                <a:lnTo>
                  <a:pt x="3187341" y="2716691"/>
                </a:lnTo>
                <a:lnTo>
                  <a:pt x="3189664" y="2712866"/>
                </a:lnTo>
                <a:lnTo>
                  <a:pt x="3192242" y="2709382"/>
                </a:lnTo>
                <a:lnTo>
                  <a:pt x="3232458" y="2642424"/>
                </a:lnTo>
                <a:lnTo>
                  <a:pt x="3274620" y="2573024"/>
                </a:lnTo>
                <a:lnTo>
                  <a:pt x="3276558" y="2569003"/>
                </a:lnTo>
                <a:lnTo>
                  <a:pt x="3278795" y="2565277"/>
                </a:lnTo>
                <a:lnTo>
                  <a:pt x="3312734" y="2493904"/>
                </a:lnTo>
                <a:lnTo>
                  <a:pt x="3347994" y="2420708"/>
                </a:lnTo>
                <a:lnTo>
                  <a:pt x="3349512" y="2416561"/>
                </a:lnTo>
                <a:lnTo>
                  <a:pt x="3351399" y="2412593"/>
                </a:lnTo>
                <a:lnTo>
                  <a:pt x="3378798" y="2336548"/>
                </a:lnTo>
                <a:lnTo>
                  <a:pt x="3406588" y="2260618"/>
                </a:lnTo>
                <a:lnTo>
                  <a:pt x="3407670" y="2256412"/>
                </a:lnTo>
                <a:lnTo>
                  <a:pt x="3409184" y="2252209"/>
                </a:lnTo>
                <a:lnTo>
                  <a:pt x="3429493" y="2171540"/>
                </a:lnTo>
                <a:lnTo>
                  <a:pt x="3449525" y="2093630"/>
                </a:lnTo>
                <a:lnTo>
                  <a:pt x="3450170" y="2089405"/>
                </a:lnTo>
                <a:lnTo>
                  <a:pt x="3451277" y="2085006"/>
                </a:lnTo>
                <a:lnTo>
                  <a:pt x="3463734" y="2000528"/>
                </a:lnTo>
                <a:lnTo>
                  <a:pt x="3475930" y="1920619"/>
                </a:lnTo>
                <a:lnTo>
                  <a:pt x="3476144" y="1916365"/>
                </a:lnTo>
                <a:lnTo>
                  <a:pt x="3476808" y="1911865"/>
                </a:lnTo>
                <a:lnTo>
                  <a:pt x="3480726" y="1825631"/>
                </a:lnTo>
                <a:lnTo>
                  <a:pt x="3484926" y="1742463"/>
                </a:lnTo>
                <a:lnTo>
                  <a:pt x="3484794" y="1736096"/>
                </a:lnTo>
                <a:lnTo>
                  <a:pt x="3484905" y="1733665"/>
                </a:lnTo>
                <a:lnTo>
                  <a:pt x="3484649" y="1729058"/>
                </a:lnTo>
                <a:lnTo>
                  <a:pt x="3476610" y="1340111"/>
                </a:lnTo>
                <a:lnTo>
                  <a:pt x="3471209" y="1265447"/>
                </a:lnTo>
                <a:lnTo>
                  <a:pt x="2211895" y="12475"/>
                </a:lnTo>
                <a:lnTo>
                  <a:pt x="2144816" y="8316"/>
                </a:lnTo>
                <a:cubicBezTo>
                  <a:pt x="2010699" y="2772"/>
                  <a:pt x="1876581" y="0"/>
                  <a:pt x="1742464" y="0"/>
                </a:cubicBezTo>
                <a:lnTo>
                  <a:pt x="1738079" y="222"/>
                </a:lnTo>
                <a:lnTo>
                  <a:pt x="1733667" y="21"/>
                </a:lnTo>
                <a:lnTo>
                  <a:pt x="1733667" y="22"/>
                </a:lnTo>
                <a:lnTo>
                  <a:pt x="1650316" y="4653"/>
                </a:lnTo>
                <a:lnTo>
                  <a:pt x="1564307" y="8996"/>
                </a:lnTo>
                <a:lnTo>
                  <a:pt x="1559821" y="9681"/>
                </a:lnTo>
                <a:lnTo>
                  <a:pt x="1555558" y="9918"/>
                </a:lnTo>
                <a:lnTo>
                  <a:pt x="1475527" y="22546"/>
                </a:lnTo>
                <a:lnTo>
                  <a:pt x="1391297" y="35401"/>
                </a:lnTo>
                <a:lnTo>
                  <a:pt x="1386913" y="36528"/>
                </a:lnTo>
                <a:lnTo>
                  <a:pt x="1382683" y="37196"/>
                </a:lnTo>
                <a:lnTo>
                  <a:pt x="1304713" y="57664"/>
                </a:lnTo>
                <a:lnTo>
                  <a:pt x="1224309" y="78338"/>
                </a:lnTo>
                <a:lnTo>
                  <a:pt x="1220121" y="79870"/>
                </a:lnTo>
                <a:lnTo>
                  <a:pt x="1215914" y="80975"/>
                </a:lnTo>
                <a:lnTo>
                  <a:pt x="1139995" y="109197"/>
                </a:lnTo>
                <a:lnTo>
                  <a:pt x="1064219" y="136931"/>
                </a:lnTo>
                <a:lnTo>
                  <a:pt x="1060267" y="138835"/>
                </a:lnTo>
                <a:lnTo>
                  <a:pt x="1056122" y="140376"/>
                </a:lnTo>
                <a:lnTo>
                  <a:pt x="983006" y="176053"/>
                </a:lnTo>
                <a:lnTo>
                  <a:pt x="911903" y="210306"/>
                </a:lnTo>
                <a:lnTo>
                  <a:pt x="908194" y="212559"/>
                </a:lnTo>
                <a:lnTo>
                  <a:pt x="904178" y="214519"/>
                </a:lnTo>
                <a:lnTo>
                  <a:pt x="834927" y="257070"/>
                </a:lnTo>
                <a:lnTo>
                  <a:pt x="768236" y="297585"/>
                </a:lnTo>
                <a:lnTo>
                  <a:pt x="764768" y="300179"/>
                </a:lnTo>
                <a:lnTo>
                  <a:pt x="760954" y="302522"/>
                </a:lnTo>
                <a:lnTo>
                  <a:pt x="696585" y="351165"/>
                </a:lnTo>
                <a:lnTo>
                  <a:pt x="634096" y="397894"/>
                </a:lnTo>
                <a:lnTo>
                  <a:pt x="630872" y="400824"/>
                </a:lnTo>
                <a:lnTo>
                  <a:pt x="627321" y="403507"/>
                </a:lnTo>
                <a:lnTo>
                  <a:pt x="568600" y="457420"/>
                </a:lnTo>
                <a:lnTo>
                  <a:pt x="510357" y="510356"/>
                </a:lnTo>
                <a:lnTo>
                  <a:pt x="507395" y="513614"/>
                </a:lnTo>
                <a:close/>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94" name="TextBox 193">
            <a:extLst>
              <a:ext uri="{FF2B5EF4-FFF2-40B4-BE49-F238E27FC236}">
                <a16:creationId xmlns:a16="http://schemas.microsoft.com/office/drawing/2014/main" id="{FFB94DC4-5F74-4AAE-8936-32D3FA7FCB4C}"/>
              </a:ext>
            </a:extLst>
          </p:cNvPr>
          <p:cNvSpPr txBox="1"/>
          <p:nvPr/>
        </p:nvSpPr>
        <p:spPr>
          <a:xfrm>
            <a:off x="2853355" y="1210741"/>
            <a:ext cx="6729764" cy="509659"/>
          </a:xfrm>
          <a:prstGeom prst="rect">
            <a:avLst/>
          </a:prstGeom>
          <a:noFill/>
        </p:spPr>
        <p:txBody>
          <a:bodyPr wrap="square" lIns="182880" tIns="146241" rIns="182802" bIns="146241" rtlCol="0" anchor="ctr">
            <a:noAutofit/>
          </a:bodyPr>
          <a:lstStyle/>
          <a:p>
            <a:pPr algn="ctr" fontAlgn="base">
              <a:lnSpc>
                <a:spcPct val="90000"/>
              </a:lnSpc>
              <a:spcBef>
                <a:spcPts val="600"/>
              </a:spcBef>
              <a:spcAft>
                <a:spcPts val="600"/>
              </a:spcAft>
              <a:defRPr/>
            </a:pPr>
            <a:r>
              <a:rPr lang="en-US" sz="2800" kern="0">
                <a:gradFill>
                  <a:gsLst>
                    <a:gs pos="90196">
                      <a:schemeClr val="accent1"/>
                    </a:gs>
                    <a:gs pos="66667">
                      <a:schemeClr val="accent1"/>
                    </a:gs>
                  </a:gsLst>
                  <a:lin ang="0" scaled="1"/>
                </a:gradFill>
              </a:rPr>
              <a:t>Digital transformation</a:t>
            </a:r>
          </a:p>
        </p:txBody>
      </p:sp>
      <p:sp>
        <p:nvSpPr>
          <p:cNvPr id="396" name="Rectangle 395">
            <a:extLst>
              <a:ext uri="{FF2B5EF4-FFF2-40B4-BE49-F238E27FC236}">
                <a16:creationId xmlns:a16="http://schemas.microsoft.com/office/drawing/2014/main" id="{0608DD78-0812-4435-AB0D-A15CA55D1560}"/>
              </a:ext>
            </a:extLst>
          </p:cNvPr>
          <p:cNvSpPr/>
          <p:nvPr/>
        </p:nvSpPr>
        <p:spPr>
          <a:xfrm>
            <a:off x="5866238" y="4048411"/>
            <a:ext cx="719529" cy="111352"/>
          </a:xfrm>
          <a:prstGeom prst="rect">
            <a:avLst/>
          </a:prstGeom>
          <a:noFill/>
          <a:ln w="25400" cap="flat" cmpd="sng" algn="ctr">
            <a:noFill/>
            <a:prstDash val="solid"/>
          </a:ln>
          <a:effectLst/>
        </p:spPr>
        <p:txBody>
          <a:bodyPr rot="0" spcFirstLastPara="0" vertOverflow="overflow" horzOverflow="overflow" vert="horz" wrap="square" lIns="89629" tIns="89629" rIns="89629" bIns="89629" numCol="1" spcCol="0" rtlCol="0" fromWordArt="0" anchor="ctr" anchorCtr="0" forceAA="0" compatLnSpc="1">
            <a:prstTxWarp prst="textNoShape">
              <a:avLst/>
            </a:prstTxWarp>
            <a:noAutofit/>
          </a:bodyPr>
          <a:lstStyle/>
          <a:p>
            <a:pPr algn="ctr" defTabSz="896214">
              <a:defRPr/>
            </a:pPr>
            <a:r>
              <a:rPr lang="en-US" sz="900" kern="0">
                <a:gradFill>
                  <a:gsLst>
                    <a:gs pos="66667">
                      <a:schemeClr val="tx1"/>
                    </a:gs>
                    <a:gs pos="37000">
                      <a:schemeClr val="tx1"/>
                    </a:gs>
                  </a:gsLst>
                  <a:lin ang="0" scaled="1"/>
                </a:gradFill>
                <a:latin typeface="Segoe UI Semilight"/>
              </a:rPr>
              <a:t>Customer</a:t>
            </a:r>
          </a:p>
        </p:txBody>
      </p:sp>
      <p:grpSp>
        <p:nvGrpSpPr>
          <p:cNvPr id="4" name="Group 3">
            <a:extLst>
              <a:ext uri="{FF2B5EF4-FFF2-40B4-BE49-F238E27FC236}">
                <a16:creationId xmlns:a16="http://schemas.microsoft.com/office/drawing/2014/main" id="{C3BE24A4-83A1-47B2-B4CD-063BDF114458}"/>
              </a:ext>
            </a:extLst>
          </p:cNvPr>
          <p:cNvGrpSpPr/>
          <p:nvPr/>
        </p:nvGrpSpPr>
        <p:grpSpPr>
          <a:xfrm>
            <a:off x="4635417" y="3023698"/>
            <a:ext cx="870630" cy="552689"/>
            <a:chOff x="5774130" y="2234853"/>
            <a:chExt cx="870753" cy="552767"/>
          </a:xfrm>
        </p:grpSpPr>
        <p:grpSp>
          <p:nvGrpSpPr>
            <p:cNvPr id="200" name="Group 199">
              <a:extLst>
                <a:ext uri="{FF2B5EF4-FFF2-40B4-BE49-F238E27FC236}">
                  <a16:creationId xmlns:a16="http://schemas.microsoft.com/office/drawing/2014/main" id="{44795357-7191-4168-89DE-8A7E7B211E6E}"/>
                </a:ext>
              </a:extLst>
            </p:cNvPr>
            <p:cNvGrpSpPr/>
            <p:nvPr/>
          </p:nvGrpSpPr>
          <p:grpSpPr>
            <a:xfrm>
              <a:off x="5952314" y="2234853"/>
              <a:ext cx="509277" cy="393949"/>
              <a:chOff x="2330383" y="3132936"/>
              <a:chExt cx="571438" cy="442032"/>
            </a:xfrm>
            <a:solidFill>
              <a:schemeClr val="tx2"/>
            </a:solidFill>
          </p:grpSpPr>
          <p:sp>
            <p:nvSpPr>
              <p:cNvPr id="201" name="Freeform 512">
                <a:extLst>
                  <a:ext uri="{FF2B5EF4-FFF2-40B4-BE49-F238E27FC236}">
                    <a16:creationId xmlns:a16="http://schemas.microsoft.com/office/drawing/2014/main" id="{32CF73BC-1646-4AC4-A68D-665FDC843E68}"/>
                  </a:ext>
                </a:extLst>
              </p:cNvPr>
              <p:cNvSpPr>
                <a:spLocks/>
              </p:cNvSpPr>
              <p:nvPr/>
            </p:nvSpPr>
            <p:spPr bwMode="auto">
              <a:xfrm>
                <a:off x="2743472" y="3132936"/>
                <a:ext cx="158349" cy="377021"/>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grpFill/>
              <a:ln w="0">
                <a:noFill/>
                <a:prstDash val="solid"/>
                <a:round/>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02" name="Rectangle 513">
                <a:extLst>
                  <a:ext uri="{FF2B5EF4-FFF2-40B4-BE49-F238E27FC236}">
                    <a16:creationId xmlns:a16="http://schemas.microsoft.com/office/drawing/2014/main" id="{82600598-95C0-4218-8233-75672CCEBA42}"/>
                  </a:ext>
                </a:extLst>
              </p:cNvPr>
              <p:cNvSpPr>
                <a:spLocks noChangeArrowheads="1"/>
              </p:cNvSpPr>
              <p:nvPr/>
            </p:nvSpPr>
            <p:spPr bwMode="auto">
              <a:xfrm>
                <a:off x="2802424" y="3330358"/>
                <a:ext cx="99397" cy="111050"/>
              </a:xfrm>
              <a:prstGeom prst="rect">
                <a:avLst/>
              </a:prstGeom>
              <a:grpFill/>
              <a:ln w="0">
                <a:noFill/>
                <a:prstDash val="solid"/>
                <a:miter lim="800000"/>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03" name="Rectangle 514">
                <a:extLst>
                  <a:ext uri="{FF2B5EF4-FFF2-40B4-BE49-F238E27FC236}">
                    <a16:creationId xmlns:a16="http://schemas.microsoft.com/office/drawing/2014/main" id="{0EB69405-116E-495B-88C5-A2A9DBE10A4D}"/>
                  </a:ext>
                </a:extLst>
              </p:cNvPr>
              <p:cNvSpPr>
                <a:spLocks noChangeArrowheads="1"/>
              </p:cNvSpPr>
              <p:nvPr/>
            </p:nvSpPr>
            <p:spPr bwMode="auto">
              <a:xfrm>
                <a:off x="2802424" y="3193259"/>
                <a:ext cx="86372" cy="99397"/>
              </a:xfrm>
              <a:prstGeom prst="rect">
                <a:avLst/>
              </a:prstGeom>
              <a:grpFill/>
              <a:ln w="0">
                <a:noFill/>
                <a:prstDash val="solid"/>
                <a:miter lim="800000"/>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04" name="Freeform 517">
                <a:extLst>
                  <a:ext uri="{FF2B5EF4-FFF2-40B4-BE49-F238E27FC236}">
                    <a16:creationId xmlns:a16="http://schemas.microsoft.com/office/drawing/2014/main" id="{4790CCD6-644A-4BA7-8A83-8584A9CA6042}"/>
                  </a:ext>
                </a:extLst>
              </p:cNvPr>
              <p:cNvSpPr>
                <a:spLocks/>
              </p:cNvSpPr>
              <p:nvPr/>
            </p:nvSpPr>
            <p:spPr bwMode="auto">
              <a:xfrm>
                <a:off x="2454880" y="3137734"/>
                <a:ext cx="226898" cy="250890"/>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 name="connsiteX0" fmla="*/ 2080 w 10000"/>
                  <a:gd name="connsiteY0" fmla="*/ 0 h 10000"/>
                  <a:gd name="connsiteX1" fmla="*/ 5991 w 10000"/>
                  <a:gd name="connsiteY1" fmla="*/ 0 h 10000"/>
                  <a:gd name="connsiteX2" fmla="*/ 6066 w 10000"/>
                  <a:gd name="connsiteY2" fmla="*/ 7 h 10000"/>
                  <a:gd name="connsiteX3" fmla="*/ 6112 w 10000"/>
                  <a:gd name="connsiteY3" fmla="*/ 14 h 10000"/>
                  <a:gd name="connsiteX4" fmla="*/ 6172 w 10000"/>
                  <a:gd name="connsiteY4" fmla="*/ 27 h 10000"/>
                  <a:gd name="connsiteX5" fmla="*/ 6240 w 10000"/>
                  <a:gd name="connsiteY5" fmla="*/ 55 h 10000"/>
                  <a:gd name="connsiteX6" fmla="*/ 6277 w 10000"/>
                  <a:gd name="connsiteY6" fmla="*/ 68 h 10000"/>
                  <a:gd name="connsiteX7" fmla="*/ 6338 w 10000"/>
                  <a:gd name="connsiteY7" fmla="*/ 102 h 10000"/>
                  <a:gd name="connsiteX8" fmla="*/ 6390 w 10000"/>
                  <a:gd name="connsiteY8" fmla="*/ 130 h 10000"/>
                  <a:gd name="connsiteX9" fmla="*/ 6436 w 10000"/>
                  <a:gd name="connsiteY9" fmla="*/ 164 h 10000"/>
                  <a:gd name="connsiteX10" fmla="*/ 6496 w 10000"/>
                  <a:gd name="connsiteY10" fmla="*/ 205 h 10000"/>
                  <a:gd name="connsiteX11" fmla="*/ 6549 w 10000"/>
                  <a:gd name="connsiteY11" fmla="*/ 246 h 10000"/>
                  <a:gd name="connsiteX12" fmla="*/ 6609 w 10000"/>
                  <a:gd name="connsiteY12" fmla="*/ 301 h 10000"/>
                  <a:gd name="connsiteX13" fmla="*/ 6677 w 10000"/>
                  <a:gd name="connsiteY13" fmla="*/ 369 h 10000"/>
                  <a:gd name="connsiteX14" fmla="*/ 6714 w 10000"/>
                  <a:gd name="connsiteY14" fmla="*/ 417 h 10000"/>
                  <a:gd name="connsiteX15" fmla="*/ 6782 w 10000"/>
                  <a:gd name="connsiteY15" fmla="*/ 492 h 10000"/>
                  <a:gd name="connsiteX16" fmla="*/ 6858 w 10000"/>
                  <a:gd name="connsiteY16" fmla="*/ 587 h 10000"/>
                  <a:gd name="connsiteX17" fmla="*/ 6940 w 10000"/>
                  <a:gd name="connsiteY17" fmla="*/ 697 h 10000"/>
                  <a:gd name="connsiteX18" fmla="*/ 7031 w 10000"/>
                  <a:gd name="connsiteY18" fmla="*/ 840 h 10000"/>
                  <a:gd name="connsiteX19" fmla="*/ 7084 w 10000"/>
                  <a:gd name="connsiteY19" fmla="*/ 956 h 10000"/>
                  <a:gd name="connsiteX20" fmla="*/ 7121 w 10000"/>
                  <a:gd name="connsiteY20" fmla="*/ 1018 h 10000"/>
                  <a:gd name="connsiteX21" fmla="*/ 7151 w 10000"/>
                  <a:gd name="connsiteY21" fmla="*/ 1086 h 10000"/>
                  <a:gd name="connsiteX22" fmla="*/ 7182 w 10000"/>
                  <a:gd name="connsiteY22" fmla="*/ 1161 h 10000"/>
                  <a:gd name="connsiteX23" fmla="*/ 7212 w 10000"/>
                  <a:gd name="connsiteY23" fmla="*/ 1250 h 10000"/>
                  <a:gd name="connsiteX24" fmla="*/ 7287 w 10000"/>
                  <a:gd name="connsiteY24" fmla="*/ 1441 h 10000"/>
                  <a:gd name="connsiteX25" fmla="*/ 7332 w 10000"/>
                  <a:gd name="connsiteY25" fmla="*/ 1557 h 10000"/>
                  <a:gd name="connsiteX26" fmla="*/ 7378 w 10000"/>
                  <a:gd name="connsiteY26" fmla="*/ 1673 h 10000"/>
                  <a:gd name="connsiteX27" fmla="*/ 7423 w 10000"/>
                  <a:gd name="connsiteY27" fmla="*/ 1796 h 10000"/>
                  <a:gd name="connsiteX28" fmla="*/ 7468 w 10000"/>
                  <a:gd name="connsiteY28" fmla="*/ 1933 h 10000"/>
                  <a:gd name="connsiteX29" fmla="*/ 7558 w 10000"/>
                  <a:gd name="connsiteY29" fmla="*/ 2220 h 10000"/>
                  <a:gd name="connsiteX30" fmla="*/ 7581 w 10000"/>
                  <a:gd name="connsiteY30" fmla="*/ 2281 h 10000"/>
                  <a:gd name="connsiteX31" fmla="*/ 7679 w 10000"/>
                  <a:gd name="connsiteY31" fmla="*/ 2589 h 10000"/>
                  <a:gd name="connsiteX32" fmla="*/ 7792 w 10000"/>
                  <a:gd name="connsiteY32" fmla="*/ 2910 h 10000"/>
                  <a:gd name="connsiteX33" fmla="*/ 7905 w 10000"/>
                  <a:gd name="connsiteY33" fmla="*/ 3258 h 10000"/>
                  <a:gd name="connsiteX34" fmla="*/ 8018 w 10000"/>
                  <a:gd name="connsiteY34" fmla="*/ 3613 h 10000"/>
                  <a:gd name="connsiteX35" fmla="*/ 8139 w 10000"/>
                  <a:gd name="connsiteY35" fmla="*/ 3989 h 10000"/>
                  <a:gd name="connsiteX36" fmla="*/ 8259 w 10000"/>
                  <a:gd name="connsiteY36" fmla="*/ 4365 h 10000"/>
                  <a:gd name="connsiteX37" fmla="*/ 8380 w 10000"/>
                  <a:gd name="connsiteY37" fmla="*/ 4754 h 10000"/>
                  <a:gd name="connsiteX38" fmla="*/ 8749 w 10000"/>
                  <a:gd name="connsiteY38" fmla="*/ 5922 h 10000"/>
                  <a:gd name="connsiteX39" fmla="*/ 8862 w 10000"/>
                  <a:gd name="connsiteY39" fmla="*/ 6305 h 10000"/>
                  <a:gd name="connsiteX40" fmla="*/ 8975 w 10000"/>
                  <a:gd name="connsiteY40" fmla="*/ 6680 h 10000"/>
                  <a:gd name="connsiteX41" fmla="*/ 9096 w 10000"/>
                  <a:gd name="connsiteY41" fmla="*/ 7056 h 10000"/>
                  <a:gd name="connsiteX42" fmla="*/ 9201 w 10000"/>
                  <a:gd name="connsiteY42" fmla="*/ 7404 h 10000"/>
                  <a:gd name="connsiteX43" fmla="*/ 9299 w 10000"/>
                  <a:gd name="connsiteY43" fmla="*/ 7739 h 10000"/>
                  <a:gd name="connsiteX44" fmla="*/ 9397 w 10000"/>
                  <a:gd name="connsiteY44" fmla="*/ 8060 h 10000"/>
                  <a:gd name="connsiteX45" fmla="*/ 9495 w 10000"/>
                  <a:gd name="connsiteY45" fmla="*/ 8354 h 10000"/>
                  <a:gd name="connsiteX46" fmla="*/ 9570 w 10000"/>
                  <a:gd name="connsiteY46" fmla="*/ 8620 h 10000"/>
                  <a:gd name="connsiteX47" fmla="*/ 9608 w 10000"/>
                  <a:gd name="connsiteY47" fmla="*/ 8750 h 10000"/>
                  <a:gd name="connsiteX48" fmla="*/ 9646 w 10000"/>
                  <a:gd name="connsiteY48" fmla="*/ 8866 h 10000"/>
                  <a:gd name="connsiteX49" fmla="*/ 9676 w 10000"/>
                  <a:gd name="connsiteY49" fmla="*/ 8982 h 10000"/>
                  <a:gd name="connsiteX50" fmla="*/ 9706 w 10000"/>
                  <a:gd name="connsiteY50" fmla="*/ 9085 h 10000"/>
                  <a:gd name="connsiteX51" fmla="*/ 9736 w 10000"/>
                  <a:gd name="connsiteY51" fmla="*/ 9180 h 10000"/>
                  <a:gd name="connsiteX52" fmla="*/ 9766 w 10000"/>
                  <a:gd name="connsiteY52" fmla="*/ 9262 h 10000"/>
                  <a:gd name="connsiteX53" fmla="*/ 9789 w 10000"/>
                  <a:gd name="connsiteY53" fmla="*/ 9344 h 10000"/>
                  <a:gd name="connsiteX54" fmla="*/ 9804 w 10000"/>
                  <a:gd name="connsiteY54" fmla="*/ 9413 h 10000"/>
                  <a:gd name="connsiteX55" fmla="*/ 9827 w 10000"/>
                  <a:gd name="connsiteY55" fmla="*/ 9474 h 10000"/>
                  <a:gd name="connsiteX56" fmla="*/ 9849 w 10000"/>
                  <a:gd name="connsiteY56" fmla="*/ 9522 h 10000"/>
                  <a:gd name="connsiteX57" fmla="*/ 9857 w 10000"/>
                  <a:gd name="connsiteY57" fmla="*/ 9556 h 10000"/>
                  <a:gd name="connsiteX58" fmla="*/ 9864 w 10000"/>
                  <a:gd name="connsiteY58" fmla="*/ 9583 h 10000"/>
                  <a:gd name="connsiteX59" fmla="*/ 10000 w 10000"/>
                  <a:gd name="connsiteY59" fmla="*/ 10000 h 10000"/>
                  <a:gd name="connsiteX60" fmla="*/ 2434 w 10000"/>
                  <a:gd name="connsiteY60" fmla="*/ 10000 h 10000"/>
                  <a:gd name="connsiteX61" fmla="*/ 3569 w 10000"/>
                  <a:gd name="connsiteY61" fmla="*/ 9358 h 10000"/>
                  <a:gd name="connsiteX62" fmla="*/ 9066 w 10000"/>
                  <a:gd name="connsiteY62" fmla="*/ 9358 h 10000"/>
                  <a:gd name="connsiteX63" fmla="*/ 9050 w 10000"/>
                  <a:gd name="connsiteY63" fmla="*/ 9317 h 10000"/>
                  <a:gd name="connsiteX64" fmla="*/ 9020 w 10000"/>
                  <a:gd name="connsiteY64" fmla="*/ 9214 h 10000"/>
                  <a:gd name="connsiteX65" fmla="*/ 8983 w 10000"/>
                  <a:gd name="connsiteY65" fmla="*/ 9112 h 10000"/>
                  <a:gd name="connsiteX66" fmla="*/ 8953 w 10000"/>
                  <a:gd name="connsiteY66" fmla="*/ 9003 h 10000"/>
                  <a:gd name="connsiteX67" fmla="*/ 8915 w 10000"/>
                  <a:gd name="connsiteY67" fmla="*/ 8880 h 10000"/>
                  <a:gd name="connsiteX68" fmla="*/ 8877 w 10000"/>
                  <a:gd name="connsiteY68" fmla="*/ 8757 h 10000"/>
                  <a:gd name="connsiteX69" fmla="*/ 8802 w 10000"/>
                  <a:gd name="connsiteY69" fmla="*/ 8484 h 10000"/>
                  <a:gd name="connsiteX70" fmla="*/ 8711 w 10000"/>
                  <a:gd name="connsiteY70" fmla="*/ 8190 h 10000"/>
                  <a:gd name="connsiteX71" fmla="*/ 8613 w 10000"/>
                  <a:gd name="connsiteY71" fmla="*/ 7869 h 10000"/>
                  <a:gd name="connsiteX72" fmla="*/ 8508 w 10000"/>
                  <a:gd name="connsiteY72" fmla="*/ 7534 h 10000"/>
                  <a:gd name="connsiteX73" fmla="*/ 8402 w 10000"/>
                  <a:gd name="connsiteY73" fmla="*/ 7186 h 10000"/>
                  <a:gd name="connsiteX74" fmla="*/ 8289 w 10000"/>
                  <a:gd name="connsiteY74" fmla="*/ 6817 h 10000"/>
                  <a:gd name="connsiteX75" fmla="*/ 8176 w 10000"/>
                  <a:gd name="connsiteY75" fmla="*/ 6441 h 10000"/>
                  <a:gd name="connsiteX76" fmla="*/ 8056 w 10000"/>
                  <a:gd name="connsiteY76" fmla="*/ 6059 h 10000"/>
                  <a:gd name="connsiteX77" fmla="*/ 7687 w 10000"/>
                  <a:gd name="connsiteY77" fmla="*/ 4884 h 10000"/>
                  <a:gd name="connsiteX78" fmla="*/ 7566 w 10000"/>
                  <a:gd name="connsiteY78" fmla="*/ 4501 h 10000"/>
                  <a:gd name="connsiteX79" fmla="*/ 7453 w 10000"/>
                  <a:gd name="connsiteY79" fmla="*/ 4126 h 10000"/>
                  <a:gd name="connsiteX80" fmla="*/ 7332 w 10000"/>
                  <a:gd name="connsiteY80" fmla="*/ 3743 h 10000"/>
                  <a:gd name="connsiteX81" fmla="*/ 7212 w 10000"/>
                  <a:gd name="connsiteY81" fmla="*/ 3388 h 10000"/>
                  <a:gd name="connsiteX82" fmla="*/ 7099 w 10000"/>
                  <a:gd name="connsiteY82" fmla="*/ 3040 h 10000"/>
                  <a:gd name="connsiteX83" fmla="*/ 6993 w 10000"/>
                  <a:gd name="connsiteY83" fmla="*/ 2719 h 10000"/>
                  <a:gd name="connsiteX84" fmla="*/ 6910 w 10000"/>
                  <a:gd name="connsiteY84" fmla="*/ 2466 h 10000"/>
                  <a:gd name="connsiteX85" fmla="*/ 6910 w 10000"/>
                  <a:gd name="connsiteY85" fmla="*/ 2466 h 10000"/>
                  <a:gd name="connsiteX86" fmla="*/ 6812 w 10000"/>
                  <a:gd name="connsiteY86" fmla="*/ 2186 h 10000"/>
                  <a:gd name="connsiteX87" fmla="*/ 6767 w 10000"/>
                  <a:gd name="connsiteY87" fmla="*/ 2049 h 10000"/>
                  <a:gd name="connsiteX88" fmla="*/ 6722 w 10000"/>
                  <a:gd name="connsiteY88" fmla="*/ 1926 h 10000"/>
                  <a:gd name="connsiteX89" fmla="*/ 6677 w 10000"/>
                  <a:gd name="connsiteY89" fmla="*/ 1803 h 10000"/>
                  <a:gd name="connsiteX90" fmla="*/ 6639 w 10000"/>
                  <a:gd name="connsiteY90" fmla="*/ 1694 h 10000"/>
                  <a:gd name="connsiteX91" fmla="*/ 6564 w 10000"/>
                  <a:gd name="connsiteY91" fmla="*/ 1496 h 10000"/>
                  <a:gd name="connsiteX92" fmla="*/ 6534 w 10000"/>
                  <a:gd name="connsiteY92" fmla="*/ 1414 h 10000"/>
                  <a:gd name="connsiteX93" fmla="*/ 6503 w 10000"/>
                  <a:gd name="connsiteY93" fmla="*/ 1339 h 10000"/>
                  <a:gd name="connsiteX94" fmla="*/ 6473 w 10000"/>
                  <a:gd name="connsiteY94" fmla="*/ 1270 h 10000"/>
                  <a:gd name="connsiteX95" fmla="*/ 6436 w 10000"/>
                  <a:gd name="connsiteY95" fmla="*/ 1209 h 10000"/>
                  <a:gd name="connsiteX96" fmla="*/ 6413 w 10000"/>
                  <a:gd name="connsiteY96" fmla="*/ 1161 h 10000"/>
                  <a:gd name="connsiteX97" fmla="*/ 6420 w 10000"/>
                  <a:gd name="connsiteY97" fmla="*/ 1161 h 10000"/>
                  <a:gd name="connsiteX98" fmla="*/ 6413 w 10000"/>
                  <a:gd name="connsiteY98" fmla="*/ 1148 h 10000"/>
                  <a:gd name="connsiteX99" fmla="*/ 6353 w 10000"/>
                  <a:gd name="connsiteY99" fmla="*/ 1052 h 10000"/>
                  <a:gd name="connsiteX100" fmla="*/ 6277 w 10000"/>
                  <a:gd name="connsiteY100" fmla="*/ 943 h 10000"/>
                  <a:gd name="connsiteX101" fmla="*/ 6202 w 10000"/>
                  <a:gd name="connsiteY101" fmla="*/ 854 h 10000"/>
                  <a:gd name="connsiteX102" fmla="*/ 6157 w 10000"/>
                  <a:gd name="connsiteY102" fmla="*/ 799 h 10000"/>
                  <a:gd name="connsiteX103" fmla="*/ 6112 w 10000"/>
                  <a:gd name="connsiteY103" fmla="*/ 751 h 10000"/>
                  <a:gd name="connsiteX104" fmla="*/ 6051 w 10000"/>
                  <a:gd name="connsiteY104" fmla="*/ 697 h 10000"/>
                  <a:gd name="connsiteX105" fmla="*/ 6044 w 10000"/>
                  <a:gd name="connsiteY105" fmla="*/ 690 h 10000"/>
                  <a:gd name="connsiteX106" fmla="*/ 6044 w 10000"/>
                  <a:gd name="connsiteY106" fmla="*/ 697 h 10000"/>
                  <a:gd name="connsiteX107" fmla="*/ 5991 w 10000"/>
                  <a:gd name="connsiteY107" fmla="*/ 663 h 10000"/>
                  <a:gd name="connsiteX108" fmla="*/ 5976 w 10000"/>
                  <a:gd name="connsiteY108" fmla="*/ 656 h 10000"/>
                  <a:gd name="connsiteX109" fmla="*/ 5961 w 10000"/>
                  <a:gd name="connsiteY109" fmla="*/ 649 h 10000"/>
                  <a:gd name="connsiteX110" fmla="*/ 5946 w 10000"/>
                  <a:gd name="connsiteY110" fmla="*/ 642 h 10000"/>
                  <a:gd name="connsiteX111" fmla="*/ 2080 w 10000"/>
                  <a:gd name="connsiteY111" fmla="*/ 642 h 10000"/>
                  <a:gd name="connsiteX112" fmla="*/ 1899 w 10000"/>
                  <a:gd name="connsiteY112" fmla="*/ 649 h 10000"/>
                  <a:gd name="connsiteX113" fmla="*/ 1756 w 10000"/>
                  <a:gd name="connsiteY113" fmla="*/ 656 h 10000"/>
                  <a:gd name="connsiteX114" fmla="*/ 1643 w 10000"/>
                  <a:gd name="connsiteY114" fmla="*/ 669 h 10000"/>
                  <a:gd name="connsiteX115" fmla="*/ 1500 w 10000"/>
                  <a:gd name="connsiteY115" fmla="*/ 690 h 10000"/>
                  <a:gd name="connsiteX116" fmla="*/ 1417 w 10000"/>
                  <a:gd name="connsiteY116" fmla="*/ 704 h 10000"/>
                  <a:gd name="connsiteX117" fmla="*/ 1304 w 10000"/>
                  <a:gd name="connsiteY117" fmla="*/ 738 h 10000"/>
                  <a:gd name="connsiteX118" fmla="*/ 1198 w 10000"/>
                  <a:gd name="connsiteY118" fmla="*/ 772 h 10000"/>
                  <a:gd name="connsiteX119" fmla="*/ 1123 w 10000"/>
                  <a:gd name="connsiteY119" fmla="*/ 813 h 10000"/>
                  <a:gd name="connsiteX120" fmla="*/ 1070 w 10000"/>
                  <a:gd name="connsiteY120" fmla="*/ 840 h 10000"/>
                  <a:gd name="connsiteX121" fmla="*/ 1017 w 10000"/>
                  <a:gd name="connsiteY121" fmla="*/ 881 h 10000"/>
                  <a:gd name="connsiteX122" fmla="*/ 957 w 10000"/>
                  <a:gd name="connsiteY122" fmla="*/ 915 h 10000"/>
                  <a:gd name="connsiteX123" fmla="*/ 897 w 10000"/>
                  <a:gd name="connsiteY123" fmla="*/ 977 h 10000"/>
                  <a:gd name="connsiteX124" fmla="*/ 897 w 10000"/>
                  <a:gd name="connsiteY124" fmla="*/ 977 h 10000"/>
                  <a:gd name="connsiteX125" fmla="*/ 882 w 10000"/>
                  <a:gd name="connsiteY125" fmla="*/ 990 h 10000"/>
                  <a:gd name="connsiteX126" fmla="*/ 844 w 10000"/>
                  <a:gd name="connsiteY126" fmla="*/ 1045 h 10000"/>
                  <a:gd name="connsiteX127" fmla="*/ 791 w 10000"/>
                  <a:gd name="connsiteY127" fmla="*/ 1148 h 10000"/>
                  <a:gd name="connsiteX128" fmla="*/ 746 w 10000"/>
                  <a:gd name="connsiteY128" fmla="*/ 1270 h 10000"/>
                  <a:gd name="connsiteX129" fmla="*/ 723 w 10000"/>
                  <a:gd name="connsiteY129" fmla="*/ 1393 h 10000"/>
                  <a:gd name="connsiteX130" fmla="*/ 716 w 10000"/>
                  <a:gd name="connsiteY130" fmla="*/ 1482 h 10000"/>
                  <a:gd name="connsiteX131" fmla="*/ 716 w 10000"/>
                  <a:gd name="connsiteY131" fmla="*/ 1482 h 10000"/>
                  <a:gd name="connsiteX132" fmla="*/ 708 w 10000"/>
                  <a:gd name="connsiteY132" fmla="*/ 1639 h 10000"/>
                  <a:gd name="connsiteX133" fmla="*/ 708 w 10000"/>
                  <a:gd name="connsiteY133" fmla="*/ 1790 h 10000"/>
                  <a:gd name="connsiteX134" fmla="*/ 716 w 10000"/>
                  <a:gd name="connsiteY134" fmla="*/ 1940 h 10000"/>
                  <a:gd name="connsiteX135" fmla="*/ 723 w 10000"/>
                  <a:gd name="connsiteY135" fmla="*/ 2077 h 10000"/>
                  <a:gd name="connsiteX136" fmla="*/ 723 w 10000"/>
                  <a:gd name="connsiteY136" fmla="*/ 8525 h 10000"/>
                  <a:gd name="connsiteX137" fmla="*/ 15 w 10000"/>
                  <a:gd name="connsiteY137" fmla="*/ 8525 h 10000"/>
                  <a:gd name="connsiteX138" fmla="*/ 15 w 10000"/>
                  <a:gd name="connsiteY138" fmla="*/ 2077 h 10000"/>
                  <a:gd name="connsiteX139" fmla="*/ 8 w 10000"/>
                  <a:gd name="connsiteY139" fmla="*/ 1940 h 10000"/>
                  <a:gd name="connsiteX140" fmla="*/ 0 w 10000"/>
                  <a:gd name="connsiteY140" fmla="*/ 1790 h 10000"/>
                  <a:gd name="connsiteX141" fmla="*/ 0 w 10000"/>
                  <a:gd name="connsiteY141" fmla="*/ 1639 h 10000"/>
                  <a:gd name="connsiteX142" fmla="*/ 8 w 10000"/>
                  <a:gd name="connsiteY142" fmla="*/ 1482 h 10000"/>
                  <a:gd name="connsiteX143" fmla="*/ 15 w 10000"/>
                  <a:gd name="connsiteY143" fmla="*/ 1421 h 10000"/>
                  <a:gd name="connsiteX144" fmla="*/ 30 w 10000"/>
                  <a:gd name="connsiteY144" fmla="*/ 1264 h 10000"/>
                  <a:gd name="connsiteX145" fmla="*/ 60 w 10000"/>
                  <a:gd name="connsiteY145" fmla="*/ 1107 h 10000"/>
                  <a:gd name="connsiteX146" fmla="*/ 143 w 10000"/>
                  <a:gd name="connsiteY146" fmla="*/ 902 h 10000"/>
                  <a:gd name="connsiteX147" fmla="*/ 219 w 10000"/>
                  <a:gd name="connsiteY147" fmla="*/ 751 h 10000"/>
                  <a:gd name="connsiteX148" fmla="*/ 256 w 10000"/>
                  <a:gd name="connsiteY148" fmla="*/ 704 h 10000"/>
                  <a:gd name="connsiteX149" fmla="*/ 301 w 10000"/>
                  <a:gd name="connsiteY149" fmla="*/ 635 h 10000"/>
                  <a:gd name="connsiteX150" fmla="*/ 354 w 10000"/>
                  <a:gd name="connsiteY150" fmla="*/ 574 h 10000"/>
                  <a:gd name="connsiteX151" fmla="*/ 399 w 10000"/>
                  <a:gd name="connsiteY151" fmla="*/ 519 h 10000"/>
                  <a:gd name="connsiteX152" fmla="*/ 460 w 10000"/>
                  <a:gd name="connsiteY152" fmla="*/ 458 h 10000"/>
                  <a:gd name="connsiteX153" fmla="*/ 535 w 10000"/>
                  <a:gd name="connsiteY153" fmla="*/ 403 h 10000"/>
                  <a:gd name="connsiteX154" fmla="*/ 588 w 10000"/>
                  <a:gd name="connsiteY154" fmla="*/ 362 h 10000"/>
                  <a:gd name="connsiteX155" fmla="*/ 671 w 10000"/>
                  <a:gd name="connsiteY155" fmla="*/ 314 h 10000"/>
                  <a:gd name="connsiteX156" fmla="*/ 761 w 10000"/>
                  <a:gd name="connsiteY156" fmla="*/ 260 h 10000"/>
                  <a:gd name="connsiteX157" fmla="*/ 821 w 10000"/>
                  <a:gd name="connsiteY157" fmla="*/ 232 h 10000"/>
                  <a:gd name="connsiteX158" fmla="*/ 919 w 10000"/>
                  <a:gd name="connsiteY158" fmla="*/ 178 h 10000"/>
                  <a:gd name="connsiteX159" fmla="*/ 1032 w 10000"/>
                  <a:gd name="connsiteY159" fmla="*/ 143 h 10000"/>
                  <a:gd name="connsiteX160" fmla="*/ 1153 w 10000"/>
                  <a:gd name="connsiteY160" fmla="*/ 109 h 10000"/>
                  <a:gd name="connsiteX161" fmla="*/ 1221 w 10000"/>
                  <a:gd name="connsiteY161" fmla="*/ 89 h 10000"/>
                  <a:gd name="connsiteX162" fmla="*/ 1349 w 10000"/>
                  <a:gd name="connsiteY162" fmla="*/ 61 h 10000"/>
                  <a:gd name="connsiteX163" fmla="*/ 1500 w 10000"/>
                  <a:gd name="connsiteY163" fmla="*/ 41 h 10000"/>
                  <a:gd name="connsiteX164" fmla="*/ 1658 w 10000"/>
                  <a:gd name="connsiteY164" fmla="*/ 20 h 10000"/>
                  <a:gd name="connsiteX165" fmla="*/ 1726 w 10000"/>
                  <a:gd name="connsiteY165" fmla="*/ 14 h 10000"/>
                  <a:gd name="connsiteX166" fmla="*/ 1899 w 10000"/>
                  <a:gd name="connsiteY166" fmla="*/ 7 h 10000"/>
                  <a:gd name="connsiteX167" fmla="*/ 2080 w 10000"/>
                  <a:gd name="connsiteY167" fmla="*/ 0 h 10000"/>
                  <a:gd name="connsiteX0" fmla="*/ 2080 w 10000"/>
                  <a:gd name="connsiteY0" fmla="*/ 0 h 10000"/>
                  <a:gd name="connsiteX1" fmla="*/ 5991 w 10000"/>
                  <a:gd name="connsiteY1" fmla="*/ 0 h 10000"/>
                  <a:gd name="connsiteX2" fmla="*/ 6066 w 10000"/>
                  <a:gd name="connsiteY2" fmla="*/ 7 h 10000"/>
                  <a:gd name="connsiteX3" fmla="*/ 6112 w 10000"/>
                  <a:gd name="connsiteY3" fmla="*/ 14 h 10000"/>
                  <a:gd name="connsiteX4" fmla="*/ 6172 w 10000"/>
                  <a:gd name="connsiteY4" fmla="*/ 27 h 10000"/>
                  <a:gd name="connsiteX5" fmla="*/ 6240 w 10000"/>
                  <a:gd name="connsiteY5" fmla="*/ 55 h 10000"/>
                  <a:gd name="connsiteX6" fmla="*/ 6277 w 10000"/>
                  <a:gd name="connsiteY6" fmla="*/ 68 h 10000"/>
                  <a:gd name="connsiteX7" fmla="*/ 6338 w 10000"/>
                  <a:gd name="connsiteY7" fmla="*/ 102 h 10000"/>
                  <a:gd name="connsiteX8" fmla="*/ 6390 w 10000"/>
                  <a:gd name="connsiteY8" fmla="*/ 130 h 10000"/>
                  <a:gd name="connsiteX9" fmla="*/ 6436 w 10000"/>
                  <a:gd name="connsiteY9" fmla="*/ 164 h 10000"/>
                  <a:gd name="connsiteX10" fmla="*/ 6496 w 10000"/>
                  <a:gd name="connsiteY10" fmla="*/ 205 h 10000"/>
                  <a:gd name="connsiteX11" fmla="*/ 6549 w 10000"/>
                  <a:gd name="connsiteY11" fmla="*/ 246 h 10000"/>
                  <a:gd name="connsiteX12" fmla="*/ 6609 w 10000"/>
                  <a:gd name="connsiteY12" fmla="*/ 301 h 10000"/>
                  <a:gd name="connsiteX13" fmla="*/ 6677 w 10000"/>
                  <a:gd name="connsiteY13" fmla="*/ 369 h 10000"/>
                  <a:gd name="connsiteX14" fmla="*/ 6714 w 10000"/>
                  <a:gd name="connsiteY14" fmla="*/ 417 h 10000"/>
                  <a:gd name="connsiteX15" fmla="*/ 6782 w 10000"/>
                  <a:gd name="connsiteY15" fmla="*/ 492 h 10000"/>
                  <a:gd name="connsiteX16" fmla="*/ 6858 w 10000"/>
                  <a:gd name="connsiteY16" fmla="*/ 587 h 10000"/>
                  <a:gd name="connsiteX17" fmla="*/ 6940 w 10000"/>
                  <a:gd name="connsiteY17" fmla="*/ 697 h 10000"/>
                  <a:gd name="connsiteX18" fmla="*/ 7031 w 10000"/>
                  <a:gd name="connsiteY18" fmla="*/ 840 h 10000"/>
                  <a:gd name="connsiteX19" fmla="*/ 7084 w 10000"/>
                  <a:gd name="connsiteY19" fmla="*/ 956 h 10000"/>
                  <a:gd name="connsiteX20" fmla="*/ 7121 w 10000"/>
                  <a:gd name="connsiteY20" fmla="*/ 1018 h 10000"/>
                  <a:gd name="connsiteX21" fmla="*/ 7151 w 10000"/>
                  <a:gd name="connsiteY21" fmla="*/ 1086 h 10000"/>
                  <a:gd name="connsiteX22" fmla="*/ 7182 w 10000"/>
                  <a:gd name="connsiteY22" fmla="*/ 1161 h 10000"/>
                  <a:gd name="connsiteX23" fmla="*/ 7212 w 10000"/>
                  <a:gd name="connsiteY23" fmla="*/ 1250 h 10000"/>
                  <a:gd name="connsiteX24" fmla="*/ 7287 w 10000"/>
                  <a:gd name="connsiteY24" fmla="*/ 1441 h 10000"/>
                  <a:gd name="connsiteX25" fmla="*/ 7332 w 10000"/>
                  <a:gd name="connsiteY25" fmla="*/ 1557 h 10000"/>
                  <a:gd name="connsiteX26" fmla="*/ 7378 w 10000"/>
                  <a:gd name="connsiteY26" fmla="*/ 1673 h 10000"/>
                  <a:gd name="connsiteX27" fmla="*/ 7423 w 10000"/>
                  <a:gd name="connsiteY27" fmla="*/ 1796 h 10000"/>
                  <a:gd name="connsiteX28" fmla="*/ 7468 w 10000"/>
                  <a:gd name="connsiteY28" fmla="*/ 1933 h 10000"/>
                  <a:gd name="connsiteX29" fmla="*/ 7558 w 10000"/>
                  <a:gd name="connsiteY29" fmla="*/ 2220 h 10000"/>
                  <a:gd name="connsiteX30" fmla="*/ 7581 w 10000"/>
                  <a:gd name="connsiteY30" fmla="*/ 2281 h 10000"/>
                  <a:gd name="connsiteX31" fmla="*/ 7679 w 10000"/>
                  <a:gd name="connsiteY31" fmla="*/ 2589 h 10000"/>
                  <a:gd name="connsiteX32" fmla="*/ 7792 w 10000"/>
                  <a:gd name="connsiteY32" fmla="*/ 2910 h 10000"/>
                  <a:gd name="connsiteX33" fmla="*/ 7905 w 10000"/>
                  <a:gd name="connsiteY33" fmla="*/ 3258 h 10000"/>
                  <a:gd name="connsiteX34" fmla="*/ 8018 w 10000"/>
                  <a:gd name="connsiteY34" fmla="*/ 3613 h 10000"/>
                  <a:gd name="connsiteX35" fmla="*/ 8139 w 10000"/>
                  <a:gd name="connsiteY35" fmla="*/ 3989 h 10000"/>
                  <a:gd name="connsiteX36" fmla="*/ 8259 w 10000"/>
                  <a:gd name="connsiteY36" fmla="*/ 4365 h 10000"/>
                  <a:gd name="connsiteX37" fmla="*/ 8380 w 10000"/>
                  <a:gd name="connsiteY37" fmla="*/ 4754 h 10000"/>
                  <a:gd name="connsiteX38" fmla="*/ 8749 w 10000"/>
                  <a:gd name="connsiteY38" fmla="*/ 5922 h 10000"/>
                  <a:gd name="connsiteX39" fmla="*/ 8862 w 10000"/>
                  <a:gd name="connsiteY39" fmla="*/ 6305 h 10000"/>
                  <a:gd name="connsiteX40" fmla="*/ 8975 w 10000"/>
                  <a:gd name="connsiteY40" fmla="*/ 6680 h 10000"/>
                  <a:gd name="connsiteX41" fmla="*/ 9096 w 10000"/>
                  <a:gd name="connsiteY41" fmla="*/ 7056 h 10000"/>
                  <a:gd name="connsiteX42" fmla="*/ 9201 w 10000"/>
                  <a:gd name="connsiteY42" fmla="*/ 7404 h 10000"/>
                  <a:gd name="connsiteX43" fmla="*/ 9299 w 10000"/>
                  <a:gd name="connsiteY43" fmla="*/ 7739 h 10000"/>
                  <a:gd name="connsiteX44" fmla="*/ 9397 w 10000"/>
                  <a:gd name="connsiteY44" fmla="*/ 8060 h 10000"/>
                  <a:gd name="connsiteX45" fmla="*/ 9495 w 10000"/>
                  <a:gd name="connsiteY45" fmla="*/ 8354 h 10000"/>
                  <a:gd name="connsiteX46" fmla="*/ 9570 w 10000"/>
                  <a:gd name="connsiteY46" fmla="*/ 8620 h 10000"/>
                  <a:gd name="connsiteX47" fmla="*/ 9608 w 10000"/>
                  <a:gd name="connsiteY47" fmla="*/ 8750 h 10000"/>
                  <a:gd name="connsiteX48" fmla="*/ 9646 w 10000"/>
                  <a:gd name="connsiteY48" fmla="*/ 8866 h 10000"/>
                  <a:gd name="connsiteX49" fmla="*/ 9676 w 10000"/>
                  <a:gd name="connsiteY49" fmla="*/ 8982 h 10000"/>
                  <a:gd name="connsiteX50" fmla="*/ 9706 w 10000"/>
                  <a:gd name="connsiteY50" fmla="*/ 9085 h 10000"/>
                  <a:gd name="connsiteX51" fmla="*/ 9736 w 10000"/>
                  <a:gd name="connsiteY51" fmla="*/ 9180 h 10000"/>
                  <a:gd name="connsiteX52" fmla="*/ 9766 w 10000"/>
                  <a:gd name="connsiteY52" fmla="*/ 9262 h 10000"/>
                  <a:gd name="connsiteX53" fmla="*/ 9789 w 10000"/>
                  <a:gd name="connsiteY53" fmla="*/ 9344 h 10000"/>
                  <a:gd name="connsiteX54" fmla="*/ 9804 w 10000"/>
                  <a:gd name="connsiteY54" fmla="*/ 9413 h 10000"/>
                  <a:gd name="connsiteX55" fmla="*/ 9827 w 10000"/>
                  <a:gd name="connsiteY55" fmla="*/ 9474 h 10000"/>
                  <a:gd name="connsiteX56" fmla="*/ 9849 w 10000"/>
                  <a:gd name="connsiteY56" fmla="*/ 9522 h 10000"/>
                  <a:gd name="connsiteX57" fmla="*/ 9857 w 10000"/>
                  <a:gd name="connsiteY57" fmla="*/ 9556 h 10000"/>
                  <a:gd name="connsiteX58" fmla="*/ 9864 w 10000"/>
                  <a:gd name="connsiteY58" fmla="*/ 9583 h 10000"/>
                  <a:gd name="connsiteX59" fmla="*/ 10000 w 10000"/>
                  <a:gd name="connsiteY59" fmla="*/ 10000 h 10000"/>
                  <a:gd name="connsiteX60" fmla="*/ 3427 w 10000"/>
                  <a:gd name="connsiteY60" fmla="*/ 9982 h 10000"/>
                  <a:gd name="connsiteX61" fmla="*/ 3569 w 10000"/>
                  <a:gd name="connsiteY61" fmla="*/ 9358 h 10000"/>
                  <a:gd name="connsiteX62" fmla="*/ 9066 w 10000"/>
                  <a:gd name="connsiteY62" fmla="*/ 9358 h 10000"/>
                  <a:gd name="connsiteX63" fmla="*/ 9050 w 10000"/>
                  <a:gd name="connsiteY63" fmla="*/ 9317 h 10000"/>
                  <a:gd name="connsiteX64" fmla="*/ 9020 w 10000"/>
                  <a:gd name="connsiteY64" fmla="*/ 9214 h 10000"/>
                  <a:gd name="connsiteX65" fmla="*/ 8983 w 10000"/>
                  <a:gd name="connsiteY65" fmla="*/ 9112 h 10000"/>
                  <a:gd name="connsiteX66" fmla="*/ 8953 w 10000"/>
                  <a:gd name="connsiteY66" fmla="*/ 9003 h 10000"/>
                  <a:gd name="connsiteX67" fmla="*/ 8915 w 10000"/>
                  <a:gd name="connsiteY67" fmla="*/ 8880 h 10000"/>
                  <a:gd name="connsiteX68" fmla="*/ 8877 w 10000"/>
                  <a:gd name="connsiteY68" fmla="*/ 8757 h 10000"/>
                  <a:gd name="connsiteX69" fmla="*/ 8802 w 10000"/>
                  <a:gd name="connsiteY69" fmla="*/ 8484 h 10000"/>
                  <a:gd name="connsiteX70" fmla="*/ 8711 w 10000"/>
                  <a:gd name="connsiteY70" fmla="*/ 8190 h 10000"/>
                  <a:gd name="connsiteX71" fmla="*/ 8613 w 10000"/>
                  <a:gd name="connsiteY71" fmla="*/ 7869 h 10000"/>
                  <a:gd name="connsiteX72" fmla="*/ 8508 w 10000"/>
                  <a:gd name="connsiteY72" fmla="*/ 7534 h 10000"/>
                  <a:gd name="connsiteX73" fmla="*/ 8402 w 10000"/>
                  <a:gd name="connsiteY73" fmla="*/ 7186 h 10000"/>
                  <a:gd name="connsiteX74" fmla="*/ 8289 w 10000"/>
                  <a:gd name="connsiteY74" fmla="*/ 6817 h 10000"/>
                  <a:gd name="connsiteX75" fmla="*/ 8176 w 10000"/>
                  <a:gd name="connsiteY75" fmla="*/ 6441 h 10000"/>
                  <a:gd name="connsiteX76" fmla="*/ 8056 w 10000"/>
                  <a:gd name="connsiteY76" fmla="*/ 6059 h 10000"/>
                  <a:gd name="connsiteX77" fmla="*/ 7687 w 10000"/>
                  <a:gd name="connsiteY77" fmla="*/ 4884 h 10000"/>
                  <a:gd name="connsiteX78" fmla="*/ 7566 w 10000"/>
                  <a:gd name="connsiteY78" fmla="*/ 4501 h 10000"/>
                  <a:gd name="connsiteX79" fmla="*/ 7453 w 10000"/>
                  <a:gd name="connsiteY79" fmla="*/ 4126 h 10000"/>
                  <a:gd name="connsiteX80" fmla="*/ 7332 w 10000"/>
                  <a:gd name="connsiteY80" fmla="*/ 3743 h 10000"/>
                  <a:gd name="connsiteX81" fmla="*/ 7212 w 10000"/>
                  <a:gd name="connsiteY81" fmla="*/ 3388 h 10000"/>
                  <a:gd name="connsiteX82" fmla="*/ 7099 w 10000"/>
                  <a:gd name="connsiteY82" fmla="*/ 3040 h 10000"/>
                  <a:gd name="connsiteX83" fmla="*/ 6993 w 10000"/>
                  <a:gd name="connsiteY83" fmla="*/ 2719 h 10000"/>
                  <a:gd name="connsiteX84" fmla="*/ 6910 w 10000"/>
                  <a:gd name="connsiteY84" fmla="*/ 2466 h 10000"/>
                  <a:gd name="connsiteX85" fmla="*/ 6910 w 10000"/>
                  <a:gd name="connsiteY85" fmla="*/ 2466 h 10000"/>
                  <a:gd name="connsiteX86" fmla="*/ 6812 w 10000"/>
                  <a:gd name="connsiteY86" fmla="*/ 2186 h 10000"/>
                  <a:gd name="connsiteX87" fmla="*/ 6767 w 10000"/>
                  <a:gd name="connsiteY87" fmla="*/ 2049 h 10000"/>
                  <a:gd name="connsiteX88" fmla="*/ 6722 w 10000"/>
                  <a:gd name="connsiteY88" fmla="*/ 1926 h 10000"/>
                  <a:gd name="connsiteX89" fmla="*/ 6677 w 10000"/>
                  <a:gd name="connsiteY89" fmla="*/ 1803 h 10000"/>
                  <a:gd name="connsiteX90" fmla="*/ 6639 w 10000"/>
                  <a:gd name="connsiteY90" fmla="*/ 1694 h 10000"/>
                  <a:gd name="connsiteX91" fmla="*/ 6564 w 10000"/>
                  <a:gd name="connsiteY91" fmla="*/ 1496 h 10000"/>
                  <a:gd name="connsiteX92" fmla="*/ 6534 w 10000"/>
                  <a:gd name="connsiteY92" fmla="*/ 1414 h 10000"/>
                  <a:gd name="connsiteX93" fmla="*/ 6503 w 10000"/>
                  <a:gd name="connsiteY93" fmla="*/ 1339 h 10000"/>
                  <a:gd name="connsiteX94" fmla="*/ 6473 w 10000"/>
                  <a:gd name="connsiteY94" fmla="*/ 1270 h 10000"/>
                  <a:gd name="connsiteX95" fmla="*/ 6436 w 10000"/>
                  <a:gd name="connsiteY95" fmla="*/ 1209 h 10000"/>
                  <a:gd name="connsiteX96" fmla="*/ 6413 w 10000"/>
                  <a:gd name="connsiteY96" fmla="*/ 1161 h 10000"/>
                  <a:gd name="connsiteX97" fmla="*/ 6420 w 10000"/>
                  <a:gd name="connsiteY97" fmla="*/ 1161 h 10000"/>
                  <a:gd name="connsiteX98" fmla="*/ 6413 w 10000"/>
                  <a:gd name="connsiteY98" fmla="*/ 1148 h 10000"/>
                  <a:gd name="connsiteX99" fmla="*/ 6353 w 10000"/>
                  <a:gd name="connsiteY99" fmla="*/ 1052 h 10000"/>
                  <a:gd name="connsiteX100" fmla="*/ 6277 w 10000"/>
                  <a:gd name="connsiteY100" fmla="*/ 943 h 10000"/>
                  <a:gd name="connsiteX101" fmla="*/ 6202 w 10000"/>
                  <a:gd name="connsiteY101" fmla="*/ 854 h 10000"/>
                  <a:gd name="connsiteX102" fmla="*/ 6157 w 10000"/>
                  <a:gd name="connsiteY102" fmla="*/ 799 h 10000"/>
                  <a:gd name="connsiteX103" fmla="*/ 6112 w 10000"/>
                  <a:gd name="connsiteY103" fmla="*/ 751 h 10000"/>
                  <a:gd name="connsiteX104" fmla="*/ 6051 w 10000"/>
                  <a:gd name="connsiteY104" fmla="*/ 697 h 10000"/>
                  <a:gd name="connsiteX105" fmla="*/ 6044 w 10000"/>
                  <a:gd name="connsiteY105" fmla="*/ 690 h 10000"/>
                  <a:gd name="connsiteX106" fmla="*/ 6044 w 10000"/>
                  <a:gd name="connsiteY106" fmla="*/ 697 h 10000"/>
                  <a:gd name="connsiteX107" fmla="*/ 5991 w 10000"/>
                  <a:gd name="connsiteY107" fmla="*/ 663 h 10000"/>
                  <a:gd name="connsiteX108" fmla="*/ 5976 w 10000"/>
                  <a:gd name="connsiteY108" fmla="*/ 656 h 10000"/>
                  <a:gd name="connsiteX109" fmla="*/ 5961 w 10000"/>
                  <a:gd name="connsiteY109" fmla="*/ 649 h 10000"/>
                  <a:gd name="connsiteX110" fmla="*/ 5946 w 10000"/>
                  <a:gd name="connsiteY110" fmla="*/ 642 h 10000"/>
                  <a:gd name="connsiteX111" fmla="*/ 2080 w 10000"/>
                  <a:gd name="connsiteY111" fmla="*/ 642 h 10000"/>
                  <a:gd name="connsiteX112" fmla="*/ 1899 w 10000"/>
                  <a:gd name="connsiteY112" fmla="*/ 649 h 10000"/>
                  <a:gd name="connsiteX113" fmla="*/ 1756 w 10000"/>
                  <a:gd name="connsiteY113" fmla="*/ 656 h 10000"/>
                  <a:gd name="connsiteX114" fmla="*/ 1643 w 10000"/>
                  <a:gd name="connsiteY114" fmla="*/ 669 h 10000"/>
                  <a:gd name="connsiteX115" fmla="*/ 1500 w 10000"/>
                  <a:gd name="connsiteY115" fmla="*/ 690 h 10000"/>
                  <a:gd name="connsiteX116" fmla="*/ 1417 w 10000"/>
                  <a:gd name="connsiteY116" fmla="*/ 704 h 10000"/>
                  <a:gd name="connsiteX117" fmla="*/ 1304 w 10000"/>
                  <a:gd name="connsiteY117" fmla="*/ 738 h 10000"/>
                  <a:gd name="connsiteX118" fmla="*/ 1198 w 10000"/>
                  <a:gd name="connsiteY118" fmla="*/ 772 h 10000"/>
                  <a:gd name="connsiteX119" fmla="*/ 1123 w 10000"/>
                  <a:gd name="connsiteY119" fmla="*/ 813 h 10000"/>
                  <a:gd name="connsiteX120" fmla="*/ 1070 w 10000"/>
                  <a:gd name="connsiteY120" fmla="*/ 840 h 10000"/>
                  <a:gd name="connsiteX121" fmla="*/ 1017 w 10000"/>
                  <a:gd name="connsiteY121" fmla="*/ 881 h 10000"/>
                  <a:gd name="connsiteX122" fmla="*/ 957 w 10000"/>
                  <a:gd name="connsiteY122" fmla="*/ 915 h 10000"/>
                  <a:gd name="connsiteX123" fmla="*/ 897 w 10000"/>
                  <a:gd name="connsiteY123" fmla="*/ 977 h 10000"/>
                  <a:gd name="connsiteX124" fmla="*/ 897 w 10000"/>
                  <a:gd name="connsiteY124" fmla="*/ 977 h 10000"/>
                  <a:gd name="connsiteX125" fmla="*/ 882 w 10000"/>
                  <a:gd name="connsiteY125" fmla="*/ 990 h 10000"/>
                  <a:gd name="connsiteX126" fmla="*/ 844 w 10000"/>
                  <a:gd name="connsiteY126" fmla="*/ 1045 h 10000"/>
                  <a:gd name="connsiteX127" fmla="*/ 791 w 10000"/>
                  <a:gd name="connsiteY127" fmla="*/ 1148 h 10000"/>
                  <a:gd name="connsiteX128" fmla="*/ 746 w 10000"/>
                  <a:gd name="connsiteY128" fmla="*/ 1270 h 10000"/>
                  <a:gd name="connsiteX129" fmla="*/ 723 w 10000"/>
                  <a:gd name="connsiteY129" fmla="*/ 1393 h 10000"/>
                  <a:gd name="connsiteX130" fmla="*/ 716 w 10000"/>
                  <a:gd name="connsiteY130" fmla="*/ 1482 h 10000"/>
                  <a:gd name="connsiteX131" fmla="*/ 716 w 10000"/>
                  <a:gd name="connsiteY131" fmla="*/ 1482 h 10000"/>
                  <a:gd name="connsiteX132" fmla="*/ 708 w 10000"/>
                  <a:gd name="connsiteY132" fmla="*/ 1639 h 10000"/>
                  <a:gd name="connsiteX133" fmla="*/ 708 w 10000"/>
                  <a:gd name="connsiteY133" fmla="*/ 1790 h 10000"/>
                  <a:gd name="connsiteX134" fmla="*/ 716 w 10000"/>
                  <a:gd name="connsiteY134" fmla="*/ 1940 h 10000"/>
                  <a:gd name="connsiteX135" fmla="*/ 723 w 10000"/>
                  <a:gd name="connsiteY135" fmla="*/ 2077 h 10000"/>
                  <a:gd name="connsiteX136" fmla="*/ 723 w 10000"/>
                  <a:gd name="connsiteY136" fmla="*/ 8525 h 10000"/>
                  <a:gd name="connsiteX137" fmla="*/ 15 w 10000"/>
                  <a:gd name="connsiteY137" fmla="*/ 8525 h 10000"/>
                  <a:gd name="connsiteX138" fmla="*/ 15 w 10000"/>
                  <a:gd name="connsiteY138" fmla="*/ 2077 h 10000"/>
                  <a:gd name="connsiteX139" fmla="*/ 8 w 10000"/>
                  <a:gd name="connsiteY139" fmla="*/ 1940 h 10000"/>
                  <a:gd name="connsiteX140" fmla="*/ 0 w 10000"/>
                  <a:gd name="connsiteY140" fmla="*/ 1790 h 10000"/>
                  <a:gd name="connsiteX141" fmla="*/ 0 w 10000"/>
                  <a:gd name="connsiteY141" fmla="*/ 1639 h 10000"/>
                  <a:gd name="connsiteX142" fmla="*/ 8 w 10000"/>
                  <a:gd name="connsiteY142" fmla="*/ 1482 h 10000"/>
                  <a:gd name="connsiteX143" fmla="*/ 15 w 10000"/>
                  <a:gd name="connsiteY143" fmla="*/ 1421 h 10000"/>
                  <a:gd name="connsiteX144" fmla="*/ 30 w 10000"/>
                  <a:gd name="connsiteY144" fmla="*/ 1264 h 10000"/>
                  <a:gd name="connsiteX145" fmla="*/ 60 w 10000"/>
                  <a:gd name="connsiteY145" fmla="*/ 1107 h 10000"/>
                  <a:gd name="connsiteX146" fmla="*/ 143 w 10000"/>
                  <a:gd name="connsiteY146" fmla="*/ 902 h 10000"/>
                  <a:gd name="connsiteX147" fmla="*/ 219 w 10000"/>
                  <a:gd name="connsiteY147" fmla="*/ 751 h 10000"/>
                  <a:gd name="connsiteX148" fmla="*/ 256 w 10000"/>
                  <a:gd name="connsiteY148" fmla="*/ 704 h 10000"/>
                  <a:gd name="connsiteX149" fmla="*/ 301 w 10000"/>
                  <a:gd name="connsiteY149" fmla="*/ 635 h 10000"/>
                  <a:gd name="connsiteX150" fmla="*/ 354 w 10000"/>
                  <a:gd name="connsiteY150" fmla="*/ 574 h 10000"/>
                  <a:gd name="connsiteX151" fmla="*/ 399 w 10000"/>
                  <a:gd name="connsiteY151" fmla="*/ 519 h 10000"/>
                  <a:gd name="connsiteX152" fmla="*/ 460 w 10000"/>
                  <a:gd name="connsiteY152" fmla="*/ 458 h 10000"/>
                  <a:gd name="connsiteX153" fmla="*/ 535 w 10000"/>
                  <a:gd name="connsiteY153" fmla="*/ 403 h 10000"/>
                  <a:gd name="connsiteX154" fmla="*/ 588 w 10000"/>
                  <a:gd name="connsiteY154" fmla="*/ 362 h 10000"/>
                  <a:gd name="connsiteX155" fmla="*/ 671 w 10000"/>
                  <a:gd name="connsiteY155" fmla="*/ 314 h 10000"/>
                  <a:gd name="connsiteX156" fmla="*/ 761 w 10000"/>
                  <a:gd name="connsiteY156" fmla="*/ 260 h 10000"/>
                  <a:gd name="connsiteX157" fmla="*/ 821 w 10000"/>
                  <a:gd name="connsiteY157" fmla="*/ 232 h 10000"/>
                  <a:gd name="connsiteX158" fmla="*/ 919 w 10000"/>
                  <a:gd name="connsiteY158" fmla="*/ 178 h 10000"/>
                  <a:gd name="connsiteX159" fmla="*/ 1032 w 10000"/>
                  <a:gd name="connsiteY159" fmla="*/ 143 h 10000"/>
                  <a:gd name="connsiteX160" fmla="*/ 1153 w 10000"/>
                  <a:gd name="connsiteY160" fmla="*/ 109 h 10000"/>
                  <a:gd name="connsiteX161" fmla="*/ 1221 w 10000"/>
                  <a:gd name="connsiteY161" fmla="*/ 89 h 10000"/>
                  <a:gd name="connsiteX162" fmla="*/ 1349 w 10000"/>
                  <a:gd name="connsiteY162" fmla="*/ 61 h 10000"/>
                  <a:gd name="connsiteX163" fmla="*/ 1500 w 10000"/>
                  <a:gd name="connsiteY163" fmla="*/ 41 h 10000"/>
                  <a:gd name="connsiteX164" fmla="*/ 1658 w 10000"/>
                  <a:gd name="connsiteY164" fmla="*/ 20 h 10000"/>
                  <a:gd name="connsiteX165" fmla="*/ 1726 w 10000"/>
                  <a:gd name="connsiteY165" fmla="*/ 14 h 10000"/>
                  <a:gd name="connsiteX166" fmla="*/ 1899 w 10000"/>
                  <a:gd name="connsiteY166" fmla="*/ 7 h 10000"/>
                  <a:gd name="connsiteX167" fmla="*/ 2080 w 10000"/>
                  <a:gd name="connsiteY167" fmla="*/ 0 h 10000"/>
                  <a:gd name="connsiteX0" fmla="*/ 2080 w 10000"/>
                  <a:gd name="connsiteY0" fmla="*/ 0 h 10000"/>
                  <a:gd name="connsiteX1" fmla="*/ 5991 w 10000"/>
                  <a:gd name="connsiteY1" fmla="*/ 0 h 10000"/>
                  <a:gd name="connsiteX2" fmla="*/ 6066 w 10000"/>
                  <a:gd name="connsiteY2" fmla="*/ 7 h 10000"/>
                  <a:gd name="connsiteX3" fmla="*/ 6112 w 10000"/>
                  <a:gd name="connsiteY3" fmla="*/ 14 h 10000"/>
                  <a:gd name="connsiteX4" fmla="*/ 6172 w 10000"/>
                  <a:gd name="connsiteY4" fmla="*/ 27 h 10000"/>
                  <a:gd name="connsiteX5" fmla="*/ 6240 w 10000"/>
                  <a:gd name="connsiteY5" fmla="*/ 55 h 10000"/>
                  <a:gd name="connsiteX6" fmla="*/ 6277 w 10000"/>
                  <a:gd name="connsiteY6" fmla="*/ 68 h 10000"/>
                  <a:gd name="connsiteX7" fmla="*/ 6338 w 10000"/>
                  <a:gd name="connsiteY7" fmla="*/ 102 h 10000"/>
                  <a:gd name="connsiteX8" fmla="*/ 6390 w 10000"/>
                  <a:gd name="connsiteY8" fmla="*/ 130 h 10000"/>
                  <a:gd name="connsiteX9" fmla="*/ 6436 w 10000"/>
                  <a:gd name="connsiteY9" fmla="*/ 164 h 10000"/>
                  <a:gd name="connsiteX10" fmla="*/ 6496 w 10000"/>
                  <a:gd name="connsiteY10" fmla="*/ 205 h 10000"/>
                  <a:gd name="connsiteX11" fmla="*/ 6549 w 10000"/>
                  <a:gd name="connsiteY11" fmla="*/ 246 h 10000"/>
                  <a:gd name="connsiteX12" fmla="*/ 6609 w 10000"/>
                  <a:gd name="connsiteY12" fmla="*/ 301 h 10000"/>
                  <a:gd name="connsiteX13" fmla="*/ 6677 w 10000"/>
                  <a:gd name="connsiteY13" fmla="*/ 369 h 10000"/>
                  <a:gd name="connsiteX14" fmla="*/ 6714 w 10000"/>
                  <a:gd name="connsiteY14" fmla="*/ 417 h 10000"/>
                  <a:gd name="connsiteX15" fmla="*/ 6782 w 10000"/>
                  <a:gd name="connsiteY15" fmla="*/ 492 h 10000"/>
                  <a:gd name="connsiteX16" fmla="*/ 6858 w 10000"/>
                  <a:gd name="connsiteY16" fmla="*/ 587 h 10000"/>
                  <a:gd name="connsiteX17" fmla="*/ 6940 w 10000"/>
                  <a:gd name="connsiteY17" fmla="*/ 697 h 10000"/>
                  <a:gd name="connsiteX18" fmla="*/ 7031 w 10000"/>
                  <a:gd name="connsiteY18" fmla="*/ 840 h 10000"/>
                  <a:gd name="connsiteX19" fmla="*/ 7084 w 10000"/>
                  <a:gd name="connsiteY19" fmla="*/ 956 h 10000"/>
                  <a:gd name="connsiteX20" fmla="*/ 7121 w 10000"/>
                  <a:gd name="connsiteY20" fmla="*/ 1018 h 10000"/>
                  <a:gd name="connsiteX21" fmla="*/ 7151 w 10000"/>
                  <a:gd name="connsiteY21" fmla="*/ 1086 h 10000"/>
                  <a:gd name="connsiteX22" fmla="*/ 7182 w 10000"/>
                  <a:gd name="connsiteY22" fmla="*/ 1161 h 10000"/>
                  <a:gd name="connsiteX23" fmla="*/ 7212 w 10000"/>
                  <a:gd name="connsiteY23" fmla="*/ 1250 h 10000"/>
                  <a:gd name="connsiteX24" fmla="*/ 7287 w 10000"/>
                  <a:gd name="connsiteY24" fmla="*/ 1441 h 10000"/>
                  <a:gd name="connsiteX25" fmla="*/ 7332 w 10000"/>
                  <a:gd name="connsiteY25" fmla="*/ 1557 h 10000"/>
                  <a:gd name="connsiteX26" fmla="*/ 7378 w 10000"/>
                  <a:gd name="connsiteY26" fmla="*/ 1673 h 10000"/>
                  <a:gd name="connsiteX27" fmla="*/ 7423 w 10000"/>
                  <a:gd name="connsiteY27" fmla="*/ 1796 h 10000"/>
                  <a:gd name="connsiteX28" fmla="*/ 7468 w 10000"/>
                  <a:gd name="connsiteY28" fmla="*/ 1933 h 10000"/>
                  <a:gd name="connsiteX29" fmla="*/ 7558 w 10000"/>
                  <a:gd name="connsiteY29" fmla="*/ 2220 h 10000"/>
                  <a:gd name="connsiteX30" fmla="*/ 7581 w 10000"/>
                  <a:gd name="connsiteY30" fmla="*/ 2281 h 10000"/>
                  <a:gd name="connsiteX31" fmla="*/ 7679 w 10000"/>
                  <a:gd name="connsiteY31" fmla="*/ 2589 h 10000"/>
                  <a:gd name="connsiteX32" fmla="*/ 7792 w 10000"/>
                  <a:gd name="connsiteY32" fmla="*/ 2910 h 10000"/>
                  <a:gd name="connsiteX33" fmla="*/ 7905 w 10000"/>
                  <a:gd name="connsiteY33" fmla="*/ 3258 h 10000"/>
                  <a:gd name="connsiteX34" fmla="*/ 8018 w 10000"/>
                  <a:gd name="connsiteY34" fmla="*/ 3613 h 10000"/>
                  <a:gd name="connsiteX35" fmla="*/ 8139 w 10000"/>
                  <a:gd name="connsiteY35" fmla="*/ 3989 h 10000"/>
                  <a:gd name="connsiteX36" fmla="*/ 8259 w 10000"/>
                  <a:gd name="connsiteY36" fmla="*/ 4365 h 10000"/>
                  <a:gd name="connsiteX37" fmla="*/ 8380 w 10000"/>
                  <a:gd name="connsiteY37" fmla="*/ 4754 h 10000"/>
                  <a:gd name="connsiteX38" fmla="*/ 8749 w 10000"/>
                  <a:gd name="connsiteY38" fmla="*/ 5922 h 10000"/>
                  <a:gd name="connsiteX39" fmla="*/ 8862 w 10000"/>
                  <a:gd name="connsiteY39" fmla="*/ 6305 h 10000"/>
                  <a:gd name="connsiteX40" fmla="*/ 8975 w 10000"/>
                  <a:gd name="connsiteY40" fmla="*/ 6680 h 10000"/>
                  <a:gd name="connsiteX41" fmla="*/ 9096 w 10000"/>
                  <a:gd name="connsiteY41" fmla="*/ 7056 h 10000"/>
                  <a:gd name="connsiteX42" fmla="*/ 9201 w 10000"/>
                  <a:gd name="connsiteY42" fmla="*/ 7404 h 10000"/>
                  <a:gd name="connsiteX43" fmla="*/ 9299 w 10000"/>
                  <a:gd name="connsiteY43" fmla="*/ 7739 h 10000"/>
                  <a:gd name="connsiteX44" fmla="*/ 9397 w 10000"/>
                  <a:gd name="connsiteY44" fmla="*/ 8060 h 10000"/>
                  <a:gd name="connsiteX45" fmla="*/ 9495 w 10000"/>
                  <a:gd name="connsiteY45" fmla="*/ 8354 h 10000"/>
                  <a:gd name="connsiteX46" fmla="*/ 9570 w 10000"/>
                  <a:gd name="connsiteY46" fmla="*/ 8620 h 10000"/>
                  <a:gd name="connsiteX47" fmla="*/ 9608 w 10000"/>
                  <a:gd name="connsiteY47" fmla="*/ 8750 h 10000"/>
                  <a:gd name="connsiteX48" fmla="*/ 9646 w 10000"/>
                  <a:gd name="connsiteY48" fmla="*/ 8866 h 10000"/>
                  <a:gd name="connsiteX49" fmla="*/ 9676 w 10000"/>
                  <a:gd name="connsiteY49" fmla="*/ 8982 h 10000"/>
                  <a:gd name="connsiteX50" fmla="*/ 9706 w 10000"/>
                  <a:gd name="connsiteY50" fmla="*/ 9085 h 10000"/>
                  <a:gd name="connsiteX51" fmla="*/ 9736 w 10000"/>
                  <a:gd name="connsiteY51" fmla="*/ 9180 h 10000"/>
                  <a:gd name="connsiteX52" fmla="*/ 9766 w 10000"/>
                  <a:gd name="connsiteY52" fmla="*/ 9262 h 10000"/>
                  <a:gd name="connsiteX53" fmla="*/ 9789 w 10000"/>
                  <a:gd name="connsiteY53" fmla="*/ 9344 h 10000"/>
                  <a:gd name="connsiteX54" fmla="*/ 9804 w 10000"/>
                  <a:gd name="connsiteY54" fmla="*/ 9413 h 10000"/>
                  <a:gd name="connsiteX55" fmla="*/ 9827 w 10000"/>
                  <a:gd name="connsiteY55" fmla="*/ 9474 h 10000"/>
                  <a:gd name="connsiteX56" fmla="*/ 9849 w 10000"/>
                  <a:gd name="connsiteY56" fmla="*/ 9522 h 10000"/>
                  <a:gd name="connsiteX57" fmla="*/ 9857 w 10000"/>
                  <a:gd name="connsiteY57" fmla="*/ 9556 h 10000"/>
                  <a:gd name="connsiteX58" fmla="*/ 9864 w 10000"/>
                  <a:gd name="connsiteY58" fmla="*/ 9583 h 10000"/>
                  <a:gd name="connsiteX59" fmla="*/ 10000 w 10000"/>
                  <a:gd name="connsiteY59" fmla="*/ 10000 h 10000"/>
                  <a:gd name="connsiteX60" fmla="*/ 3528 w 10000"/>
                  <a:gd name="connsiteY60" fmla="*/ 9964 h 10000"/>
                  <a:gd name="connsiteX61" fmla="*/ 3569 w 10000"/>
                  <a:gd name="connsiteY61" fmla="*/ 9358 h 10000"/>
                  <a:gd name="connsiteX62" fmla="*/ 9066 w 10000"/>
                  <a:gd name="connsiteY62" fmla="*/ 9358 h 10000"/>
                  <a:gd name="connsiteX63" fmla="*/ 9050 w 10000"/>
                  <a:gd name="connsiteY63" fmla="*/ 9317 h 10000"/>
                  <a:gd name="connsiteX64" fmla="*/ 9020 w 10000"/>
                  <a:gd name="connsiteY64" fmla="*/ 9214 h 10000"/>
                  <a:gd name="connsiteX65" fmla="*/ 8983 w 10000"/>
                  <a:gd name="connsiteY65" fmla="*/ 9112 h 10000"/>
                  <a:gd name="connsiteX66" fmla="*/ 8953 w 10000"/>
                  <a:gd name="connsiteY66" fmla="*/ 9003 h 10000"/>
                  <a:gd name="connsiteX67" fmla="*/ 8915 w 10000"/>
                  <a:gd name="connsiteY67" fmla="*/ 8880 h 10000"/>
                  <a:gd name="connsiteX68" fmla="*/ 8877 w 10000"/>
                  <a:gd name="connsiteY68" fmla="*/ 8757 h 10000"/>
                  <a:gd name="connsiteX69" fmla="*/ 8802 w 10000"/>
                  <a:gd name="connsiteY69" fmla="*/ 8484 h 10000"/>
                  <a:gd name="connsiteX70" fmla="*/ 8711 w 10000"/>
                  <a:gd name="connsiteY70" fmla="*/ 8190 h 10000"/>
                  <a:gd name="connsiteX71" fmla="*/ 8613 w 10000"/>
                  <a:gd name="connsiteY71" fmla="*/ 7869 h 10000"/>
                  <a:gd name="connsiteX72" fmla="*/ 8508 w 10000"/>
                  <a:gd name="connsiteY72" fmla="*/ 7534 h 10000"/>
                  <a:gd name="connsiteX73" fmla="*/ 8402 w 10000"/>
                  <a:gd name="connsiteY73" fmla="*/ 7186 h 10000"/>
                  <a:gd name="connsiteX74" fmla="*/ 8289 w 10000"/>
                  <a:gd name="connsiteY74" fmla="*/ 6817 h 10000"/>
                  <a:gd name="connsiteX75" fmla="*/ 8176 w 10000"/>
                  <a:gd name="connsiteY75" fmla="*/ 6441 h 10000"/>
                  <a:gd name="connsiteX76" fmla="*/ 8056 w 10000"/>
                  <a:gd name="connsiteY76" fmla="*/ 6059 h 10000"/>
                  <a:gd name="connsiteX77" fmla="*/ 7687 w 10000"/>
                  <a:gd name="connsiteY77" fmla="*/ 4884 h 10000"/>
                  <a:gd name="connsiteX78" fmla="*/ 7566 w 10000"/>
                  <a:gd name="connsiteY78" fmla="*/ 4501 h 10000"/>
                  <a:gd name="connsiteX79" fmla="*/ 7453 w 10000"/>
                  <a:gd name="connsiteY79" fmla="*/ 4126 h 10000"/>
                  <a:gd name="connsiteX80" fmla="*/ 7332 w 10000"/>
                  <a:gd name="connsiteY80" fmla="*/ 3743 h 10000"/>
                  <a:gd name="connsiteX81" fmla="*/ 7212 w 10000"/>
                  <a:gd name="connsiteY81" fmla="*/ 3388 h 10000"/>
                  <a:gd name="connsiteX82" fmla="*/ 7099 w 10000"/>
                  <a:gd name="connsiteY82" fmla="*/ 3040 h 10000"/>
                  <a:gd name="connsiteX83" fmla="*/ 6993 w 10000"/>
                  <a:gd name="connsiteY83" fmla="*/ 2719 h 10000"/>
                  <a:gd name="connsiteX84" fmla="*/ 6910 w 10000"/>
                  <a:gd name="connsiteY84" fmla="*/ 2466 h 10000"/>
                  <a:gd name="connsiteX85" fmla="*/ 6910 w 10000"/>
                  <a:gd name="connsiteY85" fmla="*/ 2466 h 10000"/>
                  <a:gd name="connsiteX86" fmla="*/ 6812 w 10000"/>
                  <a:gd name="connsiteY86" fmla="*/ 2186 h 10000"/>
                  <a:gd name="connsiteX87" fmla="*/ 6767 w 10000"/>
                  <a:gd name="connsiteY87" fmla="*/ 2049 h 10000"/>
                  <a:gd name="connsiteX88" fmla="*/ 6722 w 10000"/>
                  <a:gd name="connsiteY88" fmla="*/ 1926 h 10000"/>
                  <a:gd name="connsiteX89" fmla="*/ 6677 w 10000"/>
                  <a:gd name="connsiteY89" fmla="*/ 1803 h 10000"/>
                  <a:gd name="connsiteX90" fmla="*/ 6639 w 10000"/>
                  <a:gd name="connsiteY90" fmla="*/ 1694 h 10000"/>
                  <a:gd name="connsiteX91" fmla="*/ 6564 w 10000"/>
                  <a:gd name="connsiteY91" fmla="*/ 1496 h 10000"/>
                  <a:gd name="connsiteX92" fmla="*/ 6534 w 10000"/>
                  <a:gd name="connsiteY92" fmla="*/ 1414 h 10000"/>
                  <a:gd name="connsiteX93" fmla="*/ 6503 w 10000"/>
                  <a:gd name="connsiteY93" fmla="*/ 1339 h 10000"/>
                  <a:gd name="connsiteX94" fmla="*/ 6473 w 10000"/>
                  <a:gd name="connsiteY94" fmla="*/ 1270 h 10000"/>
                  <a:gd name="connsiteX95" fmla="*/ 6436 w 10000"/>
                  <a:gd name="connsiteY95" fmla="*/ 1209 h 10000"/>
                  <a:gd name="connsiteX96" fmla="*/ 6413 w 10000"/>
                  <a:gd name="connsiteY96" fmla="*/ 1161 h 10000"/>
                  <a:gd name="connsiteX97" fmla="*/ 6420 w 10000"/>
                  <a:gd name="connsiteY97" fmla="*/ 1161 h 10000"/>
                  <a:gd name="connsiteX98" fmla="*/ 6413 w 10000"/>
                  <a:gd name="connsiteY98" fmla="*/ 1148 h 10000"/>
                  <a:gd name="connsiteX99" fmla="*/ 6353 w 10000"/>
                  <a:gd name="connsiteY99" fmla="*/ 1052 h 10000"/>
                  <a:gd name="connsiteX100" fmla="*/ 6277 w 10000"/>
                  <a:gd name="connsiteY100" fmla="*/ 943 h 10000"/>
                  <a:gd name="connsiteX101" fmla="*/ 6202 w 10000"/>
                  <a:gd name="connsiteY101" fmla="*/ 854 h 10000"/>
                  <a:gd name="connsiteX102" fmla="*/ 6157 w 10000"/>
                  <a:gd name="connsiteY102" fmla="*/ 799 h 10000"/>
                  <a:gd name="connsiteX103" fmla="*/ 6112 w 10000"/>
                  <a:gd name="connsiteY103" fmla="*/ 751 h 10000"/>
                  <a:gd name="connsiteX104" fmla="*/ 6051 w 10000"/>
                  <a:gd name="connsiteY104" fmla="*/ 697 h 10000"/>
                  <a:gd name="connsiteX105" fmla="*/ 6044 w 10000"/>
                  <a:gd name="connsiteY105" fmla="*/ 690 h 10000"/>
                  <a:gd name="connsiteX106" fmla="*/ 6044 w 10000"/>
                  <a:gd name="connsiteY106" fmla="*/ 697 h 10000"/>
                  <a:gd name="connsiteX107" fmla="*/ 5991 w 10000"/>
                  <a:gd name="connsiteY107" fmla="*/ 663 h 10000"/>
                  <a:gd name="connsiteX108" fmla="*/ 5976 w 10000"/>
                  <a:gd name="connsiteY108" fmla="*/ 656 h 10000"/>
                  <a:gd name="connsiteX109" fmla="*/ 5961 w 10000"/>
                  <a:gd name="connsiteY109" fmla="*/ 649 h 10000"/>
                  <a:gd name="connsiteX110" fmla="*/ 5946 w 10000"/>
                  <a:gd name="connsiteY110" fmla="*/ 642 h 10000"/>
                  <a:gd name="connsiteX111" fmla="*/ 2080 w 10000"/>
                  <a:gd name="connsiteY111" fmla="*/ 642 h 10000"/>
                  <a:gd name="connsiteX112" fmla="*/ 1899 w 10000"/>
                  <a:gd name="connsiteY112" fmla="*/ 649 h 10000"/>
                  <a:gd name="connsiteX113" fmla="*/ 1756 w 10000"/>
                  <a:gd name="connsiteY113" fmla="*/ 656 h 10000"/>
                  <a:gd name="connsiteX114" fmla="*/ 1643 w 10000"/>
                  <a:gd name="connsiteY114" fmla="*/ 669 h 10000"/>
                  <a:gd name="connsiteX115" fmla="*/ 1500 w 10000"/>
                  <a:gd name="connsiteY115" fmla="*/ 690 h 10000"/>
                  <a:gd name="connsiteX116" fmla="*/ 1417 w 10000"/>
                  <a:gd name="connsiteY116" fmla="*/ 704 h 10000"/>
                  <a:gd name="connsiteX117" fmla="*/ 1304 w 10000"/>
                  <a:gd name="connsiteY117" fmla="*/ 738 h 10000"/>
                  <a:gd name="connsiteX118" fmla="*/ 1198 w 10000"/>
                  <a:gd name="connsiteY118" fmla="*/ 772 h 10000"/>
                  <a:gd name="connsiteX119" fmla="*/ 1123 w 10000"/>
                  <a:gd name="connsiteY119" fmla="*/ 813 h 10000"/>
                  <a:gd name="connsiteX120" fmla="*/ 1070 w 10000"/>
                  <a:gd name="connsiteY120" fmla="*/ 840 h 10000"/>
                  <a:gd name="connsiteX121" fmla="*/ 1017 w 10000"/>
                  <a:gd name="connsiteY121" fmla="*/ 881 h 10000"/>
                  <a:gd name="connsiteX122" fmla="*/ 957 w 10000"/>
                  <a:gd name="connsiteY122" fmla="*/ 915 h 10000"/>
                  <a:gd name="connsiteX123" fmla="*/ 897 w 10000"/>
                  <a:gd name="connsiteY123" fmla="*/ 977 h 10000"/>
                  <a:gd name="connsiteX124" fmla="*/ 897 w 10000"/>
                  <a:gd name="connsiteY124" fmla="*/ 977 h 10000"/>
                  <a:gd name="connsiteX125" fmla="*/ 882 w 10000"/>
                  <a:gd name="connsiteY125" fmla="*/ 990 h 10000"/>
                  <a:gd name="connsiteX126" fmla="*/ 844 w 10000"/>
                  <a:gd name="connsiteY126" fmla="*/ 1045 h 10000"/>
                  <a:gd name="connsiteX127" fmla="*/ 791 w 10000"/>
                  <a:gd name="connsiteY127" fmla="*/ 1148 h 10000"/>
                  <a:gd name="connsiteX128" fmla="*/ 746 w 10000"/>
                  <a:gd name="connsiteY128" fmla="*/ 1270 h 10000"/>
                  <a:gd name="connsiteX129" fmla="*/ 723 w 10000"/>
                  <a:gd name="connsiteY129" fmla="*/ 1393 h 10000"/>
                  <a:gd name="connsiteX130" fmla="*/ 716 w 10000"/>
                  <a:gd name="connsiteY130" fmla="*/ 1482 h 10000"/>
                  <a:gd name="connsiteX131" fmla="*/ 716 w 10000"/>
                  <a:gd name="connsiteY131" fmla="*/ 1482 h 10000"/>
                  <a:gd name="connsiteX132" fmla="*/ 708 w 10000"/>
                  <a:gd name="connsiteY132" fmla="*/ 1639 h 10000"/>
                  <a:gd name="connsiteX133" fmla="*/ 708 w 10000"/>
                  <a:gd name="connsiteY133" fmla="*/ 1790 h 10000"/>
                  <a:gd name="connsiteX134" fmla="*/ 716 w 10000"/>
                  <a:gd name="connsiteY134" fmla="*/ 1940 h 10000"/>
                  <a:gd name="connsiteX135" fmla="*/ 723 w 10000"/>
                  <a:gd name="connsiteY135" fmla="*/ 2077 h 10000"/>
                  <a:gd name="connsiteX136" fmla="*/ 723 w 10000"/>
                  <a:gd name="connsiteY136" fmla="*/ 8525 h 10000"/>
                  <a:gd name="connsiteX137" fmla="*/ 15 w 10000"/>
                  <a:gd name="connsiteY137" fmla="*/ 8525 h 10000"/>
                  <a:gd name="connsiteX138" fmla="*/ 15 w 10000"/>
                  <a:gd name="connsiteY138" fmla="*/ 2077 h 10000"/>
                  <a:gd name="connsiteX139" fmla="*/ 8 w 10000"/>
                  <a:gd name="connsiteY139" fmla="*/ 1940 h 10000"/>
                  <a:gd name="connsiteX140" fmla="*/ 0 w 10000"/>
                  <a:gd name="connsiteY140" fmla="*/ 1790 h 10000"/>
                  <a:gd name="connsiteX141" fmla="*/ 0 w 10000"/>
                  <a:gd name="connsiteY141" fmla="*/ 1639 h 10000"/>
                  <a:gd name="connsiteX142" fmla="*/ 8 w 10000"/>
                  <a:gd name="connsiteY142" fmla="*/ 1482 h 10000"/>
                  <a:gd name="connsiteX143" fmla="*/ 15 w 10000"/>
                  <a:gd name="connsiteY143" fmla="*/ 1421 h 10000"/>
                  <a:gd name="connsiteX144" fmla="*/ 30 w 10000"/>
                  <a:gd name="connsiteY144" fmla="*/ 1264 h 10000"/>
                  <a:gd name="connsiteX145" fmla="*/ 60 w 10000"/>
                  <a:gd name="connsiteY145" fmla="*/ 1107 h 10000"/>
                  <a:gd name="connsiteX146" fmla="*/ 143 w 10000"/>
                  <a:gd name="connsiteY146" fmla="*/ 902 h 10000"/>
                  <a:gd name="connsiteX147" fmla="*/ 219 w 10000"/>
                  <a:gd name="connsiteY147" fmla="*/ 751 h 10000"/>
                  <a:gd name="connsiteX148" fmla="*/ 256 w 10000"/>
                  <a:gd name="connsiteY148" fmla="*/ 704 h 10000"/>
                  <a:gd name="connsiteX149" fmla="*/ 301 w 10000"/>
                  <a:gd name="connsiteY149" fmla="*/ 635 h 10000"/>
                  <a:gd name="connsiteX150" fmla="*/ 354 w 10000"/>
                  <a:gd name="connsiteY150" fmla="*/ 574 h 10000"/>
                  <a:gd name="connsiteX151" fmla="*/ 399 w 10000"/>
                  <a:gd name="connsiteY151" fmla="*/ 519 h 10000"/>
                  <a:gd name="connsiteX152" fmla="*/ 460 w 10000"/>
                  <a:gd name="connsiteY152" fmla="*/ 458 h 10000"/>
                  <a:gd name="connsiteX153" fmla="*/ 535 w 10000"/>
                  <a:gd name="connsiteY153" fmla="*/ 403 h 10000"/>
                  <a:gd name="connsiteX154" fmla="*/ 588 w 10000"/>
                  <a:gd name="connsiteY154" fmla="*/ 362 h 10000"/>
                  <a:gd name="connsiteX155" fmla="*/ 671 w 10000"/>
                  <a:gd name="connsiteY155" fmla="*/ 314 h 10000"/>
                  <a:gd name="connsiteX156" fmla="*/ 761 w 10000"/>
                  <a:gd name="connsiteY156" fmla="*/ 260 h 10000"/>
                  <a:gd name="connsiteX157" fmla="*/ 821 w 10000"/>
                  <a:gd name="connsiteY157" fmla="*/ 232 h 10000"/>
                  <a:gd name="connsiteX158" fmla="*/ 919 w 10000"/>
                  <a:gd name="connsiteY158" fmla="*/ 178 h 10000"/>
                  <a:gd name="connsiteX159" fmla="*/ 1032 w 10000"/>
                  <a:gd name="connsiteY159" fmla="*/ 143 h 10000"/>
                  <a:gd name="connsiteX160" fmla="*/ 1153 w 10000"/>
                  <a:gd name="connsiteY160" fmla="*/ 109 h 10000"/>
                  <a:gd name="connsiteX161" fmla="*/ 1221 w 10000"/>
                  <a:gd name="connsiteY161" fmla="*/ 89 h 10000"/>
                  <a:gd name="connsiteX162" fmla="*/ 1349 w 10000"/>
                  <a:gd name="connsiteY162" fmla="*/ 61 h 10000"/>
                  <a:gd name="connsiteX163" fmla="*/ 1500 w 10000"/>
                  <a:gd name="connsiteY163" fmla="*/ 41 h 10000"/>
                  <a:gd name="connsiteX164" fmla="*/ 1658 w 10000"/>
                  <a:gd name="connsiteY164" fmla="*/ 20 h 10000"/>
                  <a:gd name="connsiteX165" fmla="*/ 1726 w 10000"/>
                  <a:gd name="connsiteY165" fmla="*/ 14 h 10000"/>
                  <a:gd name="connsiteX166" fmla="*/ 1899 w 10000"/>
                  <a:gd name="connsiteY166" fmla="*/ 7 h 10000"/>
                  <a:gd name="connsiteX167" fmla="*/ 2080 w 10000"/>
                  <a:gd name="connsiteY16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0000" h="10000">
                    <a:moveTo>
                      <a:pt x="2080" y="0"/>
                    </a:moveTo>
                    <a:lnTo>
                      <a:pt x="5991" y="0"/>
                    </a:lnTo>
                    <a:cubicBezTo>
                      <a:pt x="6016" y="2"/>
                      <a:pt x="6041" y="5"/>
                      <a:pt x="6066" y="7"/>
                    </a:cubicBezTo>
                    <a:cubicBezTo>
                      <a:pt x="6081" y="9"/>
                      <a:pt x="6097" y="12"/>
                      <a:pt x="6112" y="14"/>
                    </a:cubicBezTo>
                    <a:cubicBezTo>
                      <a:pt x="6132" y="18"/>
                      <a:pt x="6152" y="23"/>
                      <a:pt x="6172" y="27"/>
                    </a:cubicBezTo>
                    <a:cubicBezTo>
                      <a:pt x="6195" y="36"/>
                      <a:pt x="6217" y="46"/>
                      <a:pt x="6240" y="55"/>
                    </a:cubicBezTo>
                    <a:cubicBezTo>
                      <a:pt x="6252" y="59"/>
                      <a:pt x="6265" y="64"/>
                      <a:pt x="6277" y="68"/>
                    </a:cubicBezTo>
                    <a:lnTo>
                      <a:pt x="6338" y="102"/>
                    </a:lnTo>
                    <a:lnTo>
                      <a:pt x="6390" y="130"/>
                    </a:lnTo>
                    <a:lnTo>
                      <a:pt x="6436" y="164"/>
                    </a:lnTo>
                    <a:cubicBezTo>
                      <a:pt x="6456" y="178"/>
                      <a:pt x="6476" y="191"/>
                      <a:pt x="6496" y="205"/>
                    </a:cubicBezTo>
                    <a:lnTo>
                      <a:pt x="6549" y="246"/>
                    </a:lnTo>
                    <a:cubicBezTo>
                      <a:pt x="6569" y="264"/>
                      <a:pt x="6589" y="283"/>
                      <a:pt x="6609" y="301"/>
                    </a:cubicBezTo>
                    <a:lnTo>
                      <a:pt x="6677" y="369"/>
                    </a:lnTo>
                    <a:cubicBezTo>
                      <a:pt x="6689" y="385"/>
                      <a:pt x="6702" y="401"/>
                      <a:pt x="6714" y="417"/>
                    </a:cubicBezTo>
                    <a:cubicBezTo>
                      <a:pt x="6737" y="442"/>
                      <a:pt x="6759" y="467"/>
                      <a:pt x="6782" y="492"/>
                    </a:cubicBezTo>
                    <a:cubicBezTo>
                      <a:pt x="6807" y="524"/>
                      <a:pt x="6833" y="555"/>
                      <a:pt x="6858" y="587"/>
                    </a:cubicBezTo>
                    <a:cubicBezTo>
                      <a:pt x="6885" y="624"/>
                      <a:pt x="6913" y="660"/>
                      <a:pt x="6940" y="697"/>
                    </a:cubicBezTo>
                    <a:cubicBezTo>
                      <a:pt x="6970" y="745"/>
                      <a:pt x="7001" y="792"/>
                      <a:pt x="7031" y="840"/>
                    </a:cubicBezTo>
                    <a:cubicBezTo>
                      <a:pt x="7049" y="879"/>
                      <a:pt x="7066" y="917"/>
                      <a:pt x="7084" y="956"/>
                    </a:cubicBezTo>
                    <a:cubicBezTo>
                      <a:pt x="7096" y="977"/>
                      <a:pt x="7109" y="997"/>
                      <a:pt x="7121" y="1018"/>
                    </a:cubicBezTo>
                    <a:cubicBezTo>
                      <a:pt x="7131" y="1041"/>
                      <a:pt x="7141" y="1063"/>
                      <a:pt x="7151" y="1086"/>
                    </a:cubicBezTo>
                    <a:cubicBezTo>
                      <a:pt x="7161" y="1111"/>
                      <a:pt x="7172" y="1136"/>
                      <a:pt x="7182" y="1161"/>
                    </a:cubicBezTo>
                    <a:cubicBezTo>
                      <a:pt x="7192" y="1191"/>
                      <a:pt x="7202" y="1220"/>
                      <a:pt x="7212" y="1250"/>
                    </a:cubicBezTo>
                    <a:cubicBezTo>
                      <a:pt x="7237" y="1314"/>
                      <a:pt x="7262" y="1377"/>
                      <a:pt x="7287" y="1441"/>
                    </a:cubicBezTo>
                    <a:cubicBezTo>
                      <a:pt x="7302" y="1480"/>
                      <a:pt x="7317" y="1518"/>
                      <a:pt x="7332" y="1557"/>
                    </a:cubicBezTo>
                    <a:cubicBezTo>
                      <a:pt x="7347" y="1596"/>
                      <a:pt x="7363" y="1634"/>
                      <a:pt x="7378" y="1673"/>
                    </a:cubicBezTo>
                    <a:lnTo>
                      <a:pt x="7423" y="1796"/>
                    </a:lnTo>
                    <a:cubicBezTo>
                      <a:pt x="7438" y="1842"/>
                      <a:pt x="7453" y="1887"/>
                      <a:pt x="7468" y="1933"/>
                    </a:cubicBezTo>
                    <a:cubicBezTo>
                      <a:pt x="7498" y="2029"/>
                      <a:pt x="7528" y="2124"/>
                      <a:pt x="7558" y="2220"/>
                    </a:cubicBezTo>
                    <a:cubicBezTo>
                      <a:pt x="7566" y="2240"/>
                      <a:pt x="7573" y="2261"/>
                      <a:pt x="7581" y="2281"/>
                    </a:cubicBezTo>
                    <a:cubicBezTo>
                      <a:pt x="7614" y="2384"/>
                      <a:pt x="7646" y="2486"/>
                      <a:pt x="7679" y="2589"/>
                    </a:cubicBezTo>
                    <a:cubicBezTo>
                      <a:pt x="7717" y="2696"/>
                      <a:pt x="7754" y="2803"/>
                      <a:pt x="7792" y="2910"/>
                    </a:cubicBezTo>
                    <a:cubicBezTo>
                      <a:pt x="7830" y="3026"/>
                      <a:pt x="7867" y="3142"/>
                      <a:pt x="7905" y="3258"/>
                    </a:cubicBezTo>
                    <a:cubicBezTo>
                      <a:pt x="7943" y="3376"/>
                      <a:pt x="7980" y="3495"/>
                      <a:pt x="8018" y="3613"/>
                    </a:cubicBezTo>
                    <a:cubicBezTo>
                      <a:pt x="8058" y="3738"/>
                      <a:pt x="8099" y="3864"/>
                      <a:pt x="8139" y="3989"/>
                    </a:cubicBezTo>
                    <a:lnTo>
                      <a:pt x="8259" y="4365"/>
                    </a:lnTo>
                    <a:cubicBezTo>
                      <a:pt x="8299" y="4495"/>
                      <a:pt x="8340" y="4624"/>
                      <a:pt x="8380" y="4754"/>
                    </a:cubicBezTo>
                    <a:lnTo>
                      <a:pt x="8749" y="5922"/>
                    </a:lnTo>
                    <a:cubicBezTo>
                      <a:pt x="8787" y="6050"/>
                      <a:pt x="8824" y="6177"/>
                      <a:pt x="8862" y="6305"/>
                    </a:cubicBezTo>
                    <a:cubicBezTo>
                      <a:pt x="8900" y="6430"/>
                      <a:pt x="8937" y="6555"/>
                      <a:pt x="8975" y="6680"/>
                    </a:cubicBezTo>
                    <a:cubicBezTo>
                      <a:pt x="9015" y="6805"/>
                      <a:pt x="9056" y="6931"/>
                      <a:pt x="9096" y="7056"/>
                    </a:cubicBezTo>
                    <a:lnTo>
                      <a:pt x="9201" y="7404"/>
                    </a:lnTo>
                    <a:cubicBezTo>
                      <a:pt x="9234" y="7516"/>
                      <a:pt x="9266" y="7627"/>
                      <a:pt x="9299" y="7739"/>
                    </a:cubicBezTo>
                    <a:cubicBezTo>
                      <a:pt x="9332" y="7846"/>
                      <a:pt x="9364" y="7953"/>
                      <a:pt x="9397" y="8060"/>
                    </a:cubicBezTo>
                    <a:cubicBezTo>
                      <a:pt x="9430" y="8158"/>
                      <a:pt x="9462" y="8256"/>
                      <a:pt x="9495" y="8354"/>
                    </a:cubicBezTo>
                    <a:cubicBezTo>
                      <a:pt x="9520" y="8443"/>
                      <a:pt x="9545" y="8531"/>
                      <a:pt x="9570" y="8620"/>
                    </a:cubicBezTo>
                    <a:cubicBezTo>
                      <a:pt x="9583" y="8663"/>
                      <a:pt x="9595" y="8707"/>
                      <a:pt x="9608" y="8750"/>
                    </a:cubicBezTo>
                    <a:cubicBezTo>
                      <a:pt x="9621" y="8789"/>
                      <a:pt x="9633" y="8827"/>
                      <a:pt x="9646" y="8866"/>
                    </a:cubicBezTo>
                    <a:cubicBezTo>
                      <a:pt x="9656" y="8905"/>
                      <a:pt x="9666" y="8943"/>
                      <a:pt x="9676" y="8982"/>
                    </a:cubicBezTo>
                    <a:cubicBezTo>
                      <a:pt x="9686" y="9016"/>
                      <a:pt x="9696" y="9051"/>
                      <a:pt x="9706" y="9085"/>
                    </a:cubicBezTo>
                    <a:cubicBezTo>
                      <a:pt x="9716" y="9117"/>
                      <a:pt x="9726" y="9148"/>
                      <a:pt x="9736" y="9180"/>
                    </a:cubicBezTo>
                    <a:cubicBezTo>
                      <a:pt x="9746" y="9207"/>
                      <a:pt x="9756" y="9235"/>
                      <a:pt x="9766" y="9262"/>
                    </a:cubicBezTo>
                    <a:cubicBezTo>
                      <a:pt x="9774" y="9289"/>
                      <a:pt x="9781" y="9317"/>
                      <a:pt x="9789" y="9344"/>
                    </a:cubicBezTo>
                    <a:lnTo>
                      <a:pt x="9804" y="9413"/>
                    </a:lnTo>
                    <a:cubicBezTo>
                      <a:pt x="9812" y="9433"/>
                      <a:pt x="9819" y="9454"/>
                      <a:pt x="9827" y="9474"/>
                    </a:cubicBezTo>
                    <a:cubicBezTo>
                      <a:pt x="9834" y="9490"/>
                      <a:pt x="9842" y="9506"/>
                      <a:pt x="9849" y="9522"/>
                    </a:cubicBezTo>
                    <a:cubicBezTo>
                      <a:pt x="9852" y="9533"/>
                      <a:pt x="9854" y="9545"/>
                      <a:pt x="9857" y="9556"/>
                    </a:cubicBezTo>
                    <a:cubicBezTo>
                      <a:pt x="9859" y="9565"/>
                      <a:pt x="9862" y="9574"/>
                      <a:pt x="9864" y="9583"/>
                    </a:cubicBezTo>
                    <a:cubicBezTo>
                      <a:pt x="9909" y="9722"/>
                      <a:pt x="9955" y="9861"/>
                      <a:pt x="10000" y="10000"/>
                    </a:cubicBezTo>
                    <a:lnTo>
                      <a:pt x="3528" y="9964"/>
                    </a:lnTo>
                    <a:cubicBezTo>
                      <a:pt x="3575" y="9756"/>
                      <a:pt x="3522" y="9566"/>
                      <a:pt x="3569" y="9358"/>
                    </a:cubicBezTo>
                    <a:lnTo>
                      <a:pt x="9066" y="9358"/>
                    </a:lnTo>
                    <a:cubicBezTo>
                      <a:pt x="9061" y="9344"/>
                      <a:pt x="9055" y="9331"/>
                      <a:pt x="9050" y="9317"/>
                    </a:cubicBezTo>
                    <a:cubicBezTo>
                      <a:pt x="9040" y="9283"/>
                      <a:pt x="9030" y="9248"/>
                      <a:pt x="9020" y="9214"/>
                    </a:cubicBezTo>
                    <a:cubicBezTo>
                      <a:pt x="9008" y="9180"/>
                      <a:pt x="8995" y="9146"/>
                      <a:pt x="8983" y="9112"/>
                    </a:cubicBezTo>
                    <a:cubicBezTo>
                      <a:pt x="8973" y="9076"/>
                      <a:pt x="8963" y="9039"/>
                      <a:pt x="8953" y="9003"/>
                    </a:cubicBezTo>
                    <a:cubicBezTo>
                      <a:pt x="8940" y="8962"/>
                      <a:pt x="8928" y="8921"/>
                      <a:pt x="8915" y="8880"/>
                    </a:cubicBezTo>
                    <a:cubicBezTo>
                      <a:pt x="8902" y="8839"/>
                      <a:pt x="8890" y="8798"/>
                      <a:pt x="8877" y="8757"/>
                    </a:cubicBezTo>
                    <a:lnTo>
                      <a:pt x="8802" y="8484"/>
                    </a:lnTo>
                    <a:cubicBezTo>
                      <a:pt x="8772" y="8386"/>
                      <a:pt x="8741" y="8288"/>
                      <a:pt x="8711" y="8190"/>
                    </a:cubicBezTo>
                    <a:cubicBezTo>
                      <a:pt x="8678" y="8083"/>
                      <a:pt x="8646" y="7976"/>
                      <a:pt x="8613" y="7869"/>
                    </a:cubicBezTo>
                    <a:lnTo>
                      <a:pt x="8508" y="7534"/>
                    </a:lnTo>
                    <a:cubicBezTo>
                      <a:pt x="8473" y="7418"/>
                      <a:pt x="8437" y="7302"/>
                      <a:pt x="8402" y="7186"/>
                    </a:cubicBezTo>
                    <a:cubicBezTo>
                      <a:pt x="8364" y="7063"/>
                      <a:pt x="8327" y="6940"/>
                      <a:pt x="8289" y="6817"/>
                    </a:cubicBezTo>
                    <a:cubicBezTo>
                      <a:pt x="8251" y="6692"/>
                      <a:pt x="8214" y="6566"/>
                      <a:pt x="8176" y="6441"/>
                    </a:cubicBezTo>
                    <a:lnTo>
                      <a:pt x="8056" y="6059"/>
                    </a:lnTo>
                    <a:lnTo>
                      <a:pt x="7687" y="4884"/>
                    </a:lnTo>
                    <a:cubicBezTo>
                      <a:pt x="7647" y="4756"/>
                      <a:pt x="7606" y="4629"/>
                      <a:pt x="7566" y="4501"/>
                    </a:cubicBezTo>
                    <a:cubicBezTo>
                      <a:pt x="7528" y="4376"/>
                      <a:pt x="7491" y="4251"/>
                      <a:pt x="7453" y="4126"/>
                    </a:cubicBezTo>
                    <a:cubicBezTo>
                      <a:pt x="7413" y="3998"/>
                      <a:pt x="7372" y="3871"/>
                      <a:pt x="7332" y="3743"/>
                    </a:cubicBezTo>
                    <a:lnTo>
                      <a:pt x="7212" y="3388"/>
                    </a:lnTo>
                    <a:cubicBezTo>
                      <a:pt x="7174" y="3272"/>
                      <a:pt x="7137" y="3156"/>
                      <a:pt x="7099" y="3040"/>
                    </a:cubicBezTo>
                    <a:cubicBezTo>
                      <a:pt x="7064" y="2933"/>
                      <a:pt x="7028" y="2826"/>
                      <a:pt x="6993" y="2719"/>
                    </a:cubicBezTo>
                    <a:cubicBezTo>
                      <a:pt x="6965" y="2635"/>
                      <a:pt x="6938" y="2550"/>
                      <a:pt x="6910" y="2466"/>
                    </a:cubicBezTo>
                    <a:lnTo>
                      <a:pt x="6910" y="2466"/>
                    </a:lnTo>
                    <a:cubicBezTo>
                      <a:pt x="6877" y="2373"/>
                      <a:pt x="6845" y="2279"/>
                      <a:pt x="6812" y="2186"/>
                    </a:cubicBezTo>
                    <a:cubicBezTo>
                      <a:pt x="6797" y="2140"/>
                      <a:pt x="6782" y="2095"/>
                      <a:pt x="6767" y="2049"/>
                    </a:cubicBezTo>
                    <a:lnTo>
                      <a:pt x="6722" y="1926"/>
                    </a:lnTo>
                    <a:lnTo>
                      <a:pt x="6677" y="1803"/>
                    </a:lnTo>
                    <a:cubicBezTo>
                      <a:pt x="6664" y="1767"/>
                      <a:pt x="6652" y="1730"/>
                      <a:pt x="6639" y="1694"/>
                    </a:cubicBezTo>
                    <a:lnTo>
                      <a:pt x="6564" y="1496"/>
                    </a:lnTo>
                    <a:cubicBezTo>
                      <a:pt x="6554" y="1469"/>
                      <a:pt x="6544" y="1441"/>
                      <a:pt x="6534" y="1414"/>
                    </a:cubicBezTo>
                    <a:cubicBezTo>
                      <a:pt x="6524" y="1389"/>
                      <a:pt x="6513" y="1364"/>
                      <a:pt x="6503" y="1339"/>
                    </a:cubicBezTo>
                    <a:lnTo>
                      <a:pt x="6473" y="1270"/>
                    </a:lnTo>
                    <a:cubicBezTo>
                      <a:pt x="6461" y="1250"/>
                      <a:pt x="6448" y="1229"/>
                      <a:pt x="6436" y="1209"/>
                    </a:cubicBezTo>
                    <a:cubicBezTo>
                      <a:pt x="6428" y="1193"/>
                      <a:pt x="6421" y="1177"/>
                      <a:pt x="6413" y="1161"/>
                    </a:cubicBezTo>
                    <a:lnTo>
                      <a:pt x="6420" y="1161"/>
                    </a:lnTo>
                    <a:cubicBezTo>
                      <a:pt x="6418" y="1157"/>
                      <a:pt x="6415" y="1152"/>
                      <a:pt x="6413" y="1148"/>
                    </a:cubicBezTo>
                    <a:lnTo>
                      <a:pt x="6353" y="1052"/>
                    </a:lnTo>
                    <a:lnTo>
                      <a:pt x="6277" y="943"/>
                    </a:lnTo>
                    <a:cubicBezTo>
                      <a:pt x="6252" y="913"/>
                      <a:pt x="6227" y="884"/>
                      <a:pt x="6202" y="854"/>
                    </a:cubicBezTo>
                    <a:cubicBezTo>
                      <a:pt x="6187" y="836"/>
                      <a:pt x="6172" y="817"/>
                      <a:pt x="6157" y="799"/>
                    </a:cubicBezTo>
                    <a:lnTo>
                      <a:pt x="6112" y="751"/>
                    </a:lnTo>
                    <a:cubicBezTo>
                      <a:pt x="6092" y="733"/>
                      <a:pt x="6071" y="715"/>
                      <a:pt x="6051" y="697"/>
                    </a:cubicBezTo>
                    <a:lnTo>
                      <a:pt x="6044" y="690"/>
                    </a:lnTo>
                    <a:lnTo>
                      <a:pt x="6044" y="697"/>
                    </a:lnTo>
                    <a:cubicBezTo>
                      <a:pt x="6026" y="686"/>
                      <a:pt x="6009" y="674"/>
                      <a:pt x="5991" y="663"/>
                    </a:cubicBezTo>
                    <a:cubicBezTo>
                      <a:pt x="5986" y="661"/>
                      <a:pt x="5981" y="658"/>
                      <a:pt x="5976" y="656"/>
                    </a:cubicBezTo>
                    <a:cubicBezTo>
                      <a:pt x="5971" y="654"/>
                      <a:pt x="5966" y="651"/>
                      <a:pt x="5961" y="649"/>
                    </a:cubicBezTo>
                    <a:cubicBezTo>
                      <a:pt x="5956" y="647"/>
                      <a:pt x="5951" y="644"/>
                      <a:pt x="5946" y="642"/>
                    </a:cubicBezTo>
                    <a:lnTo>
                      <a:pt x="2080" y="642"/>
                    </a:lnTo>
                    <a:lnTo>
                      <a:pt x="1899" y="649"/>
                    </a:lnTo>
                    <a:lnTo>
                      <a:pt x="1756" y="656"/>
                    </a:lnTo>
                    <a:lnTo>
                      <a:pt x="1643" y="669"/>
                    </a:lnTo>
                    <a:lnTo>
                      <a:pt x="1500" y="690"/>
                    </a:lnTo>
                    <a:lnTo>
                      <a:pt x="1417" y="704"/>
                    </a:lnTo>
                    <a:cubicBezTo>
                      <a:pt x="1379" y="715"/>
                      <a:pt x="1342" y="727"/>
                      <a:pt x="1304" y="738"/>
                    </a:cubicBezTo>
                    <a:lnTo>
                      <a:pt x="1198" y="772"/>
                    </a:lnTo>
                    <a:cubicBezTo>
                      <a:pt x="1173" y="786"/>
                      <a:pt x="1148" y="799"/>
                      <a:pt x="1123" y="813"/>
                    </a:cubicBezTo>
                    <a:lnTo>
                      <a:pt x="1070" y="840"/>
                    </a:lnTo>
                    <a:lnTo>
                      <a:pt x="1017" y="881"/>
                    </a:lnTo>
                    <a:cubicBezTo>
                      <a:pt x="997" y="892"/>
                      <a:pt x="977" y="904"/>
                      <a:pt x="957" y="915"/>
                    </a:cubicBezTo>
                    <a:cubicBezTo>
                      <a:pt x="937" y="936"/>
                      <a:pt x="917" y="956"/>
                      <a:pt x="897" y="977"/>
                    </a:cubicBezTo>
                    <a:lnTo>
                      <a:pt x="897" y="977"/>
                    </a:lnTo>
                    <a:cubicBezTo>
                      <a:pt x="892" y="981"/>
                      <a:pt x="887" y="986"/>
                      <a:pt x="882" y="990"/>
                    </a:cubicBezTo>
                    <a:cubicBezTo>
                      <a:pt x="869" y="1008"/>
                      <a:pt x="857" y="1027"/>
                      <a:pt x="844" y="1045"/>
                    </a:cubicBezTo>
                    <a:cubicBezTo>
                      <a:pt x="826" y="1079"/>
                      <a:pt x="809" y="1114"/>
                      <a:pt x="791" y="1148"/>
                    </a:cubicBezTo>
                    <a:cubicBezTo>
                      <a:pt x="776" y="1189"/>
                      <a:pt x="761" y="1229"/>
                      <a:pt x="746" y="1270"/>
                    </a:cubicBezTo>
                    <a:cubicBezTo>
                      <a:pt x="738" y="1311"/>
                      <a:pt x="731" y="1352"/>
                      <a:pt x="723" y="1393"/>
                    </a:cubicBezTo>
                    <a:cubicBezTo>
                      <a:pt x="721" y="1423"/>
                      <a:pt x="718" y="1452"/>
                      <a:pt x="716" y="1482"/>
                    </a:cubicBezTo>
                    <a:lnTo>
                      <a:pt x="716" y="1482"/>
                    </a:lnTo>
                    <a:cubicBezTo>
                      <a:pt x="713" y="1534"/>
                      <a:pt x="711" y="1587"/>
                      <a:pt x="708" y="1639"/>
                    </a:cubicBezTo>
                    <a:lnTo>
                      <a:pt x="708" y="1790"/>
                    </a:lnTo>
                    <a:cubicBezTo>
                      <a:pt x="711" y="1840"/>
                      <a:pt x="713" y="1890"/>
                      <a:pt x="716" y="1940"/>
                    </a:cubicBezTo>
                    <a:cubicBezTo>
                      <a:pt x="718" y="1986"/>
                      <a:pt x="721" y="2031"/>
                      <a:pt x="723" y="2077"/>
                    </a:cubicBezTo>
                    <a:lnTo>
                      <a:pt x="723" y="8525"/>
                    </a:lnTo>
                    <a:lnTo>
                      <a:pt x="15" y="8525"/>
                    </a:lnTo>
                    <a:lnTo>
                      <a:pt x="15" y="2077"/>
                    </a:lnTo>
                    <a:cubicBezTo>
                      <a:pt x="13" y="2031"/>
                      <a:pt x="10" y="1986"/>
                      <a:pt x="8" y="1940"/>
                    </a:cubicBezTo>
                    <a:cubicBezTo>
                      <a:pt x="5" y="1890"/>
                      <a:pt x="3" y="1840"/>
                      <a:pt x="0" y="1790"/>
                    </a:cubicBezTo>
                    <a:lnTo>
                      <a:pt x="0" y="1639"/>
                    </a:lnTo>
                    <a:cubicBezTo>
                      <a:pt x="3" y="1587"/>
                      <a:pt x="5" y="1534"/>
                      <a:pt x="8" y="1482"/>
                    </a:cubicBezTo>
                    <a:cubicBezTo>
                      <a:pt x="10" y="1462"/>
                      <a:pt x="13" y="1441"/>
                      <a:pt x="15" y="1421"/>
                    </a:cubicBezTo>
                    <a:cubicBezTo>
                      <a:pt x="20" y="1369"/>
                      <a:pt x="25" y="1316"/>
                      <a:pt x="30" y="1264"/>
                    </a:cubicBezTo>
                    <a:cubicBezTo>
                      <a:pt x="40" y="1212"/>
                      <a:pt x="50" y="1159"/>
                      <a:pt x="60" y="1107"/>
                    </a:cubicBezTo>
                    <a:cubicBezTo>
                      <a:pt x="88" y="1039"/>
                      <a:pt x="115" y="970"/>
                      <a:pt x="143" y="902"/>
                    </a:cubicBezTo>
                    <a:cubicBezTo>
                      <a:pt x="168" y="852"/>
                      <a:pt x="194" y="801"/>
                      <a:pt x="219" y="751"/>
                    </a:cubicBezTo>
                    <a:cubicBezTo>
                      <a:pt x="231" y="735"/>
                      <a:pt x="244" y="720"/>
                      <a:pt x="256" y="704"/>
                    </a:cubicBezTo>
                    <a:lnTo>
                      <a:pt x="301" y="635"/>
                    </a:lnTo>
                    <a:cubicBezTo>
                      <a:pt x="319" y="615"/>
                      <a:pt x="336" y="594"/>
                      <a:pt x="354" y="574"/>
                    </a:cubicBezTo>
                    <a:cubicBezTo>
                      <a:pt x="369" y="556"/>
                      <a:pt x="384" y="537"/>
                      <a:pt x="399" y="519"/>
                    </a:cubicBezTo>
                    <a:lnTo>
                      <a:pt x="460" y="458"/>
                    </a:lnTo>
                    <a:cubicBezTo>
                      <a:pt x="485" y="440"/>
                      <a:pt x="510" y="421"/>
                      <a:pt x="535" y="403"/>
                    </a:cubicBezTo>
                    <a:lnTo>
                      <a:pt x="588" y="362"/>
                    </a:lnTo>
                    <a:lnTo>
                      <a:pt x="671" y="314"/>
                    </a:lnTo>
                    <a:lnTo>
                      <a:pt x="761" y="260"/>
                    </a:lnTo>
                    <a:cubicBezTo>
                      <a:pt x="781" y="251"/>
                      <a:pt x="801" y="241"/>
                      <a:pt x="821" y="232"/>
                    </a:cubicBezTo>
                    <a:lnTo>
                      <a:pt x="919" y="178"/>
                    </a:lnTo>
                    <a:lnTo>
                      <a:pt x="1032" y="143"/>
                    </a:lnTo>
                    <a:lnTo>
                      <a:pt x="1153" y="109"/>
                    </a:lnTo>
                    <a:cubicBezTo>
                      <a:pt x="1176" y="102"/>
                      <a:pt x="1198" y="96"/>
                      <a:pt x="1221" y="89"/>
                    </a:cubicBezTo>
                    <a:lnTo>
                      <a:pt x="1349" y="61"/>
                    </a:lnTo>
                    <a:lnTo>
                      <a:pt x="1500" y="41"/>
                    </a:lnTo>
                    <a:lnTo>
                      <a:pt x="1658" y="20"/>
                    </a:lnTo>
                    <a:lnTo>
                      <a:pt x="1726" y="14"/>
                    </a:lnTo>
                    <a:lnTo>
                      <a:pt x="1899" y="7"/>
                    </a:lnTo>
                    <a:lnTo>
                      <a:pt x="2080" y="0"/>
                    </a:lnTo>
                    <a:close/>
                  </a:path>
                </a:pathLst>
              </a:custGeom>
              <a:grpFill/>
              <a:ln w="0">
                <a:noFill/>
                <a:prstDash val="solid"/>
                <a:round/>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05" name="Freeform 518">
                <a:extLst>
                  <a:ext uri="{FF2B5EF4-FFF2-40B4-BE49-F238E27FC236}">
                    <a16:creationId xmlns:a16="http://schemas.microsoft.com/office/drawing/2014/main" id="{E5E9C7C5-1823-45F3-B960-67EB0B3D00DD}"/>
                  </a:ext>
                </a:extLst>
              </p:cNvPr>
              <p:cNvSpPr>
                <a:spLocks/>
              </p:cNvSpPr>
              <p:nvPr/>
            </p:nvSpPr>
            <p:spPr bwMode="auto">
              <a:xfrm>
                <a:off x="2496694" y="3277575"/>
                <a:ext cx="22622" cy="86086"/>
              </a:xfrm>
              <a:custGeom>
                <a:avLst/>
                <a:gdLst>
                  <a:gd name="T0" fmla="*/ 33 w 134"/>
                  <a:gd name="T1" fmla="*/ 0 h 586"/>
                  <a:gd name="T2" fmla="*/ 100 w 134"/>
                  <a:gd name="T3" fmla="*/ 0 h 586"/>
                  <a:gd name="T4" fmla="*/ 114 w 134"/>
                  <a:gd name="T5" fmla="*/ 3 h 586"/>
                  <a:gd name="T6" fmla="*/ 124 w 134"/>
                  <a:gd name="T7" fmla="*/ 10 h 586"/>
                  <a:gd name="T8" fmla="*/ 131 w 134"/>
                  <a:gd name="T9" fmla="*/ 21 h 586"/>
                  <a:gd name="T10" fmla="*/ 134 w 134"/>
                  <a:gd name="T11" fmla="*/ 34 h 586"/>
                  <a:gd name="T12" fmla="*/ 134 w 134"/>
                  <a:gd name="T13" fmla="*/ 553 h 586"/>
                  <a:gd name="T14" fmla="*/ 131 w 134"/>
                  <a:gd name="T15" fmla="*/ 565 h 586"/>
                  <a:gd name="T16" fmla="*/ 124 w 134"/>
                  <a:gd name="T17" fmla="*/ 576 h 586"/>
                  <a:gd name="T18" fmla="*/ 114 w 134"/>
                  <a:gd name="T19" fmla="*/ 583 h 586"/>
                  <a:gd name="T20" fmla="*/ 100 w 134"/>
                  <a:gd name="T21" fmla="*/ 586 h 586"/>
                  <a:gd name="T22" fmla="*/ 33 w 134"/>
                  <a:gd name="T23" fmla="*/ 586 h 586"/>
                  <a:gd name="T24" fmla="*/ 20 w 134"/>
                  <a:gd name="T25" fmla="*/ 583 h 586"/>
                  <a:gd name="T26" fmla="*/ 10 w 134"/>
                  <a:gd name="T27" fmla="*/ 576 h 586"/>
                  <a:gd name="T28" fmla="*/ 3 w 134"/>
                  <a:gd name="T29" fmla="*/ 565 h 586"/>
                  <a:gd name="T30" fmla="*/ 0 w 134"/>
                  <a:gd name="T31" fmla="*/ 553 h 586"/>
                  <a:gd name="T32" fmla="*/ 0 w 134"/>
                  <a:gd name="T33" fmla="*/ 34 h 586"/>
                  <a:gd name="T34" fmla="*/ 3 w 134"/>
                  <a:gd name="T35" fmla="*/ 21 h 586"/>
                  <a:gd name="T36" fmla="*/ 10 w 134"/>
                  <a:gd name="T37" fmla="*/ 10 h 586"/>
                  <a:gd name="T38" fmla="*/ 20 w 134"/>
                  <a:gd name="T39" fmla="*/ 3 h 586"/>
                  <a:gd name="T40" fmla="*/ 33 w 134"/>
                  <a:gd name="T41"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586">
                    <a:moveTo>
                      <a:pt x="33" y="0"/>
                    </a:moveTo>
                    <a:lnTo>
                      <a:pt x="100" y="0"/>
                    </a:lnTo>
                    <a:lnTo>
                      <a:pt x="114" y="3"/>
                    </a:lnTo>
                    <a:lnTo>
                      <a:pt x="124" y="10"/>
                    </a:lnTo>
                    <a:lnTo>
                      <a:pt x="131" y="21"/>
                    </a:lnTo>
                    <a:lnTo>
                      <a:pt x="134" y="34"/>
                    </a:lnTo>
                    <a:lnTo>
                      <a:pt x="134" y="553"/>
                    </a:lnTo>
                    <a:lnTo>
                      <a:pt x="131" y="565"/>
                    </a:lnTo>
                    <a:lnTo>
                      <a:pt x="124" y="576"/>
                    </a:lnTo>
                    <a:lnTo>
                      <a:pt x="114" y="583"/>
                    </a:lnTo>
                    <a:lnTo>
                      <a:pt x="100" y="586"/>
                    </a:lnTo>
                    <a:lnTo>
                      <a:pt x="33" y="586"/>
                    </a:lnTo>
                    <a:lnTo>
                      <a:pt x="20" y="583"/>
                    </a:lnTo>
                    <a:lnTo>
                      <a:pt x="10" y="576"/>
                    </a:lnTo>
                    <a:lnTo>
                      <a:pt x="3" y="565"/>
                    </a:lnTo>
                    <a:lnTo>
                      <a:pt x="0" y="553"/>
                    </a:lnTo>
                    <a:lnTo>
                      <a:pt x="0" y="34"/>
                    </a:lnTo>
                    <a:lnTo>
                      <a:pt x="3" y="21"/>
                    </a:lnTo>
                    <a:lnTo>
                      <a:pt x="10" y="10"/>
                    </a:lnTo>
                    <a:lnTo>
                      <a:pt x="20" y="3"/>
                    </a:lnTo>
                    <a:lnTo>
                      <a:pt x="33" y="0"/>
                    </a:lnTo>
                    <a:close/>
                  </a:path>
                </a:pathLst>
              </a:custGeom>
              <a:grpFill/>
              <a:ln w="0">
                <a:noFill/>
                <a:prstDash val="solid"/>
                <a:round/>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grpSp>
            <p:nvGrpSpPr>
              <p:cNvPr id="206" name="Group 205">
                <a:extLst>
                  <a:ext uri="{FF2B5EF4-FFF2-40B4-BE49-F238E27FC236}">
                    <a16:creationId xmlns:a16="http://schemas.microsoft.com/office/drawing/2014/main" id="{08AEBA1E-26DF-432D-BDB2-38B7FC6D26EC}"/>
                  </a:ext>
                </a:extLst>
              </p:cNvPr>
              <p:cNvGrpSpPr/>
              <p:nvPr/>
            </p:nvGrpSpPr>
            <p:grpSpPr>
              <a:xfrm>
                <a:off x="2570470" y="3431382"/>
                <a:ext cx="140538" cy="141204"/>
                <a:chOff x="2568419" y="3429321"/>
                <a:chExt cx="144639" cy="145325"/>
              </a:xfrm>
              <a:grpFill/>
            </p:grpSpPr>
            <p:sp>
              <p:nvSpPr>
                <p:cNvPr id="214" name="Freeform 516">
                  <a:extLst>
                    <a:ext uri="{FF2B5EF4-FFF2-40B4-BE49-F238E27FC236}">
                      <a16:creationId xmlns:a16="http://schemas.microsoft.com/office/drawing/2014/main" id="{B077BF76-EAA9-47FB-9B31-57E60486A837}"/>
                    </a:ext>
                  </a:extLst>
                </p:cNvPr>
                <p:cNvSpPr>
                  <a:spLocks noEditPoints="1"/>
                </p:cNvSpPr>
                <p:nvPr/>
              </p:nvSpPr>
              <p:spPr bwMode="auto">
                <a:xfrm>
                  <a:off x="2568419" y="3429321"/>
                  <a:ext cx="144639" cy="145325"/>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grpFill/>
                <a:ln w="0">
                  <a:noFill/>
                  <a:prstDash val="solid"/>
                  <a:round/>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15" name="Oval 214">
                  <a:extLst>
                    <a:ext uri="{FF2B5EF4-FFF2-40B4-BE49-F238E27FC236}">
                      <a16:creationId xmlns:a16="http://schemas.microsoft.com/office/drawing/2014/main" id="{D784D33E-3962-4290-A7DA-8E42DB602A4E}"/>
                    </a:ext>
                  </a:extLst>
                </p:cNvPr>
                <p:cNvSpPr/>
                <p:nvPr/>
              </p:nvSpPr>
              <p:spPr bwMode="auto">
                <a:xfrm>
                  <a:off x="2588979" y="3450224"/>
                  <a:ext cx="103519" cy="10352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spcBef>
                      <a:spcPct val="0"/>
                    </a:spcBef>
                    <a:spcAft>
                      <a:spcPct val="0"/>
                    </a:spcAft>
                    <a:defRPr/>
                  </a:pPr>
                  <a:endParaRPr lang="en-US" sz="2353">
                    <a:solidFill>
                      <a:srgbClr val="C00000"/>
                    </a:solidFill>
                    <a:latin typeface="Segoe UI Semilight"/>
                    <a:ea typeface="Segoe UI" pitchFamily="34" charset="0"/>
                    <a:cs typeface="Segoe UI" pitchFamily="34" charset="0"/>
                  </a:endParaRPr>
                </a:p>
              </p:txBody>
            </p:sp>
          </p:grpSp>
          <p:grpSp>
            <p:nvGrpSpPr>
              <p:cNvPr id="207" name="Group 206">
                <a:extLst>
                  <a:ext uri="{FF2B5EF4-FFF2-40B4-BE49-F238E27FC236}">
                    <a16:creationId xmlns:a16="http://schemas.microsoft.com/office/drawing/2014/main" id="{6F21C6AA-BFB3-4FA9-AA3E-DA2B17F15701}"/>
                  </a:ext>
                </a:extLst>
              </p:cNvPr>
              <p:cNvGrpSpPr/>
              <p:nvPr/>
            </p:nvGrpSpPr>
            <p:grpSpPr>
              <a:xfrm>
                <a:off x="2377160" y="3433764"/>
                <a:ext cx="140538" cy="141204"/>
                <a:chOff x="2372728" y="3429321"/>
                <a:chExt cx="144639" cy="145325"/>
              </a:xfrm>
              <a:grpFill/>
            </p:grpSpPr>
            <p:sp>
              <p:nvSpPr>
                <p:cNvPr id="211" name="Freeform 515">
                  <a:extLst>
                    <a:ext uri="{FF2B5EF4-FFF2-40B4-BE49-F238E27FC236}">
                      <a16:creationId xmlns:a16="http://schemas.microsoft.com/office/drawing/2014/main" id="{462D158D-4C70-494C-A9A6-53D61AA69687}"/>
                    </a:ext>
                  </a:extLst>
                </p:cNvPr>
                <p:cNvSpPr>
                  <a:spLocks noEditPoints="1"/>
                </p:cNvSpPr>
                <p:nvPr/>
              </p:nvSpPr>
              <p:spPr bwMode="auto">
                <a:xfrm>
                  <a:off x="2372728" y="3429321"/>
                  <a:ext cx="144639" cy="145325"/>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grpFill/>
                <a:ln w="0">
                  <a:noFill/>
                  <a:prstDash val="solid"/>
                  <a:round/>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12" name="Oval 211">
                  <a:extLst>
                    <a:ext uri="{FF2B5EF4-FFF2-40B4-BE49-F238E27FC236}">
                      <a16:creationId xmlns:a16="http://schemas.microsoft.com/office/drawing/2014/main" id="{E367CB9C-F6E5-4EB6-8090-A2E8826D4449}"/>
                    </a:ext>
                  </a:extLst>
                </p:cNvPr>
                <p:cNvSpPr/>
                <p:nvPr/>
              </p:nvSpPr>
              <p:spPr bwMode="auto">
                <a:xfrm>
                  <a:off x="2393288" y="3450224"/>
                  <a:ext cx="103519" cy="10352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spcBef>
                      <a:spcPct val="0"/>
                    </a:spcBef>
                    <a:spcAft>
                      <a:spcPct val="0"/>
                    </a:spcAft>
                    <a:defRPr/>
                  </a:pPr>
                  <a:endParaRPr lang="en-US" sz="2353">
                    <a:solidFill>
                      <a:srgbClr val="C00000"/>
                    </a:solidFill>
                    <a:latin typeface="Segoe UI Semilight"/>
                    <a:ea typeface="Segoe UI" pitchFamily="34" charset="0"/>
                    <a:cs typeface="Segoe UI" pitchFamily="34" charset="0"/>
                  </a:endParaRPr>
                </a:p>
              </p:txBody>
            </p:sp>
          </p:grpSp>
          <p:sp>
            <p:nvSpPr>
              <p:cNvPr id="208" name="Freeform 71">
                <a:extLst>
                  <a:ext uri="{FF2B5EF4-FFF2-40B4-BE49-F238E27FC236}">
                    <a16:creationId xmlns:a16="http://schemas.microsoft.com/office/drawing/2014/main" id="{2B89240C-EB70-4502-A12B-F6E16CF8061E}"/>
                  </a:ext>
                </a:extLst>
              </p:cNvPr>
              <p:cNvSpPr>
                <a:spLocks noEditPoints="1"/>
              </p:cNvSpPr>
              <p:nvPr/>
            </p:nvSpPr>
            <p:spPr bwMode="auto">
              <a:xfrm>
                <a:off x="2330383" y="3351969"/>
                <a:ext cx="386355" cy="157017"/>
              </a:xfrm>
              <a:custGeom>
                <a:avLst/>
                <a:gdLst>
                  <a:gd name="T0" fmla="*/ 604 w 1184"/>
                  <a:gd name="T1" fmla="*/ 458 h 512"/>
                  <a:gd name="T2" fmla="*/ 593 w 1184"/>
                  <a:gd name="T3" fmla="*/ 388 h 512"/>
                  <a:gd name="T4" fmla="*/ 562 w 1184"/>
                  <a:gd name="T5" fmla="*/ 323 h 512"/>
                  <a:gd name="T6" fmla="*/ 514 w 1184"/>
                  <a:gd name="T7" fmla="*/ 271 h 512"/>
                  <a:gd name="T8" fmla="*/ 453 w 1184"/>
                  <a:gd name="T9" fmla="*/ 236 h 512"/>
                  <a:gd name="T10" fmla="*/ 380 w 1184"/>
                  <a:gd name="T11" fmla="*/ 218 h 512"/>
                  <a:gd name="T12" fmla="*/ 303 w 1184"/>
                  <a:gd name="T13" fmla="*/ 220 h 512"/>
                  <a:gd name="T14" fmla="*/ 234 w 1184"/>
                  <a:gd name="T15" fmla="*/ 245 h 512"/>
                  <a:gd name="T16" fmla="*/ 178 w 1184"/>
                  <a:gd name="T17" fmla="*/ 286 h 512"/>
                  <a:gd name="T18" fmla="*/ 125 w 1184"/>
                  <a:gd name="T19" fmla="*/ 365 h 512"/>
                  <a:gd name="T20" fmla="*/ 105 w 1184"/>
                  <a:gd name="T21" fmla="*/ 435 h 512"/>
                  <a:gd name="T22" fmla="*/ 27 w 1184"/>
                  <a:gd name="T23" fmla="*/ 512 h 512"/>
                  <a:gd name="T24" fmla="*/ 0 w 1184"/>
                  <a:gd name="T25" fmla="*/ 21 h 512"/>
                  <a:gd name="T26" fmla="*/ 635 w 1184"/>
                  <a:gd name="T27" fmla="*/ 0 h 512"/>
                  <a:gd name="T28" fmla="*/ 672 w 1184"/>
                  <a:gd name="T29" fmla="*/ 19 h 512"/>
                  <a:gd name="T30" fmla="*/ 1155 w 1184"/>
                  <a:gd name="T31" fmla="*/ 75 h 512"/>
                  <a:gd name="T32" fmla="*/ 1184 w 1184"/>
                  <a:gd name="T33" fmla="*/ 350 h 512"/>
                  <a:gd name="T34" fmla="*/ 1084 w 1184"/>
                  <a:gd name="T35" fmla="*/ 255 h 512"/>
                  <a:gd name="T36" fmla="*/ 1019 w 1184"/>
                  <a:gd name="T37" fmla="*/ 226 h 512"/>
                  <a:gd name="T38" fmla="*/ 950 w 1184"/>
                  <a:gd name="T39" fmla="*/ 216 h 512"/>
                  <a:gd name="T40" fmla="*/ 877 w 1184"/>
                  <a:gd name="T41" fmla="*/ 228 h 512"/>
                  <a:gd name="T42" fmla="*/ 789 w 1184"/>
                  <a:gd name="T43" fmla="*/ 272 h 512"/>
                  <a:gd name="T44" fmla="*/ 743 w 1184"/>
                  <a:gd name="T45" fmla="*/ 323 h 512"/>
                  <a:gd name="T46" fmla="*/ 710 w 1184"/>
                  <a:gd name="T47" fmla="*/ 388 h 512"/>
                  <a:gd name="T48" fmla="*/ 698 w 1184"/>
                  <a:gd name="T49" fmla="*/ 458 h 512"/>
                  <a:gd name="T50" fmla="*/ 55 w 1184"/>
                  <a:gd name="T51" fmla="*/ 392 h 512"/>
                  <a:gd name="T52" fmla="*/ 86 w 1184"/>
                  <a:gd name="T53" fmla="*/ 315 h 512"/>
                  <a:gd name="T54" fmla="*/ 159 w 1184"/>
                  <a:gd name="T55" fmla="*/ 228 h 512"/>
                  <a:gd name="T56" fmla="*/ 236 w 1184"/>
                  <a:gd name="T57" fmla="*/ 184 h 512"/>
                  <a:gd name="T58" fmla="*/ 322 w 1184"/>
                  <a:gd name="T59" fmla="*/ 162 h 512"/>
                  <a:gd name="T60" fmla="*/ 416 w 1184"/>
                  <a:gd name="T61" fmla="*/ 166 h 512"/>
                  <a:gd name="T62" fmla="*/ 499 w 1184"/>
                  <a:gd name="T63" fmla="*/ 195 h 512"/>
                  <a:gd name="T64" fmla="*/ 570 w 1184"/>
                  <a:gd name="T65" fmla="*/ 247 h 512"/>
                  <a:gd name="T66" fmla="*/ 624 w 1184"/>
                  <a:gd name="T67" fmla="*/ 317 h 512"/>
                  <a:gd name="T68" fmla="*/ 650 w 1184"/>
                  <a:gd name="T69" fmla="*/ 392 h 512"/>
                  <a:gd name="T70" fmla="*/ 681 w 1184"/>
                  <a:gd name="T71" fmla="*/ 313 h 512"/>
                  <a:gd name="T72" fmla="*/ 735 w 1184"/>
                  <a:gd name="T73" fmla="*/ 245 h 512"/>
                  <a:gd name="T74" fmla="*/ 833 w 1184"/>
                  <a:gd name="T75" fmla="*/ 184 h 512"/>
                  <a:gd name="T76" fmla="*/ 919 w 1184"/>
                  <a:gd name="T77" fmla="*/ 162 h 512"/>
                  <a:gd name="T78" fmla="*/ 1009 w 1184"/>
                  <a:gd name="T79" fmla="*/ 166 h 512"/>
                  <a:gd name="T80" fmla="*/ 1090 w 1184"/>
                  <a:gd name="T81" fmla="*/ 195 h 512"/>
                  <a:gd name="T82" fmla="*/ 1128 w 1184"/>
                  <a:gd name="T83" fmla="*/ 131 h 512"/>
                  <a:gd name="T84" fmla="*/ 55 w 1184"/>
                  <a:gd name="T85" fmla="*/ 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84" h="512">
                    <a:moveTo>
                      <a:pt x="702" y="512"/>
                    </a:moveTo>
                    <a:lnTo>
                      <a:pt x="601" y="512"/>
                    </a:lnTo>
                    <a:lnTo>
                      <a:pt x="604" y="458"/>
                    </a:lnTo>
                    <a:lnTo>
                      <a:pt x="602" y="435"/>
                    </a:lnTo>
                    <a:lnTo>
                      <a:pt x="599" y="412"/>
                    </a:lnTo>
                    <a:lnTo>
                      <a:pt x="593" y="388"/>
                    </a:lnTo>
                    <a:lnTo>
                      <a:pt x="583" y="365"/>
                    </a:lnTo>
                    <a:lnTo>
                      <a:pt x="574" y="342"/>
                    </a:lnTo>
                    <a:lnTo>
                      <a:pt x="562" y="323"/>
                    </a:lnTo>
                    <a:lnTo>
                      <a:pt x="549" y="305"/>
                    </a:lnTo>
                    <a:lnTo>
                      <a:pt x="530" y="286"/>
                    </a:lnTo>
                    <a:lnTo>
                      <a:pt x="514" y="271"/>
                    </a:lnTo>
                    <a:lnTo>
                      <a:pt x="493" y="259"/>
                    </a:lnTo>
                    <a:lnTo>
                      <a:pt x="474" y="245"/>
                    </a:lnTo>
                    <a:lnTo>
                      <a:pt x="453" y="236"/>
                    </a:lnTo>
                    <a:lnTo>
                      <a:pt x="428" y="228"/>
                    </a:lnTo>
                    <a:lnTo>
                      <a:pt x="405" y="220"/>
                    </a:lnTo>
                    <a:lnTo>
                      <a:pt x="380" y="218"/>
                    </a:lnTo>
                    <a:lnTo>
                      <a:pt x="353" y="216"/>
                    </a:lnTo>
                    <a:lnTo>
                      <a:pt x="326" y="218"/>
                    </a:lnTo>
                    <a:lnTo>
                      <a:pt x="303" y="220"/>
                    </a:lnTo>
                    <a:lnTo>
                      <a:pt x="280" y="228"/>
                    </a:lnTo>
                    <a:lnTo>
                      <a:pt x="255" y="236"/>
                    </a:lnTo>
                    <a:lnTo>
                      <a:pt x="234" y="245"/>
                    </a:lnTo>
                    <a:lnTo>
                      <a:pt x="213" y="259"/>
                    </a:lnTo>
                    <a:lnTo>
                      <a:pt x="194" y="271"/>
                    </a:lnTo>
                    <a:lnTo>
                      <a:pt x="178" y="286"/>
                    </a:lnTo>
                    <a:lnTo>
                      <a:pt x="144" y="325"/>
                    </a:lnTo>
                    <a:lnTo>
                      <a:pt x="134" y="342"/>
                    </a:lnTo>
                    <a:lnTo>
                      <a:pt x="125" y="365"/>
                    </a:lnTo>
                    <a:lnTo>
                      <a:pt x="113" y="388"/>
                    </a:lnTo>
                    <a:lnTo>
                      <a:pt x="109" y="410"/>
                    </a:lnTo>
                    <a:lnTo>
                      <a:pt x="105" y="435"/>
                    </a:lnTo>
                    <a:lnTo>
                      <a:pt x="103" y="460"/>
                    </a:lnTo>
                    <a:lnTo>
                      <a:pt x="103" y="512"/>
                    </a:lnTo>
                    <a:lnTo>
                      <a:pt x="27" y="512"/>
                    </a:lnTo>
                    <a:lnTo>
                      <a:pt x="11" y="500"/>
                    </a:lnTo>
                    <a:lnTo>
                      <a:pt x="0" y="483"/>
                    </a:lnTo>
                    <a:lnTo>
                      <a:pt x="0" y="21"/>
                    </a:lnTo>
                    <a:lnTo>
                      <a:pt x="25" y="4"/>
                    </a:lnTo>
                    <a:lnTo>
                      <a:pt x="42" y="0"/>
                    </a:lnTo>
                    <a:lnTo>
                      <a:pt x="635" y="0"/>
                    </a:lnTo>
                    <a:lnTo>
                      <a:pt x="652" y="4"/>
                    </a:lnTo>
                    <a:lnTo>
                      <a:pt x="660" y="12"/>
                    </a:lnTo>
                    <a:lnTo>
                      <a:pt x="672" y="19"/>
                    </a:lnTo>
                    <a:lnTo>
                      <a:pt x="675" y="41"/>
                    </a:lnTo>
                    <a:lnTo>
                      <a:pt x="675" y="75"/>
                    </a:lnTo>
                    <a:lnTo>
                      <a:pt x="1155" y="75"/>
                    </a:lnTo>
                    <a:lnTo>
                      <a:pt x="1174" y="87"/>
                    </a:lnTo>
                    <a:lnTo>
                      <a:pt x="1184" y="106"/>
                    </a:lnTo>
                    <a:lnTo>
                      <a:pt x="1184" y="350"/>
                    </a:lnTo>
                    <a:lnTo>
                      <a:pt x="1121" y="282"/>
                    </a:lnTo>
                    <a:lnTo>
                      <a:pt x="1103" y="269"/>
                    </a:lnTo>
                    <a:lnTo>
                      <a:pt x="1084" y="255"/>
                    </a:lnTo>
                    <a:lnTo>
                      <a:pt x="1063" y="244"/>
                    </a:lnTo>
                    <a:lnTo>
                      <a:pt x="1044" y="234"/>
                    </a:lnTo>
                    <a:lnTo>
                      <a:pt x="1019" y="226"/>
                    </a:lnTo>
                    <a:lnTo>
                      <a:pt x="1000" y="220"/>
                    </a:lnTo>
                    <a:lnTo>
                      <a:pt x="973" y="218"/>
                    </a:lnTo>
                    <a:lnTo>
                      <a:pt x="950" y="216"/>
                    </a:lnTo>
                    <a:lnTo>
                      <a:pt x="925" y="218"/>
                    </a:lnTo>
                    <a:lnTo>
                      <a:pt x="898" y="220"/>
                    </a:lnTo>
                    <a:lnTo>
                      <a:pt x="877" y="228"/>
                    </a:lnTo>
                    <a:lnTo>
                      <a:pt x="852" y="236"/>
                    </a:lnTo>
                    <a:lnTo>
                      <a:pt x="831" y="245"/>
                    </a:lnTo>
                    <a:lnTo>
                      <a:pt x="789" y="272"/>
                    </a:lnTo>
                    <a:lnTo>
                      <a:pt x="771" y="288"/>
                    </a:lnTo>
                    <a:lnTo>
                      <a:pt x="756" y="305"/>
                    </a:lnTo>
                    <a:lnTo>
                      <a:pt x="743" y="323"/>
                    </a:lnTo>
                    <a:lnTo>
                      <a:pt x="729" y="342"/>
                    </a:lnTo>
                    <a:lnTo>
                      <a:pt x="718" y="365"/>
                    </a:lnTo>
                    <a:lnTo>
                      <a:pt x="710" y="388"/>
                    </a:lnTo>
                    <a:lnTo>
                      <a:pt x="704" y="410"/>
                    </a:lnTo>
                    <a:lnTo>
                      <a:pt x="700" y="435"/>
                    </a:lnTo>
                    <a:lnTo>
                      <a:pt x="698" y="458"/>
                    </a:lnTo>
                    <a:lnTo>
                      <a:pt x="702" y="512"/>
                    </a:lnTo>
                    <a:close/>
                    <a:moveTo>
                      <a:pt x="55" y="56"/>
                    </a:moveTo>
                    <a:lnTo>
                      <a:pt x="55" y="392"/>
                    </a:lnTo>
                    <a:lnTo>
                      <a:pt x="61" y="371"/>
                    </a:lnTo>
                    <a:lnTo>
                      <a:pt x="73" y="342"/>
                    </a:lnTo>
                    <a:lnTo>
                      <a:pt x="86" y="315"/>
                    </a:lnTo>
                    <a:lnTo>
                      <a:pt x="100" y="290"/>
                    </a:lnTo>
                    <a:lnTo>
                      <a:pt x="138" y="247"/>
                    </a:lnTo>
                    <a:lnTo>
                      <a:pt x="159" y="228"/>
                    </a:lnTo>
                    <a:lnTo>
                      <a:pt x="184" y="213"/>
                    </a:lnTo>
                    <a:lnTo>
                      <a:pt x="207" y="195"/>
                    </a:lnTo>
                    <a:lnTo>
                      <a:pt x="236" y="184"/>
                    </a:lnTo>
                    <a:lnTo>
                      <a:pt x="265" y="174"/>
                    </a:lnTo>
                    <a:lnTo>
                      <a:pt x="292" y="166"/>
                    </a:lnTo>
                    <a:lnTo>
                      <a:pt x="322" y="162"/>
                    </a:lnTo>
                    <a:lnTo>
                      <a:pt x="353" y="160"/>
                    </a:lnTo>
                    <a:lnTo>
                      <a:pt x="386" y="162"/>
                    </a:lnTo>
                    <a:lnTo>
                      <a:pt x="416" y="166"/>
                    </a:lnTo>
                    <a:lnTo>
                      <a:pt x="445" y="174"/>
                    </a:lnTo>
                    <a:lnTo>
                      <a:pt x="474" y="184"/>
                    </a:lnTo>
                    <a:lnTo>
                      <a:pt x="499" y="195"/>
                    </a:lnTo>
                    <a:lnTo>
                      <a:pt x="524" y="213"/>
                    </a:lnTo>
                    <a:lnTo>
                      <a:pt x="549" y="228"/>
                    </a:lnTo>
                    <a:lnTo>
                      <a:pt x="570" y="247"/>
                    </a:lnTo>
                    <a:lnTo>
                      <a:pt x="591" y="271"/>
                    </a:lnTo>
                    <a:lnTo>
                      <a:pt x="608" y="292"/>
                    </a:lnTo>
                    <a:lnTo>
                      <a:pt x="624" y="317"/>
                    </a:lnTo>
                    <a:lnTo>
                      <a:pt x="635" y="344"/>
                    </a:lnTo>
                    <a:lnTo>
                      <a:pt x="645" y="371"/>
                    </a:lnTo>
                    <a:lnTo>
                      <a:pt x="650" y="392"/>
                    </a:lnTo>
                    <a:lnTo>
                      <a:pt x="658" y="369"/>
                    </a:lnTo>
                    <a:lnTo>
                      <a:pt x="668" y="342"/>
                    </a:lnTo>
                    <a:lnTo>
                      <a:pt x="681" y="313"/>
                    </a:lnTo>
                    <a:lnTo>
                      <a:pt x="696" y="290"/>
                    </a:lnTo>
                    <a:lnTo>
                      <a:pt x="714" y="269"/>
                    </a:lnTo>
                    <a:lnTo>
                      <a:pt x="735" y="245"/>
                    </a:lnTo>
                    <a:lnTo>
                      <a:pt x="758" y="226"/>
                    </a:lnTo>
                    <a:lnTo>
                      <a:pt x="804" y="195"/>
                    </a:lnTo>
                    <a:lnTo>
                      <a:pt x="833" y="184"/>
                    </a:lnTo>
                    <a:lnTo>
                      <a:pt x="860" y="174"/>
                    </a:lnTo>
                    <a:lnTo>
                      <a:pt x="888" y="166"/>
                    </a:lnTo>
                    <a:lnTo>
                      <a:pt x="919" y="162"/>
                    </a:lnTo>
                    <a:lnTo>
                      <a:pt x="950" y="160"/>
                    </a:lnTo>
                    <a:lnTo>
                      <a:pt x="977" y="162"/>
                    </a:lnTo>
                    <a:lnTo>
                      <a:pt x="1009" y="166"/>
                    </a:lnTo>
                    <a:lnTo>
                      <a:pt x="1036" y="172"/>
                    </a:lnTo>
                    <a:lnTo>
                      <a:pt x="1065" y="184"/>
                    </a:lnTo>
                    <a:lnTo>
                      <a:pt x="1090" y="195"/>
                    </a:lnTo>
                    <a:lnTo>
                      <a:pt x="1115" y="209"/>
                    </a:lnTo>
                    <a:lnTo>
                      <a:pt x="1128" y="218"/>
                    </a:lnTo>
                    <a:lnTo>
                      <a:pt x="1128" y="131"/>
                    </a:lnTo>
                    <a:lnTo>
                      <a:pt x="622" y="131"/>
                    </a:lnTo>
                    <a:lnTo>
                      <a:pt x="622" y="56"/>
                    </a:lnTo>
                    <a:lnTo>
                      <a:pt x="55" y="56"/>
                    </a:lnTo>
                    <a:close/>
                  </a:path>
                </a:pathLst>
              </a:custGeom>
              <a:grpFill/>
              <a:ln w="9525">
                <a:noFill/>
                <a:round/>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09" name="Rectangle 514">
                <a:extLst>
                  <a:ext uri="{FF2B5EF4-FFF2-40B4-BE49-F238E27FC236}">
                    <a16:creationId xmlns:a16="http://schemas.microsoft.com/office/drawing/2014/main" id="{F43FB836-E32A-48E2-9EAC-5F2453D2ED0D}"/>
                  </a:ext>
                </a:extLst>
              </p:cNvPr>
              <p:cNvSpPr>
                <a:spLocks noChangeArrowheads="1"/>
              </p:cNvSpPr>
              <p:nvPr/>
            </p:nvSpPr>
            <p:spPr bwMode="auto">
              <a:xfrm>
                <a:off x="2816571" y="3209266"/>
                <a:ext cx="59090" cy="69185"/>
              </a:xfrm>
              <a:prstGeom prst="rect">
                <a:avLst/>
              </a:prstGeom>
              <a:solidFill>
                <a:schemeClr val="bg1"/>
              </a:solidFill>
              <a:ln w="0">
                <a:noFill/>
                <a:prstDash val="solid"/>
                <a:miter lim="800000"/>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10" name="Rectangle 514">
                <a:extLst>
                  <a:ext uri="{FF2B5EF4-FFF2-40B4-BE49-F238E27FC236}">
                    <a16:creationId xmlns:a16="http://schemas.microsoft.com/office/drawing/2014/main" id="{B2881EF4-873A-4CE3-B304-CC4B6FCB8154}"/>
                  </a:ext>
                </a:extLst>
              </p:cNvPr>
              <p:cNvSpPr>
                <a:spLocks noChangeArrowheads="1"/>
              </p:cNvSpPr>
              <p:nvPr/>
            </p:nvSpPr>
            <p:spPr bwMode="auto">
              <a:xfrm>
                <a:off x="2817058" y="3348517"/>
                <a:ext cx="70130" cy="74732"/>
              </a:xfrm>
              <a:prstGeom prst="rect">
                <a:avLst/>
              </a:prstGeom>
              <a:solidFill>
                <a:schemeClr val="bg1"/>
              </a:solidFill>
              <a:ln w="0">
                <a:noFill/>
                <a:prstDash val="solid"/>
                <a:miter lim="800000"/>
                <a:headEnd/>
                <a:tailEnd/>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grpSp>
        <p:sp>
          <p:nvSpPr>
            <p:cNvPr id="398" name="Rectangle 397">
              <a:extLst>
                <a:ext uri="{FF2B5EF4-FFF2-40B4-BE49-F238E27FC236}">
                  <a16:creationId xmlns:a16="http://schemas.microsoft.com/office/drawing/2014/main" id="{1A670600-363E-459B-8C9C-A51D79829ED8}"/>
                </a:ext>
              </a:extLst>
            </p:cNvPr>
            <p:cNvSpPr/>
            <p:nvPr/>
          </p:nvSpPr>
          <p:spPr>
            <a:xfrm>
              <a:off x="5774130" y="2676252"/>
              <a:ext cx="870753" cy="111368"/>
            </a:xfrm>
            <a:prstGeom prst="rect">
              <a:avLst/>
            </a:prstGeom>
            <a:noFill/>
            <a:ln w="25400" cap="flat" cmpd="sng" algn="ctr">
              <a:noFill/>
              <a:prstDash val="solid"/>
            </a:ln>
            <a:effectLst/>
          </p:spPr>
          <p:txBody>
            <a:bodyPr rot="0" spcFirstLastPara="0" vertOverflow="overflow" horzOverflow="overflow" vert="horz" wrap="square" lIns="89629" tIns="89629" rIns="89629" bIns="89629" numCol="1" spcCol="0" rtlCol="0" fromWordArt="0" anchor="ctr" anchorCtr="0" forceAA="0" compatLnSpc="1">
              <a:prstTxWarp prst="textNoShape">
                <a:avLst/>
              </a:prstTxWarp>
              <a:noAutofit/>
            </a:bodyPr>
            <a:lstStyle/>
            <a:p>
              <a:pPr algn="ctr" defTabSz="896214">
                <a:defRPr/>
              </a:pPr>
              <a:r>
                <a:rPr lang="en-US" sz="900" kern="0">
                  <a:gradFill>
                    <a:gsLst>
                      <a:gs pos="66667">
                        <a:schemeClr val="tx1"/>
                      </a:gs>
                      <a:gs pos="37000">
                        <a:schemeClr val="tx1"/>
                      </a:gs>
                    </a:gsLst>
                    <a:lin ang="0" scaled="1"/>
                  </a:gradFill>
                  <a:latin typeface="Segoe UI Semilight"/>
                </a:rPr>
                <a:t>Supply Chain</a:t>
              </a:r>
            </a:p>
          </p:txBody>
        </p:sp>
      </p:grpSp>
      <p:sp>
        <p:nvSpPr>
          <p:cNvPr id="216" name="Freeform 72">
            <a:extLst>
              <a:ext uri="{FF2B5EF4-FFF2-40B4-BE49-F238E27FC236}">
                <a16:creationId xmlns:a16="http://schemas.microsoft.com/office/drawing/2014/main" id="{4024013A-13AE-40DF-9B33-6CAB4AFDB87E}"/>
              </a:ext>
            </a:extLst>
          </p:cNvPr>
          <p:cNvSpPr>
            <a:spLocks/>
          </p:cNvSpPr>
          <p:nvPr/>
        </p:nvSpPr>
        <p:spPr bwMode="auto">
          <a:xfrm>
            <a:off x="5985052" y="2125619"/>
            <a:ext cx="481900" cy="481900"/>
          </a:xfrm>
          <a:custGeom>
            <a:avLst/>
            <a:gdLst>
              <a:gd name="connsiteX0" fmla="*/ 1850232 w 3236913"/>
              <a:gd name="connsiteY0" fmla="*/ 2722562 h 3236912"/>
              <a:gd name="connsiteX1" fmla="*/ 1654175 w 3236913"/>
              <a:gd name="connsiteY1" fmla="*/ 2918619 h 3236912"/>
              <a:gd name="connsiteX2" fmla="*/ 1850232 w 3236913"/>
              <a:gd name="connsiteY2" fmla="*/ 3114676 h 3236912"/>
              <a:gd name="connsiteX3" fmla="*/ 2046289 w 3236913"/>
              <a:gd name="connsiteY3" fmla="*/ 2918619 h 3236912"/>
              <a:gd name="connsiteX4" fmla="*/ 1850232 w 3236913"/>
              <a:gd name="connsiteY4" fmla="*/ 2722562 h 3236912"/>
              <a:gd name="connsiteX5" fmla="*/ 1042944 w 3236913"/>
              <a:gd name="connsiteY5" fmla="*/ 1787912 h 3236912"/>
              <a:gd name="connsiteX6" fmla="*/ 634079 w 3236913"/>
              <a:gd name="connsiteY6" fmla="*/ 1849822 h 3236912"/>
              <a:gd name="connsiteX7" fmla="*/ 635000 w 3236913"/>
              <a:gd name="connsiteY7" fmla="*/ 1858962 h 3236912"/>
              <a:gd name="connsiteX8" fmla="*/ 542006 w 3236913"/>
              <a:gd name="connsiteY8" fmla="*/ 2083468 h 3236912"/>
              <a:gd name="connsiteX9" fmla="*/ 528007 w 3236913"/>
              <a:gd name="connsiteY9" fmla="*/ 2095019 h 3236912"/>
              <a:gd name="connsiteX10" fmla="*/ 1563191 w 3236913"/>
              <a:gd name="connsiteY10" fmla="*/ 2784216 h 3236912"/>
              <a:gd name="connsiteX11" fmla="*/ 1586162 w 3236913"/>
              <a:gd name="connsiteY11" fmla="*/ 2741895 h 3236912"/>
              <a:gd name="connsiteX12" fmla="*/ 1671921 w 3236913"/>
              <a:gd name="connsiteY12" fmla="*/ 2656136 h 3236912"/>
              <a:gd name="connsiteX13" fmla="*/ 1716212 w 3236913"/>
              <a:gd name="connsiteY13" fmla="*/ 2632096 h 3236912"/>
              <a:gd name="connsiteX14" fmla="*/ 1434308 w 3236913"/>
              <a:gd name="connsiteY14" fmla="*/ 1964134 h 3236912"/>
              <a:gd name="connsiteX15" fmla="*/ 1400030 w 3236913"/>
              <a:gd name="connsiteY15" fmla="*/ 1974748 h 3236912"/>
              <a:gd name="connsiteX16" fmla="*/ 1335883 w 3236913"/>
              <a:gd name="connsiteY16" fmla="*/ 1981199 h 3236912"/>
              <a:gd name="connsiteX17" fmla="*/ 1071948 w 3236913"/>
              <a:gd name="connsiteY17" fmla="*/ 1841216 h 3236912"/>
              <a:gd name="connsiteX18" fmla="*/ 1637303 w 3236913"/>
              <a:gd name="connsiteY18" fmla="*/ 1761128 h 3236912"/>
              <a:gd name="connsiteX19" fmla="*/ 1629163 w 3236913"/>
              <a:gd name="connsiteY19" fmla="*/ 1787284 h 3236912"/>
              <a:gd name="connsiteX20" fmla="*/ 1560950 w 3236913"/>
              <a:gd name="connsiteY20" fmla="*/ 1888205 h 3236912"/>
              <a:gd name="connsiteX21" fmla="*/ 1542243 w 3236913"/>
              <a:gd name="connsiteY21" fmla="*/ 1903602 h 3236912"/>
              <a:gd name="connsiteX22" fmla="*/ 1837465 w 3236913"/>
              <a:gd name="connsiteY22" fmla="*/ 2603119 h 3236912"/>
              <a:gd name="connsiteX23" fmla="*/ 1849438 w 3236913"/>
              <a:gd name="connsiteY23" fmla="*/ 2601912 h 3236912"/>
              <a:gd name="connsiteX24" fmla="*/ 1973023 w 3236913"/>
              <a:gd name="connsiteY24" fmla="*/ 2626863 h 3236912"/>
              <a:gd name="connsiteX25" fmla="*/ 2011194 w 3236913"/>
              <a:gd name="connsiteY25" fmla="*/ 2647582 h 3236912"/>
              <a:gd name="connsiteX26" fmla="*/ 2695044 w 3236913"/>
              <a:gd name="connsiteY26" fmla="*/ 2083582 h 3236912"/>
              <a:gd name="connsiteX27" fmla="*/ 2694907 w 3236913"/>
              <a:gd name="connsiteY27" fmla="*/ 2083469 h 3236912"/>
              <a:gd name="connsiteX28" fmla="*/ 2601913 w 3236913"/>
              <a:gd name="connsiteY28" fmla="*/ 1858962 h 3236912"/>
              <a:gd name="connsiteX29" fmla="*/ 2603017 w 3236913"/>
              <a:gd name="connsiteY29" fmla="*/ 1848014 h 3236912"/>
              <a:gd name="connsiteX30" fmla="*/ 2918620 w 3236913"/>
              <a:gd name="connsiteY30" fmla="*/ 1662112 h 3236912"/>
              <a:gd name="connsiteX31" fmla="*/ 2722563 w 3236913"/>
              <a:gd name="connsiteY31" fmla="*/ 1858169 h 3236912"/>
              <a:gd name="connsiteX32" fmla="*/ 2918620 w 3236913"/>
              <a:gd name="connsiteY32" fmla="*/ 2054226 h 3236912"/>
              <a:gd name="connsiteX33" fmla="*/ 3114677 w 3236913"/>
              <a:gd name="connsiteY33" fmla="*/ 1858169 h 3236912"/>
              <a:gd name="connsiteX34" fmla="*/ 2918620 w 3236913"/>
              <a:gd name="connsiteY34" fmla="*/ 1662112 h 3236912"/>
              <a:gd name="connsiteX35" fmla="*/ 318295 w 3236913"/>
              <a:gd name="connsiteY35" fmla="*/ 1662112 h 3236912"/>
              <a:gd name="connsiteX36" fmla="*/ 122238 w 3236913"/>
              <a:gd name="connsiteY36" fmla="*/ 1858169 h 3236912"/>
              <a:gd name="connsiteX37" fmla="*/ 318295 w 3236913"/>
              <a:gd name="connsiteY37" fmla="*/ 2054226 h 3236912"/>
              <a:gd name="connsiteX38" fmla="*/ 514352 w 3236913"/>
              <a:gd name="connsiteY38" fmla="*/ 1858169 h 3236912"/>
              <a:gd name="connsiteX39" fmla="*/ 318295 w 3236913"/>
              <a:gd name="connsiteY39" fmla="*/ 1662112 h 3236912"/>
              <a:gd name="connsiteX40" fmla="*/ 1335883 w 3236913"/>
              <a:gd name="connsiteY40" fmla="*/ 1468437 h 3236912"/>
              <a:gd name="connsiteX41" fmla="*/ 1139826 w 3236913"/>
              <a:gd name="connsiteY41" fmla="*/ 1664494 h 3236912"/>
              <a:gd name="connsiteX42" fmla="*/ 1335883 w 3236913"/>
              <a:gd name="connsiteY42" fmla="*/ 1860551 h 3236912"/>
              <a:gd name="connsiteX43" fmla="*/ 1531940 w 3236913"/>
              <a:gd name="connsiteY43" fmla="*/ 1664494 h 3236912"/>
              <a:gd name="connsiteX44" fmla="*/ 1335883 w 3236913"/>
              <a:gd name="connsiteY44" fmla="*/ 1468437 h 3236912"/>
              <a:gd name="connsiteX45" fmla="*/ 2576481 w 3236913"/>
              <a:gd name="connsiteY45" fmla="*/ 666569 h 3236912"/>
              <a:gd name="connsiteX46" fmla="*/ 1602943 w 3236913"/>
              <a:gd name="connsiteY46" fmla="*/ 1491927 h 3236912"/>
              <a:gd name="connsiteX47" fmla="*/ 1629163 w 3236913"/>
              <a:gd name="connsiteY47" fmla="*/ 1540114 h 3236912"/>
              <a:gd name="connsiteX48" fmla="*/ 1647709 w 3236913"/>
              <a:gd name="connsiteY48" fmla="*/ 1599712 h 3236912"/>
              <a:gd name="connsiteX49" fmla="*/ 1651685 w 3236913"/>
              <a:gd name="connsiteY49" fmla="*/ 1639053 h 3236912"/>
              <a:gd name="connsiteX50" fmla="*/ 2631172 w 3236913"/>
              <a:gd name="connsiteY50" fmla="*/ 1727439 h 3236912"/>
              <a:gd name="connsiteX51" fmla="*/ 2656137 w 3236913"/>
              <a:gd name="connsiteY51" fmla="*/ 1681445 h 3236912"/>
              <a:gd name="connsiteX52" fmla="*/ 2840065 w 3236913"/>
              <a:gd name="connsiteY52" fmla="*/ 1551458 h 3236912"/>
              <a:gd name="connsiteX53" fmla="*/ 2890686 w 3236913"/>
              <a:gd name="connsiteY53" fmla="*/ 1545081 h 3236912"/>
              <a:gd name="connsiteX54" fmla="*/ 2755363 w 3236913"/>
              <a:gd name="connsiteY54" fmla="*/ 673152 h 3236912"/>
              <a:gd name="connsiteX55" fmla="*/ 2740512 w 3236913"/>
              <a:gd name="connsiteY55" fmla="*/ 677761 h 3236912"/>
              <a:gd name="connsiteX56" fmla="*/ 2676525 w 3236913"/>
              <a:gd name="connsiteY56" fmla="*/ 684212 h 3236912"/>
              <a:gd name="connsiteX57" fmla="*/ 2612538 w 3236913"/>
              <a:gd name="connsiteY57" fmla="*/ 677761 h 3236912"/>
              <a:gd name="connsiteX58" fmla="*/ 799280 w 3236913"/>
              <a:gd name="connsiteY58" fmla="*/ 621207 h 3236912"/>
              <a:gd name="connsiteX59" fmla="*/ 775507 w 3236913"/>
              <a:gd name="connsiteY59" fmla="*/ 628550 h 3236912"/>
              <a:gd name="connsiteX60" fmla="*/ 711200 w 3236913"/>
              <a:gd name="connsiteY60" fmla="*/ 635000 h 3236912"/>
              <a:gd name="connsiteX61" fmla="*/ 697852 w 3236913"/>
              <a:gd name="connsiteY61" fmla="*/ 633661 h 3236912"/>
              <a:gd name="connsiteX62" fmla="*/ 379151 w 3236913"/>
              <a:gd name="connsiteY62" fmla="*/ 1549228 h 3236912"/>
              <a:gd name="connsiteX63" fmla="*/ 396848 w 3236913"/>
              <a:gd name="connsiteY63" fmla="*/ 1551458 h 3236912"/>
              <a:gd name="connsiteX64" fmla="*/ 580776 w 3236913"/>
              <a:gd name="connsiteY64" fmla="*/ 1681445 h 3236912"/>
              <a:gd name="connsiteX65" fmla="*/ 606529 w 3236913"/>
              <a:gd name="connsiteY65" fmla="*/ 1728891 h 3236912"/>
              <a:gd name="connsiteX66" fmla="*/ 1017902 w 3236913"/>
              <a:gd name="connsiteY66" fmla="*/ 1666797 h 3236912"/>
              <a:gd name="connsiteX67" fmla="*/ 1017589 w 3236913"/>
              <a:gd name="connsiteY67" fmla="*/ 1663699 h 3236912"/>
              <a:gd name="connsiteX68" fmla="*/ 1157921 w 3236913"/>
              <a:gd name="connsiteY68" fmla="*/ 1400423 h 3236912"/>
              <a:gd name="connsiteX69" fmla="*/ 1163095 w 3236913"/>
              <a:gd name="connsiteY69" fmla="*/ 1397622 h 3236912"/>
              <a:gd name="connsiteX70" fmla="*/ 1009100 w 3236913"/>
              <a:gd name="connsiteY70" fmla="*/ 428625 h 3236912"/>
              <a:gd name="connsiteX71" fmla="*/ 1005212 w 3236913"/>
              <a:gd name="connsiteY71" fmla="*/ 441085 h 3236912"/>
              <a:gd name="connsiteX72" fmla="*/ 936829 w 3236913"/>
              <a:gd name="connsiteY72" fmla="*/ 542006 h 3236912"/>
              <a:gd name="connsiteX73" fmla="*/ 906990 w 3236913"/>
              <a:gd name="connsiteY73" fmla="*/ 566504 h 3236912"/>
              <a:gd name="connsiteX74" fmla="*/ 1275200 w 3236913"/>
              <a:gd name="connsiteY74" fmla="*/ 1352301 h 3236912"/>
              <a:gd name="connsiteX75" fmla="*/ 1335883 w 3236913"/>
              <a:gd name="connsiteY75" fmla="*/ 1346199 h 3236912"/>
              <a:gd name="connsiteX76" fmla="*/ 1513844 w 3236913"/>
              <a:gd name="connsiteY76" fmla="*/ 1400423 h 3236912"/>
              <a:gd name="connsiteX77" fmla="*/ 1519133 w 3236913"/>
              <a:gd name="connsiteY77" fmla="*/ 1404776 h 3236912"/>
              <a:gd name="connsiteX78" fmla="*/ 2466429 w 3236913"/>
              <a:gd name="connsiteY78" fmla="*/ 603108 h 3236912"/>
              <a:gd name="connsiteX79" fmla="*/ 2452019 w 3236913"/>
              <a:gd name="connsiteY79" fmla="*/ 591218 h 3236912"/>
              <a:gd name="connsiteX80" fmla="*/ 2365476 w 3236913"/>
              <a:gd name="connsiteY80" fmla="*/ 430699 h 3236912"/>
              <a:gd name="connsiteX81" fmla="*/ 2365266 w 3236913"/>
              <a:gd name="connsiteY81" fmla="*/ 428625 h 3236912"/>
              <a:gd name="connsiteX82" fmla="*/ 2675732 w 3236913"/>
              <a:gd name="connsiteY82" fmla="*/ 169862 h 3236912"/>
              <a:gd name="connsiteX83" fmla="*/ 2479675 w 3236913"/>
              <a:gd name="connsiteY83" fmla="*/ 365919 h 3236912"/>
              <a:gd name="connsiteX84" fmla="*/ 2675732 w 3236913"/>
              <a:gd name="connsiteY84" fmla="*/ 561976 h 3236912"/>
              <a:gd name="connsiteX85" fmla="*/ 2871789 w 3236913"/>
              <a:gd name="connsiteY85" fmla="*/ 365919 h 3236912"/>
              <a:gd name="connsiteX86" fmla="*/ 2675732 w 3236913"/>
              <a:gd name="connsiteY86" fmla="*/ 169862 h 3236912"/>
              <a:gd name="connsiteX87" fmla="*/ 711199 w 3236913"/>
              <a:gd name="connsiteY87" fmla="*/ 122238 h 3236912"/>
              <a:gd name="connsiteX88" fmla="*/ 514349 w 3236913"/>
              <a:gd name="connsiteY88" fmla="*/ 318295 h 3236912"/>
              <a:gd name="connsiteX89" fmla="*/ 711199 w 3236913"/>
              <a:gd name="connsiteY89" fmla="*/ 514352 h 3236912"/>
              <a:gd name="connsiteX90" fmla="*/ 908049 w 3236913"/>
              <a:gd name="connsiteY90" fmla="*/ 318295 h 3236912"/>
              <a:gd name="connsiteX91" fmla="*/ 711199 w 3236913"/>
              <a:gd name="connsiteY91" fmla="*/ 122238 h 3236912"/>
              <a:gd name="connsiteX92" fmla="*/ 711200 w 3236913"/>
              <a:gd name="connsiteY92" fmla="*/ 0 h 3236912"/>
              <a:gd name="connsiteX93" fmla="*/ 1023805 w 3236913"/>
              <a:gd name="connsiteY93" fmla="*/ 253513 h 3236912"/>
              <a:gd name="connsiteX94" fmla="*/ 1029162 w 3236913"/>
              <a:gd name="connsiteY94" fmla="*/ 306387 h 3236912"/>
              <a:gd name="connsiteX95" fmla="*/ 2365106 w 3236913"/>
              <a:gd name="connsiteY95" fmla="*/ 306387 h 3236912"/>
              <a:gd name="connsiteX96" fmla="*/ 2365476 w 3236913"/>
              <a:gd name="connsiteY96" fmla="*/ 302725 h 3236912"/>
              <a:gd name="connsiteX97" fmla="*/ 2676525 w 3236913"/>
              <a:gd name="connsiteY97" fmla="*/ 49212 h 3236912"/>
              <a:gd name="connsiteX98" fmla="*/ 2994025 w 3236913"/>
              <a:gd name="connsiteY98" fmla="*/ 366712 h 3236912"/>
              <a:gd name="connsiteX99" fmla="*/ 2901031 w 3236913"/>
              <a:gd name="connsiteY99" fmla="*/ 591218 h 3236912"/>
              <a:gd name="connsiteX100" fmla="*/ 2867223 w 3236913"/>
              <a:gd name="connsiteY100" fmla="*/ 619113 h 3236912"/>
              <a:gd name="connsiteX101" fmla="*/ 3018289 w 3236913"/>
              <a:gd name="connsiteY101" fmla="*/ 1558742 h 3236912"/>
              <a:gd name="connsiteX102" fmla="*/ 3042998 w 3236913"/>
              <a:gd name="connsiteY102" fmla="*/ 1566413 h 3236912"/>
              <a:gd name="connsiteX103" fmla="*/ 3236913 w 3236913"/>
              <a:gd name="connsiteY103" fmla="*/ 1858962 h 3236912"/>
              <a:gd name="connsiteX104" fmla="*/ 2919413 w 3236913"/>
              <a:gd name="connsiteY104" fmla="*/ 2176462 h 3236912"/>
              <a:gd name="connsiteX105" fmla="*/ 2855426 w 3236913"/>
              <a:gd name="connsiteY105" fmla="*/ 2170012 h 3236912"/>
              <a:gd name="connsiteX106" fmla="*/ 2800706 w 3236913"/>
              <a:gd name="connsiteY106" fmla="*/ 2153026 h 3236912"/>
              <a:gd name="connsiteX107" fmla="*/ 2103350 w 3236913"/>
              <a:gd name="connsiteY107" fmla="*/ 2730546 h 3236912"/>
              <a:gd name="connsiteX108" fmla="*/ 2112714 w 3236913"/>
              <a:gd name="connsiteY108" fmla="*/ 2741895 h 3236912"/>
              <a:gd name="connsiteX109" fmla="*/ 2166938 w 3236913"/>
              <a:gd name="connsiteY109" fmla="*/ 2919412 h 3236912"/>
              <a:gd name="connsiteX110" fmla="*/ 1849438 w 3236913"/>
              <a:gd name="connsiteY110" fmla="*/ 3236912 h 3236912"/>
              <a:gd name="connsiteX111" fmla="*/ 1531938 w 3236913"/>
              <a:gd name="connsiteY111" fmla="*/ 2919412 h 3236912"/>
              <a:gd name="connsiteX112" fmla="*/ 1532734 w 3236913"/>
              <a:gd name="connsiteY112" fmla="*/ 2911516 h 3236912"/>
              <a:gd name="connsiteX113" fmla="*/ 407059 w 3236913"/>
              <a:gd name="connsiteY113" fmla="*/ 2162074 h 3236912"/>
              <a:gd name="connsiteX114" fmla="*/ 381487 w 3236913"/>
              <a:gd name="connsiteY114" fmla="*/ 2170012 h 3236912"/>
              <a:gd name="connsiteX115" fmla="*/ 317500 w 3236913"/>
              <a:gd name="connsiteY115" fmla="*/ 2176462 h 3236912"/>
              <a:gd name="connsiteX116" fmla="*/ 0 w 3236913"/>
              <a:gd name="connsiteY116" fmla="*/ 1858962 h 3236912"/>
              <a:gd name="connsiteX117" fmla="*/ 193915 w 3236913"/>
              <a:gd name="connsiteY117" fmla="*/ 1566413 h 3236912"/>
              <a:gd name="connsiteX118" fmla="*/ 248256 w 3236913"/>
              <a:gd name="connsiteY118" fmla="*/ 1549544 h 3236912"/>
              <a:gd name="connsiteX119" fmla="*/ 577563 w 3236913"/>
              <a:gd name="connsiteY119" fmla="*/ 604954 h 3236912"/>
              <a:gd name="connsiteX120" fmla="*/ 532795 w 3236913"/>
              <a:gd name="connsiteY120" fmla="*/ 580776 h 3236912"/>
              <a:gd name="connsiteX121" fmla="*/ 392112 w 3236913"/>
              <a:gd name="connsiteY121" fmla="*/ 317500 h 3236912"/>
              <a:gd name="connsiteX122" fmla="*/ 711200 w 3236913"/>
              <a:gd name="connsiteY122" fmla="*/ 0 h 323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Lst>
            <a:rect l="l" t="t" r="r" b="b"/>
            <a:pathLst>
              <a:path w="3236913" h="3236912">
                <a:moveTo>
                  <a:pt x="1850232" y="2722562"/>
                </a:moveTo>
                <a:cubicBezTo>
                  <a:pt x="1741953" y="2722562"/>
                  <a:pt x="1654175" y="2810340"/>
                  <a:pt x="1654175" y="2918619"/>
                </a:cubicBezTo>
                <a:cubicBezTo>
                  <a:pt x="1654175" y="3026898"/>
                  <a:pt x="1741953" y="3114676"/>
                  <a:pt x="1850232" y="3114676"/>
                </a:cubicBezTo>
                <a:cubicBezTo>
                  <a:pt x="1958511" y="3114676"/>
                  <a:pt x="2046289" y="3026898"/>
                  <a:pt x="2046289" y="2918619"/>
                </a:cubicBezTo>
                <a:cubicBezTo>
                  <a:pt x="2046289" y="2810340"/>
                  <a:pt x="1958511" y="2722562"/>
                  <a:pt x="1850232" y="2722562"/>
                </a:cubicBezTo>
                <a:close/>
                <a:moveTo>
                  <a:pt x="1042944" y="1787912"/>
                </a:moveTo>
                <a:lnTo>
                  <a:pt x="634079" y="1849822"/>
                </a:lnTo>
                <a:lnTo>
                  <a:pt x="635000" y="1858962"/>
                </a:lnTo>
                <a:cubicBezTo>
                  <a:pt x="635000" y="1946637"/>
                  <a:pt x="599463" y="2026012"/>
                  <a:pt x="542006" y="2083468"/>
                </a:cubicBezTo>
                <a:lnTo>
                  <a:pt x="528007" y="2095019"/>
                </a:lnTo>
                <a:lnTo>
                  <a:pt x="1563191" y="2784216"/>
                </a:lnTo>
                <a:lnTo>
                  <a:pt x="1586162" y="2741895"/>
                </a:lnTo>
                <a:cubicBezTo>
                  <a:pt x="1608985" y="2708113"/>
                  <a:pt x="1638139" y="2678959"/>
                  <a:pt x="1671921" y="2656136"/>
                </a:cubicBezTo>
                <a:lnTo>
                  <a:pt x="1716212" y="2632096"/>
                </a:lnTo>
                <a:lnTo>
                  <a:pt x="1434308" y="1964134"/>
                </a:lnTo>
                <a:lnTo>
                  <a:pt x="1400030" y="1974748"/>
                </a:lnTo>
                <a:cubicBezTo>
                  <a:pt x="1379310" y="1978978"/>
                  <a:pt x="1357856" y="1981199"/>
                  <a:pt x="1335883" y="1981199"/>
                </a:cubicBezTo>
                <a:cubicBezTo>
                  <a:pt x="1226014" y="1981199"/>
                  <a:pt x="1129148" y="1925671"/>
                  <a:pt x="1071948" y="1841216"/>
                </a:cubicBezTo>
                <a:close/>
                <a:moveTo>
                  <a:pt x="1637303" y="1761128"/>
                </a:moveTo>
                <a:lnTo>
                  <a:pt x="1629163" y="1787284"/>
                </a:lnTo>
                <a:cubicBezTo>
                  <a:pt x="1613057" y="1825269"/>
                  <a:pt x="1589750" y="1859477"/>
                  <a:pt x="1560950" y="1888205"/>
                </a:cubicBezTo>
                <a:lnTo>
                  <a:pt x="1542243" y="1903602"/>
                </a:lnTo>
                <a:lnTo>
                  <a:pt x="1837465" y="2603119"/>
                </a:lnTo>
                <a:lnTo>
                  <a:pt x="1849438" y="2601912"/>
                </a:lnTo>
                <a:cubicBezTo>
                  <a:pt x="1893275" y="2601912"/>
                  <a:pt x="1935038" y="2610797"/>
                  <a:pt x="1973023" y="2626863"/>
                </a:cubicBezTo>
                <a:lnTo>
                  <a:pt x="2011194" y="2647582"/>
                </a:lnTo>
                <a:lnTo>
                  <a:pt x="2695044" y="2083582"/>
                </a:lnTo>
                <a:lnTo>
                  <a:pt x="2694907" y="2083469"/>
                </a:lnTo>
                <a:cubicBezTo>
                  <a:pt x="2637451" y="2026012"/>
                  <a:pt x="2601913" y="1946637"/>
                  <a:pt x="2601913" y="1858962"/>
                </a:cubicBezTo>
                <a:lnTo>
                  <a:pt x="2603017" y="1848014"/>
                </a:lnTo>
                <a:close/>
                <a:moveTo>
                  <a:pt x="2918620" y="1662112"/>
                </a:moveTo>
                <a:cubicBezTo>
                  <a:pt x="2810341" y="1662112"/>
                  <a:pt x="2722563" y="1749890"/>
                  <a:pt x="2722563" y="1858169"/>
                </a:cubicBezTo>
                <a:cubicBezTo>
                  <a:pt x="2722563" y="1966448"/>
                  <a:pt x="2810341" y="2054226"/>
                  <a:pt x="2918620" y="2054226"/>
                </a:cubicBezTo>
                <a:cubicBezTo>
                  <a:pt x="3026899" y="2054226"/>
                  <a:pt x="3114677" y="1966448"/>
                  <a:pt x="3114677" y="1858169"/>
                </a:cubicBezTo>
                <a:cubicBezTo>
                  <a:pt x="3114677" y="1749890"/>
                  <a:pt x="3026899" y="1662112"/>
                  <a:pt x="2918620" y="1662112"/>
                </a:cubicBezTo>
                <a:close/>
                <a:moveTo>
                  <a:pt x="318295" y="1662112"/>
                </a:moveTo>
                <a:cubicBezTo>
                  <a:pt x="210016" y="1662112"/>
                  <a:pt x="122238" y="1749890"/>
                  <a:pt x="122238" y="1858169"/>
                </a:cubicBezTo>
                <a:cubicBezTo>
                  <a:pt x="122238" y="1966448"/>
                  <a:pt x="210016" y="2054226"/>
                  <a:pt x="318295" y="2054226"/>
                </a:cubicBezTo>
                <a:cubicBezTo>
                  <a:pt x="426574" y="2054226"/>
                  <a:pt x="514352" y="1966448"/>
                  <a:pt x="514352" y="1858169"/>
                </a:cubicBezTo>
                <a:cubicBezTo>
                  <a:pt x="514352" y="1749890"/>
                  <a:pt x="426574" y="1662112"/>
                  <a:pt x="318295" y="1662112"/>
                </a:cubicBezTo>
                <a:close/>
                <a:moveTo>
                  <a:pt x="1335883" y="1468437"/>
                </a:moveTo>
                <a:cubicBezTo>
                  <a:pt x="1227604" y="1468437"/>
                  <a:pt x="1139826" y="1556215"/>
                  <a:pt x="1139826" y="1664494"/>
                </a:cubicBezTo>
                <a:cubicBezTo>
                  <a:pt x="1139826" y="1772773"/>
                  <a:pt x="1227604" y="1860551"/>
                  <a:pt x="1335883" y="1860551"/>
                </a:cubicBezTo>
                <a:cubicBezTo>
                  <a:pt x="1444162" y="1860551"/>
                  <a:pt x="1531940" y="1772773"/>
                  <a:pt x="1531940" y="1664494"/>
                </a:cubicBezTo>
                <a:cubicBezTo>
                  <a:pt x="1531940" y="1556215"/>
                  <a:pt x="1444162" y="1468437"/>
                  <a:pt x="1335883" y="1468437"/>
                </a:cubicBezTo>
                <a:close/>
                <a:moveTo>
                  <a:pt x="2576481" y="666569"/>
                </a:moveTo>
                <a:lnTo>
                  <a:pt x="1602943" y="1491927"/>
                </a:lnTo>
                <a:lnTo>
                  <a:pt x="1629163" y="1540114"/>
                </a:lnTo>
                <a:cubicBezTo>
                  <a:pt x="1637216" y="1559106"/>
                  <a:pt x="1643469" y="1579043"/>
                  <a:pt x="1647709" y="1599712"/>
                </a:cubicBezTo>
                <a:lnTo>
                  <a:pt x="1651685" y="1639053"/>
                </a:lnTo>
                <a:lnTo>
                  <a:pt x="2631172" y="1727439"/>
                </a:lnTo>
                <a:lnTo>
                  <a:pt x="2656137" y="1681445"/>
                </a:lnTo>
                <a:cubicBezTo>
                  <a:pt x="2698930" y="1618103"/>
                  <a:pt x="2763980" y="1571034"/>
                  <a:pt x="2840065" y="1551458"/>
                </a:cubicBezTo>
                <a:lnTo>
                  <a:pt x="2890686" y="1545081"/>
                </a:lnTo>
                <a:lnTo>
                  <a:pt x="2755363" y="673152"/>
                </a:lnTo>
                <a:lnTo>
                  <a:pt x="2740512" y="677761"/>
                </a:lnTo>
                <a:cubicBezTo>
                  <a:pt x="2719844" y="681991"/>
                  <a:pt x="2698444" y="684212"/>
                  <a:pt x="2676525" y="684212"/>
                </a:cubicBezTo>
                <a:cubicBezTo>
                  <a:pt x="2654606" y="684212"/>
                  <a:pt x="2633206" y="681991"/>
                  <a:pt x="2612538" y="677761"/>
                </a:cubicBezTo>
                <a:close/>
                <a:moveTo>
                  <a:pt x="799280" y="621207"/>
                </a:moveTo>
                <a:lnTo>
                  <a:pt x="775507" y="628550"/>
                </a:lnTo>
                <a:cubicBezTo>
                  <a:pt x="754735" y="632779"/>
                  <a:pt x="733228" y="635000"/>
                  <a:pt x="711200" y="635000"/>
                </a:cubicBezTo>
                <a:lnTo>
                  <a:pt x="697852" y="633661"/>
                </a:lnTo>
                <a:lnTo>
                  <a:pt x="379151" y="1549228"/>
                </a:lnTo>
                <a:lnTo>
                  <a:pt x="396848" y="1551458"/>
                </a:lnTo>
                <a:cubicBezTo>
                  <a:pt x="472934" y="1571034"/>
                  <a:pt x="537984" y="1618103"/>
                  <a:pt x="580776" y="1681445"/>
                </a:cubicBezTo>
                <a:lnTo>
                  <a:pt x="606529" y="1728891"/>
                </a:lnTo>
                <a:lnTo>
                  <a:pt x="1017902" y="1666797"/>
                </a:lnTo>
                <a:lnTo>
                  <a:pt x="1017589" y="1663699"/>
                </a:lnTo>
                <a:cubicBezTo>
                  <a:pt x="1017589" y="1554105"/>
                  <a:pt x="1073255" y="1457480"/>
                  <a:pt x="1157921" y="1400423"/>
                </a:cubicBezTo>
                <a:lnTo>
                  <a:pt x="1163095" y="1397622"/>
                </a:lnTo>
                <a:close/>
                <a:moveTo>
                  <a:pt x="1009100" y="428625"/>
                </a:moveTo>
                <a:lnTo>
                  <a:pt x="1005212" y="441085"/>
                </a:lnTo>
                <a:cubicBezTo>
                  <a:pt x="989066" y="479070"/>
                  <a:pt x="965701" y="513278"/>
                  <a:pt x="936829" y="542006"/>
                </a:cubicBezTo>
                <a:lnTo>
                  <a:pt x="906990" y="566504"/>
                </a:lnTo>
                <a:lnTo>
                  <a:pt x="1275200" y="1352301"/>
                </a:lnTo>
                <a:lnTo>
                  <a:pt x="1335883" y="1346199"/>
                </a:lnTo>
                <a:cubicBezTo>
                  <a:pt x="1401803" y="1346199"/>
                  <a:pt x="1463044" y="1366189"/>
                  <a:pt x="1513844" y="1400423"/>
                </a:cubicBezTo>
                <a:lnTo>
                  <a:pt x="1519133" y="1404776"/>
                </a:lnTo>
                <a:lnTo>
                  <a:pt x="2466429" y="603108"/>
                </a:lnTo>
                <a:lnTo>
                  <a:pt x="2452019" y="591218"/>
                </a:lnTo>
                <a:cubicBezTo>
                  <a:pt x="2408927" y="548126"/>
                  <a:pt x="2378164" y="492704"/>
                  <a:pt x="2365476" y="430699"/>
                </a:cubicBezTo>
                <a:lnTo>
                  <a:pt x="2365266" y="428625"/>
                </a:lnTo>
                <a:close/>
                <a:moveTo>
                  <a:pt x="2675732" y="169862"/>
                </a:moveTo>
                <a:cubicBezTo>
                  <a:pt x="2567453" y="169862"/>
                  <a:pt x="2479675" y="257640"/>
                  <a:pt x="2479675" y="365919"/>
                </a:cubicBezTo>
                <a:cubicBezTo>
                  <a:pt x="2479675" y="474198"/>
                  <a:pt x="2567453" y="561976"/>
                  <a:pt x="2675732" y="561976"/>
                </a:cubicBezTo>
                <a:cubicBezTo>
                  <a:pt x="2784011" y="561976"/>
                  <a:pt x="2871789" y="474198"/>
                  <a:pt x="2871789" y="365919"/>
                </a:cubicBezTo>
                <a:cubicBezTo>
                  <a:pt x="2871789" y="257640"/>
                  <a:pt x="2784011" y="169862"/>
                  <a:pt x="2675732" y="169862"/>
                </a:cubicBezTo>
                <a:close/>
                <a:moveTo>
                  <a:pt x="711199" y="122238"/>
                </a:moveTo>
                <a:cubicBezTo>
                  <a:pt x="602482" y="122238"/>
                  <a:pt x="514349" y="210016"/>
                  <a:pt x="514349" y="318295"/>
                </a:cubicBezTo>
                <a:cubicBezTo>
                  <a:pt x="514349" y="426574"/>
                  <a:pt x="602482" y="514352"/>
                  <a:pt x="711199" y="514352"/>
                </a:cubicBezTo>
                <a:cubicBezTo>
                  <a:pt x="819916" y="514352"/>
                  <a:pt x="908049" y="426574"/>
                  <a:pt x="908049" y="318295"/>
                </a:cubicBezTo>
                <a:cubicBezTo>
                  <a:pt x="908049" y="210016"/>
                  <a:pt x="819916" y="122238"/>
                  <a:pt x="711199" y="122238"/>
                </a:cubicBezTo>
                <a:close/>
                <a:moveTo>
                  <a:pt x="711200" y="0"/>
                </a:moveTo>
                <a:cubicBezTo>
                  <a:pt x="865399" y="0"/>
                  <a:pt x="994051" y="108834"/>
                  <a:pt x="1023805" y="253513"/>
                </a:cubicBezTo>
                <a:lnTo>
                  <a:pt x="1029162" y="306387"/>
                </a:lnTo>
                <a:lnTo>
                  <a:pt x="2365106" y="306387"/>
                </a:lnTo>
                <a:lnTo>
                  <a:pt x="2365476" y="302725"/>
                </a:lnTo>
                <a:cubicBezTo>
                  <a:pt x="2395081" y="158046"/>
                  <a:pt x="2523094" y="49212"/>
                  <a:pt x="2676525" y="49212"/>
                </a:cubicBezTo>
                <a:cubicBezTo>
                  <a:pt x="2851875" y="49212"/>
                  <a:pt x="2994025" y="191362"/>
                  <a:pt x="2994025" y="366712"/>
                </a:cubicBezTo>
                <a:cubicBezTo>
                  <a:pt x="2994025" y="454387"/>
                  <a:pt x="2958488" y="533762"/>
                  <a:pt x="2901031" y="591218"/>
                </a:cubicBezTo>
                <a:lnTo>
                  <a:pt x="2867223" y="619113"/>
                </a:lnTo>
                <a:lnTo>
                  <a:pt x="3018289" y="1558742"/>
                </a:lnTo>
                <a:lnTo>
                  <a:pt x="3042998" y="1566413"/>
                </a:lnTo>
                <a:cubicBezTo>
                  <a:pt x="3156954" y="1614612"/>
                  <a:pt x="3236913" y="1727449"/>
                  <a:pt x="3236913" y="1858962"/>
                </a:cubicBezTo>
                <a:cubicBezTo>
                  <a:pt x="3236913" y="2034312"/>
                  <a:pt x="3094763" y="2176462"/>
                  <a:pt x="2919413" y="2176462"/>
                </a:cubicBezTo>
                <a:cubicBezTo>
                  <a:pt x="2897494" y="2176462"/>
                  <a:pt x="2876094" y="2174241"/>
                  <a:pt x="2855426" y="2170012"/>
                </a:cubicBezTo>
                <a:lnTo>
                  <a:pt x="2800706" y="2153026"/>
                </a:lnTo>
                <a:lnTo>
                  <a:pt x="2103350" y="2730546"/>
                </a:lnTo>
                <a:lnTo>
                  <a:pt x="2112714" y="2741895"/>
                </a:lnTo>
                <a:cubicBezTo>
                  <a:pt x="2146948" y="2792568"/>
                  <a:pt x="2166938" y="2853656"/>
                  <a:pt x="2166938" y="2919412"/>
                </a:cubicBezTo>
                <a:cubicBezTo>
                  <a:pt x="2166938" y="3094762"/>
                  <a:pt x="2024788" y="3236912"/>
                  <a:pt x="1849438" y="3236912"/>
                </a:cubicBezTo>
                <a:cubicBezTo>
                  <a:pt x="1674088" y="3236912"/>
                  <a:pt x="1531938" y="3094762"/>
                  <a:pt x="1531938" y="2919412"/>
                </a:cubicBezTo>
                <a:lnTo>
                  <a:pt x="1532734" y="2911516"/>
                </a:lnTo>
                <a:lnTo>
                  <a:pt x="407059" y="2162074"/>
                </a:lnTo>
                <a:lnTo>
                  <a:pt x="381487" y="2170012"/>
                </a:lnTo>
                <a:cubicBezTo>
                  <a:pt x="360819" y="2174241"/>
                  <a:pt x="339419" y="2176462"/>
                  <a:pt x="317500" y="2176462"/>
                </a:cubicBezTo>
                <a:cubicBezTo>
                  <a:pt x="142150" y="2176462"/>
                  <a:pt x="0" y="2034312"/>
                  <a:pt x="0" y="1858962"/>
                </a:cubicBezTo>
                <a:cubicBezTo>
                  <a:pt x="0" y="1727449"/>
                  <a:pt x="79959" y="1614612"/>
                  <a:pt x="193915" y="1566413"/>
                </a:cubicBezTo>
                <a:lnTo>
                  <a:pt x="248256" y="1549544"/>
                </a:lnTo>
                <a:lnTo>
                  <a:pt x="577563" y="604954"/>
                </a:lnTo>
                <a:lnTo>
                  <a:pt x="532795" y="580776"/>
                </a:lnTo>
                <a:cubicBezTo>
                  <a:pt x="447917" y="523719"/>
                  <a:pt x="392112" y="427094"/>
                  <a:pt x="392112" y="317500"/>
                </a:cubicBezTo>
                <a:cubicBezTo>
                  <a:pt x="392112" y="142150"/>
                  <a:pt x="534973" y="0"/>
                  <a:pt x="711200" y="0"/>
                </a:cubicBezTo>
                <a:close/>
              </a:path>
            </a:pathLst>
          </a:custGeom>
          <a:solidFill>
            <a:schemeClr val="tx2"/>
          </a:solidFill>
          <a:ln>
            <a:noFill/>
          </a:ln>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399" name="Rectangle 398">
            <a:extLst>
              <a:ext uri="{FF2B5EF4-FFF2-40B4-BE49-F238E27FC236}">
                <a16:creationId xmlns:a16="http://schemas.microsoft.com/office/drawing/2014/main" id="{A48B956F-82BE-4686-A75F-32CF01C9C249}"/>
              </a:ext>
            </a:extLst>
          </p:cNvPr>
          <p:cNvSpPr/>
          <p:nvPr/>
        </p:nvSpPr>
        <p:spPr>
          <a:xfrm>
            <a:off x="5588658" y="2662295"/>
            <a:ext cx="1274688" cy="111352"/>
          </a:xfrm>
          <a:prstGeom prst="rect">
            <a:avLst/>
          </a:prstGeom>
          <a:noFill/>
          <a:ln w="25400" cap="flat" cmpd="sng" algn="ctr">
            <a:noFill/>
            <a:prstDash val="solid"/>
          </a:ln>
          <a:effectLst/>
        </p:spPr>
        <p:txBody>
          <a:bodyPr rot="0" spcFirstLastPara="0" vertOverflow="overflow" horzOverflow="overflow" vert="horz" wrap="square" lIns="89629" tIns="89629" rIns="89629" bIns="89629" numCol="1" spcCol="0" rtlCol="0" fromWordArt="0" anchor="ctr" anchorCtr="0" forceAA="0" compatLnSpc="1">
            <a:prstTxWarp prst="textNoShape">
              <a:avLst/>
            </a:prstTxWarp>
            <a:noAutofit/>
          </a:bodyPr>
          <a:lstStyle/>
          <a:p>
            <a:pPr algn="ctr" defTabSz="896214">
              <a:defRPr/>
            </a:pPr>
            <a:r>
              <a:rPr lang="en-US" sz="900" kern="0">
                <a:gradFill>
                  <a:gsLst>
                    <a:gs pos="66667">
                      <a:schemeClr val="tx1"/>
                    </a:gs>
                    <a:gs pos="37000">
                      <a:schemeClr val="tx1"/>
                    </a:gs>
                  </a:gsLst>
                  <a:lin ang="0" scaled="1"/>
                </a:gradFill>
                <a:latin typeface="Segoe UI Semilight"/>
              </a:rPr>
              <a:t>Design &amp; Engineering</a:t>
            </a:r>
          </a:p>
        </p:txBody>
      </p:sp>
      <p:grpSp>
        <p:nvGrpSpPr>
          <p:cNvPr id="6" name="Group 5">
            <a:extLst>
              <a:ext uri="{FF2B5EF4-FFF2-40B4-BE49-F238E27FC236}">
                <a16:creationId xmlns:a16="http://schemas.microsoft.com/office/drawing/2014/main" id="{1FA73272-B697-4E3E-8E31-974010163310}"/>
              </a:ext>
            </a:extLst>
          </p:cNvPr>
          <p:cNvGrpSpPr/>
          <p:nvPr/>
        </p:nvGrpSpPr>
        <p:grpSpPr>
          <a:xfrm>
            <a:off x="7038389" y="3012678"/>
            <a:ext cx="791482" cy="601013"/>
            <a:chOff x="6776575" y="4064184"/>
            <a:chExt cx="791594" cy="601098"/>
          </a:xfrm>
        </p:grpSpPr>
        <p:grpSp>
          <p:nvGrpSpPr>
            <p:cNvPr id="217" name="Group 216">
              <a:extLst>
                <a:ext uri="{FF2B5EF4-FFF2-40B4-BE49-F238E27FC236}">
                  <a16:creationId xmlns:a16="http://schemas.microsoft.com/office/drawing/2014/main" id="{AA2AA93E-CA29-459F-AD8A-C6DB00DCCEA1}"/>
                </a:ext>
              </a:extLst>
            </p:cNvPr>
            <p:cNvGrpSpPr/>
            <p:nvPr/>
          </p:nvGrpSpPr>
          <p:grpSpPr>
            <a:xfrm>
              <a:off x="6959497" y="4064184"/>
              <a:ext cx="425750" cy="425747"/>
              <a:chOff x="2724150" y="3175"/>
              <a:chExt cx="6994525" cy="6994526"/>
            </a:xfrm>
            <a:solidFill>
              <a:schemeClr val="tx2"/>
            </a:solidFill>
          </p:grpSpPr>
          <p:sp>
            <p:nvSpPr>
              <p:cNvPr id="219" name="Freeform: Shape 218">
                <a:extLst>
                  <a:ext uri="{FF2B5EF4-FFF2-40B4-BE49-F238E27FC236}">
                    <a16:creationId xmlns:a16="http://schemas.microsoft.com/office/drawing/2014/main" id="{8BB30E24-7F34-49CD-B1E4-1E6C044522AD}"/>
                  </a:ext>
                </a:extLst>
              </p:cNvPr>
              <p:cNvSpPr>
                <a:spLocks/>
              </p:cNvSpPr>
              <p:nvPr/>
            </p:nvSpPr>
            <p:spPr bwMode="auto">
              <a:xfrm>
                <a:off x="3071813" y="5132388"/>
                <a:ext cx="935038" cy="1865313"/>
              </a:xfrm>
              <a:custGeom>
                <a:avLst/>
                <a:gdLst>
                  <a:gd name="connsiteX0" fmla="*/ 234950 w 935038"/>
                  <a:gd name="connsiteY0" fmla="*/ 233362 h 1865313"/>
                  <a:gd name="connsiteX1" fmla="*/ 234950 w 935038"/>
                  <a:gd name="connsiteY1" fmla="*/ 1630362 h 1865313"/>
                  <a:gd name="connsiteX2" fmla="*/ 700088 w 935038"/>
                  <a:gd name="connsiteY2" fmla="*/ 1630362 h 1865313"/>
                  <a:gd name="connsiteX3" fmla="*/ 700088 w 935038"/>
                  <a:gd name="connsiteY3" fmla="*/ 233362 h 1865313"/>
                  <a:gd name="connsiteX4" fmla="*/ 117237 w 935038"/>
                  <a:gd name="connsiteY4" fmla="*/ 0 h 1865313"/>
                  <a:gd name="connsiteX5" fmla="*/ 817801 w 935038"/>
                  <a:gd name="connsiteY5" fmla="*/ 0 h 1865313"/>
                  <a:gd name="connsiteX6" fmla="*/ 935038 w 935038"/>
                  <a:gd name="connsiteY6" fmla="*/ 117118 h 1865313"/>
                  <a:gd name="connsiteX7" fmla="*/ 935038 w 935038"/>
                  <a:gd name="connsiteY7" fmla="*/ 1748196 h 1865313"/>
                  <a:gd name="connsiteX8" fmla="*/ 817801 w 935038"/>
                  <a:gd name="connsiteY8" fmla="*/ 1865313 h 1865313"/>
                  <a:gd name="connsiteX9" fmla="*/ 117237 w 935038"/>
                  <a:gd name="connsiteY9" fmla="*/ 1865313 h 1865313"/>
                  <a:gd name="connsiteX10" fmla="*/ 0 w 935038"/>
                  <a:gd name="connsiteY10" fmla="*/ 1748196 h 1865313"/>
                  <a:gd name="connsiteX11" fmla="*/ 0 w 935038"/>
                  <a:gd name="connsiteY11" fmla="*/ 117118 h 1865313"/>
                  <a:gd name="connsiteX12" fmla="*/ 117237 w 935038"/>
                  <a:gd name="connsiteY12" fmla="*/ 0 h 186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038" h="1865313">
                    <a:moveTo>
                      <a:pt x="234950" y="233362"/>
                    </a:moveTo>
                    <a:lnTo>
                      <a:pt x="234950" y="1630362"/>
                    </a:lnTo>
                    <a:lnTo>
                      <a:pt x="700088" y="1630362"/>
                    </a:lnTo>
                    <a:lnTo>
                      <a:pt x="700088" y="233362"/>
                    </a:lnTo>
                    <a:close/>
                    <a:moveTo>
                      <a:pt x="117237" y="0"/>
                    </a:moveTo>
                    <a:cubicBezTo>
                      <a:pt x="117237" y="0"/>
                      <a:pt x="117237" y="0"/>
                      <a:pt x="817801" y="0"/>
                    </a:cubicBezTo>
                    <a:cubicBezTo>
                      <a:pt x="883568" y="0"/>
                      <a:pt x="935038" y="51418"/>
                      <a:pt x="935038" y="117118"/>
                    </a:cubicBezTo>
                    <a:cubicBezTo>
                      <a:pt x="935038" y="117118"/>
                      <a:pt x="935038" y="117118"/>
                      <a:pt x="935038" y="1748196"/>
                    </a:cubicBezTo>
                    <a:cubicBezTo>
                      <a:pt x="935038" y="1813896"/>
                      <a:pt x="883568" y="1865313"/>
                      <a:pt x="817801" y="1865313"/>
                    </a:cubicBezTo>
                    <a:cubicBezTo>
                      <a:pt x="817801" y="1865313"/>
                      <a:pt x="817801" y="1865313"/>
                      <a:pt x="117237" y="1865313"/>
                    </a:cubicBezTo>
                    <a:cubicBezTo>
                      <a:pt x="54330" y="1865313"/>
                      <a:pt x="0" y="1813896"/>
                      <a:pt x="0" y="1748196"/>
                    </a:cubicBezTo>
                    <a:cubicBezTo>
                      <a:pt x="0" y="1748196"/>
                      <a:pt x="0" y="1748196"/>
                      <a:pt x="0" y="117118"/>
                    </a:cubicBezTo>
                    <a:cubicBezTo>
                      <a:pt x="0" y="51418"/>
                      <a:pt x="54330" y="0"/>
                      <a:pt x="117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20" name="Freeform: Shape 219">
                <a:extLst>
                  <a:ext uri="{FF2B5EF4-FFF2-40B4-BE49-F238E27FC236}">
                    <a16:creationId xmlns:a16="http://schemas.microsoft.com/office/drawing/2014/main" id="{8394DBE4-FE30-44F2-BC7C-F214CDBFAD2B}"/>
                  </a:ext>
                </a:extLst>
              </p:cNvPr>
              <p:cNvSpPr>
                <a:spLocks/>
              </p:cNvSpPr>
              <p:nvPr/>
            </p:nvSpPr>
            <p:spPr bwMode="auto">
              <a:xfrm>
                <a:off x="8435975" y="5132388"/>
                <a:ext cx="933450" cy="1865313"/>
              </a:xfrm>
              <a:custGeom>
                <a:avLst/>
                <a:gdLst>
                  <a:gd name="connsiteX0" fmla="*/ 233363 w 933450"/>
                  <a:gd name="connsiteY0" fmla="*/ 233362 h 1865313"/>
                  <a:gd name="connsiteX1" fmla="*/ 233363 w 933450"/>
                  <a:gd name="connsiteY1" fmla="*/ 1630362 h 1865313"/>
                  <a:gd name="connsiteX2" fmla="*/ 700088 w 933450"/>
                  <a:gd name="connsiteY2" fmla="*/ 1630362 h 1865313"/>
                  <a:gd name="connsiteX3" fmla="*/ 700088 w 933450"/>
                  <a:gd name="connsiteY3" fmla="*/ 233362 h 1865313"/>
                  <a:gd name="connsiteX4" fmla="*/ 117038 w 933450"/>
                  <a:gd name="connsiteY4" fmla="*/ 0 h 1865313"/>
                  <a:gd name="connsiteX5" fmla="*/ 816412 w 933450"/>
                  <a:gd name="connsiteY5" fmla="*/ 0 h 1865313"/>
                  <a:gd name="connsiteX6" fmla="*/ 933450 w 933450"/>
                  <a:gd name="connsiteY6" fmla="*/ 117118 h 1865313"/>
                  <a:gd name="connsiteX7" fmla="*/ 933450 w 933450"/>
                  <a:gd name="connsiteY7" fmla="*/ 1748196 h 1865313"/>
                  <a:gd name="connsiteX8" fmla="*/ 816412 w 933450"/>
                  <a:gd name="connsiteY8" fmla="*/ 1865313 h 1865313"/>
                  <a:gd name="connsiteX9" fmla="*/ 117038 w 933450"/>
                  <a:gd name="connsiteY9" fmla="*/ 1865313 h 1865313"/>
                  <a:gd name="connsiteX10" fmla="*/ 0 w 933450"/>
                  <a:gd name="connsiteY10" fmla="*/ 1748196 h 1865313"/>
                  <a:gd name="connsiteX11" fmla="*/ 0 w 933450"/>
                  <a:gd name="connsiteY11" fmla="*/ 117118 h 1865313"/>
                  <a:gd name="connsiteX12" fmla="*/ 117038 w 933450"/>
                  <a:gd name="connsiteY12" fmla="*/ 0 h 186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3450" h="1865313">
                    <a:moveTo>
                      <a:pt x="233363" y="233362"/>
                    </a:moveTo>
                    <a:lnTo>
                      <a:pt x="233363" y="1630362"/>
                    </a:lnTo>
                    <a:lnTo>
                      <a:pt x="700088" y="1630362"/>
                    </a:lnTo>
                    <a:lnTo>
                      <a:pt x="700088" y="233362"/>
                    </a:lnTo>
                    <a:close/>
                    <a:moveTo>
                      <a:pt x="117038" y="0"/>
                    </a:moveTo>
                    <a:cubicBezTo>
                      <a:pt x="117038" y="0"/>
                      <a:pt x="117038" y="0"/>
                      <a:pt x="816412" y="0"/>
                    </a:cubicBezTo>
                    <a:cubicBezTo>
                      <a:pt x="879213" y="0"/>
                      <a:pt x="933450" y="51418"/>
                      <a:pt x="933450" y="117118"/>
                    </a:cubicBezTo>
                    <a:cubicBezTo>
                      <a:pt x="933450" y="117118"/>
                      <a:pt x="933450" y="117118"/>
                      <a:pt x="933450" y="1748196"/>
                    </a:cubicBezTo>
                    <a:cubicBezTo>
                      <a:pt x="933450" y="1813896"/>
                      <a:pt x="879213" y="1865313"/>
                      <a:pt x="816412" y="1865313"/>
                    </a:cubicBezTo>
                    <a:cubicBezTo>
                      <a:pt x="816412" y="1865313"/>
                      <a:pt x="816412" y="1865313"/>
                      <a:pt x="117038" y="1865313"/>
                    </a:cubicBezTo>
                    <a:cubicBezTo>
                      <a:pt x="51383" y="1865313"/>
                      <a:pt x="0" y="1813896"/>
                      <a:pt x="0" y="1748196"/>
                    </a:cubicBezTo>
                    <a:cubicBezTo>
                      <a:pt x="0" y="1748196"/>
                      <a:pt x="0" y="1748196"/>
                      <a:pt x="0" y="117118"/>
                    </a:cubicBezTo>
                    <a:cubicBezTo>
                      <a:pt x="0" y="51418"/>
                      <a:pt x="51383" y="0"/>
                      <a:pt x="11703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21" name="Freeform: Shape 220">
                <a:extLst>
                  <a:ext uri="{FF2B5EF4-FFF2-40B4-BE49-F238E27FC236}">
                    <a16:creationId xmlns:a16="http://schemas.microsoft.com/office/drawing/2014/main" id="{3F534526-306A-45F3-A125-3326737578BC}"/>
                  </a:ext>
                </a:extLst>
              </p:cNvPr>
              <p:cNvSpPr>
                <a:spLocks/>
              </p:cNvSpPr>
              <p:nvPr/>
            </p:nvSpPr>
            <p:spPr bwMode="auto">
              <a:xfrm>
                <a:off x="2724150" y="3733800"/>
                <a:ext cx="6994525" cy="1631950"/>
              </a:xfrm>
              <a:custGeom>
                <a:avLst/>
                <a:gdLst>
                  <a:gd name="connsiteX0" fmla="*/ 233363 w 6994525"/>
                  <a:gd name="connsiteY0" fmla="*/ 231775 h 1631950"/>
                  <a:gd name="connsiteX1" fmla="*/ 233363 w 6994525"/>
                  <a:gd name="connsiteY1" fmla="*/ 1398588 h 1631950"/>
                  <a:gd name="connsiteX2" fmla="*/ 6759576 w 6994525"/>
                  <a:gd name="connsiteY2" fmla="*/ 1398588 h 1631950"/>
                  <a:gd name="connsiteX3" fmla="*/ 6759576 w 6994525"/>
                  <a:gd name="connsiteY3" fmla="*/ 231775 h 1631950"/>
                  <a:gd name="connsiteX4" fmla="*/ 117147 w 6994525"/>
                  <a:gd name="connsiteY4" fmla="*/ 0 h 1631950"/>
                  <a:gd name="connsiteX5" fmla="*/ 6877378 w 6994525"/>
                  <a:gd name="connsiteY5" fmla="*/ 0 h 1631950"/>
                  <a:gd name="connsiteX6" fmla="*/ 6994525 w 6994525"/>
                  <a:gd name="connsiteY6" fmla="*/ 114322 h 1631950"/>
                  <a:gd name="connsiteX7" fmla="*/ 6994525 w 6994525"/>
                  <a:gd name="connsiteY7" fmla="*/ 1514770 h 1631950"/>
                  <a:gd name="connsiteX8" fmla="*/ 6877378 w 6994525"/>
                  <a:gd name="connsiteY8" fmla="*/ 1631950 h 1631950"/>
                  <a:gd name="connsiteX9" fmla="*/ 117147 w 6994525"/>
                  <a:gd name="connsiteY9" fmla="*/ 1631950 h 1631950"/>
                  <a:gd name="connsiteX10" fmla="*/ 0 w 6994525"/>
                  <a:gd name="connsiteY10" fmla="*/ 1514770 h 1631950"/>
                  <a:gd name="connsiteX11" fmla="*/ 0 w 6994525"/>
                  <a:gd name="connsiteY11" fmla="*/ 114322 h 1631950"/>
                  <a:gd name="connsiteX12" fmla="*/ 117147 w 6994525"/>
                  <a:gd name="connsiteY12" fmla="*/ 0 h 163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94525" h="1631950">
                    <a:moveTo>
                      <a:pt x="233363" y="231775"/>
                    </a:moveTo>
                    <a:lnTo>
                      <a:pt x="233363" y="1398588"/>
                    </a:lnTo>
                    <a:lnTo>
                      <a:pt x="6759576" y="1398588"/>
                    </a:lnTo>
                    <a:lnTo>
                      <a:pt x="6759576" y="231775"/>
                    </a:lnTo>
                    <a:close/>
                    <a:moveTo>
                      <a:pt x="117147" y="0"/>
                    </a:moveTo>
                    <a:cubicBezTo>
                      <a:pt x="117147" y="0"/>
                      <a:pt x="117147" y="0"/>
                      <a:pt x="6877378" y="0"/>
                    </a:cubicBezTo>
                    <a:cubicBezTo>
                      <a:pt x="6943094" y="0"/>
                      <a:pt x="6994525" y="51445"/>
                      <a:pt x="6994525" y="114322"/>
                    </a:cubicBezTo>
                    <a:cubicBezTo>
                      <a:pt x="6994525" y="114322"/>
                      <a:pt x="6994525" y="114322"/>
                      <a:pt x="6994525" y="1514770"/>
                    </a:cubicBezTo>
                    <a:cubicBezTo>
                      <a:pt x="6994525" y="1580505"/>
                      <a:pt x="6943094" y="1631950"/>
                      <a:pt x="6877378" y="1631950"/>
                    </a:cubicBezTo>
                    <a:cubicBezTo>
                      <a:pt x="6877378" y="1631950"/>
                      <a:pt x="6877378" y="1631950"/>
                      <a:pt x="117147" y="1631950"/>
                    </a:cubicBezTo>
                    <a:cubicBezTo>
                      <a:pt x="51431" y="1631950"/>
                      <a:pt x="0" y="1580505"/>
                      <a:pt x="0" y="1514770"/>
                    </a:cubicBezTo>
                    <a:cubicBezTo>
                      <a:pt x="0" y="1514770"/>
                      <a:pt x="0" y="1514770"/>
                      <a:pt x="0" y="114322"/>
                    </a:cubicBezTo>
                    <a:cubicBezTo>
                      <a:pt x="0" y="51445"/>
                      <a:pt x="51431" y="0"/>
                      <a:pt x="1171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22" name="Freeform 81">
                <a:extLst>
                  <a:ext uri="{FF2B5EF4-FFF2-40B4-BE49-F238E27FC236}">
                    <a16:creationId xmlns:a16="http://schemas.microsoft.com/office/drawing/2014/main" id="{72CF8B0C-5EB1-4AF1-8044-2E279391679A}"/>
                  </a:ext>
                </a:extLst>
              </p:cNvPr>
              <p:cNvSpPr>
                <a:spLocks/>
              </p:cNvSpPr>
              <p:nvPr/>
            </p:nvSpPr>
            <p:spPr bwMode="auto">
              <a:xfrm>
                <a:off x="2724150" y="6762750"/>
                <a:ext cx="6994525" cy="234950"/>
              </a:xfrm>
              <a:custGeom>
                <a:avLst/>
                <a:gdLst>
                  <a:gd name="T0" fmla="*/ 41 w 2448"/>
                  <a:gd name="T1" fmla="*/ 82 h 82"/>
                  <a:gd name="T2" fmla="*/ 2407 w 2448"/>
                  <a:gd name="T3" fmla="*/ 82 h 82"/>
                  <a:gd name="T4" fmla="*/ 2448 w 2448"/>
                  <a:gd name="T5" fmla="*/ 41 h 82"/>
                  <a:gd name="T6" fmla="*/ 2407 w 2448"/>
                  <a:gd name="T7" fmla="*/ 0 h 82"/>
                  <a:gd name="T8" fmla="*/ 41 w 2448"/>
                  <a:gd name="T9" fmla="*/ 0 h 82"/>
                  <a:gd name="T10" fmla="*/ 0 w 2448"/>
                  <a:gd name="T11" fmla="*/ 41 h 82"/>
                  <a:gd name="T12" fmla="*/ 41 w 2448"/>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2448" h="82">
                    <a:moveTo>
                      <a:pt x="41" y="82"/>
                    </a:moveTo>
                    <a:cubicBezTo>
                      <a:pt x="2407" y="82"/>
                      <a:pt x="2407" y="82"/>
                      <a:pt x="2407" y="82"/>
                    </a:cubicBezTo>
                    <a:cubicBezTo>
                      <a:pt x="2430" y="82"/>
                      <a:pt x="2448" y="64"/>
                      <a:pt x="2448" y="41"/>
                    </a:cubicBezTo>
                    <a:cubicBezTo>
                      <a:pt x="2448" y="19"/>
                      <a:pt x="2430" y="0"/>
                      <a:pt x="2407" y="0"/>
                    </a:cubicBezTo>
                    <a:cubicBezTo>
                      <a:pt x="41" y="0"/>
                      <a:pt x="41" y="0"/>
                      <a:pt x="41" y="0"/>
                    </a:cubicBezTo>
                    <a:cubicBezTo>
                      <a:pt x="18" y="0"/>
                      <a:pt x="0" y="19"/>
                      <a:pt x="0" y="41"/>
                    </a:cubicBezTo>
                    <a:cubicBezTo>
                      <a:pt x="0" y="64"/>
                      <a:pt x="18" y="82"/>
                      <a:pt x="41"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23" name="Freeform: Shape 222">
                <a:extLst>
                  <a:ext uri="{FF2B5EF4-FFF2-40B4-BE49-F238E27FC236}">
                    <a16:creationId xmlns:a16="http://schemas.microsoft.com/office/drawing/2014/main" id="{A13D80D6-C097-4058-A9AD-EAA31BE4BC12}"/>
                  </a:ext>
                </a:extLst>
              </p:cNvPr>
              <p:cNvSpPr>
                <a:spLocks/>
              </p:cNvSpPr>
              <p:nvPr/>
            </p:nvSpPr>
            <p:spPr bwMode="auto">
              <a:xfrm>
                <a:off x="7153275" y="3175"/>
                <a:ext cx="2565400" cy="3962400"/>
              </a:xfrm>
              <a:custGeom>
                <a:avLst/>
                <a:gdLst>
                  <a:gd name="connsiteX0" fmla="*/ 233363 w 2565400"/>
                  <a:gd name="connsiteY0" fmla="*/ 233363 h 3962400"/>
                  <a:gd name="connsiteX1" fmla="*/ 233363 w 2565400"/>
                  <a:gd name="connsiteY1" fmla="*/ 3730626 h 3962400"/>
                  <a:gd name="connsiteX2" fmla="*/ 2330451 w 2565400"/>
                  <a:gd name="connsiteY2" fmla="*/ 3730626 h 3962400"/>
                  <a:gd name="connsiteX3" fmla="*/ 2330451 w 2565400"/>
                  <a:gd name="connsiteY3" fmla="*/ 233363 h 3962400"/>
                  <a:gd name="connsiteX4" fmla="*/ 117129 w 2565400"/>
                  <a:gd name="connsiteY4" fmla="*/ 0 h 3962400"/>
                  <a:gd name="connsiteX5" fmla="*/ 2448271 w 2565400"/>
                  <a:gd name="connsiteY5" fmla="*/ 0 h 3962400"/>
                  <a:gd name="connsiteX6" fmla="*/ 2565400 w 2565400"/>
                  <a:gd name="connsiteY6" fmla="*/ 117129 h 3962400"/>
                  <a:gd name="connsiteX7" fmla="*/ 2565400 w 2565400"/>
                  <a:gd name="connsiteY7" fmla="*/ 3845271 h 3962400"/>
                  <a:gd name="connsiteX8" fmla="*/ 2448271 w 2565400"/>
                  <a:gd name="connsiteY8" fmla="*/ 3962400 h 3962400"/>
                  <a:gd name="connsiteX9" fmla="*/ 117129 w 2565400"/>
                  <a:gd name="connsiteY9" fmla="*/ 3962400 h 3962400"/>
                  <a:gd name="connsiteX10" fmla="*/ 0 w 2565400"/>
                  <a:gd name="connsiteY10" fmla="*/ 3845271 h 3962400"/>
                  <a:gd name="connsiteX11" fmla="*/ 0 w 2565400"/>
                  <a:gd name="connsiteY11" fmla="*/ 117129 h 3962400"/>
                  <a:gd name="connsiteX12" fmla="*/ 117129 w 2565400"/>
                  <a:gd name="connsiteY12" fmla="*/ 0 h 39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65400" h="3962400">
                    <a:moveTo>
                      <a:pt x="233363" y="233363"/>
                    </a:moveTo>
                    <a:lnTo>
                      <a:pt x="233363" y="3730626"/>
                    </a:lnTo>
                    <a:lnTo>
                      <a:pt x="2330451" y="3730626"/>
                    </a:lnTo>
                    <a:lnTo>
                      <a:pt x="2330451" y="233363"/>
                    </a:lnTo>
                    <a:close/>
                    <a:moveTo>
                      <a:pt x="117129" y="0"/>
                    </a:moveTo>
                    <a:cubicBezTo>
                      <a:pt x="117129" y="0"/>
                      <a:pt x="117129" y="0"/>
                      <a:pt x="2448271" y="0"/>
                    </a:cubicBezTo>
                    <a:cubicBezTo>
                      <a:pt x="2513978" y="0"/>
                      <a:pt x="2565400" y="51423"/>
                      <a:pt x="2565400" y="117129"/>
                    </a:cubicBezTo>
                    <a:cubicBezTo>
                      <a:pt x="2565400" y="117129"/>
                      <a:pt x="2565400" y="117129"/>
                      <a:pt x="2565400" y="3845271"/>
                    </a:cubicBezTo>
                    <a:cubicBezTo>
                      <a:pt x="2565400" y="3910977"/>
                      <a:pt x="2513978" y="3962400"/>
                      <a:pt x="2448271" y="3962400"/>
                    </a:cubicBezTo>
                    <a:cubicBezTo>
                      <a:pt x="2448271" y="3962400"/>
                      <a:pt x="2448271" y="3962400"/>
                      <a:pt x="117129" y="3962400"/>
                    </a:cubicBezTo>
                    <a:cubicBezTo>
                      <a:pt x="54279" y="3962400"/>
                      <a:pt x="0" y="3910977"/>
                      <a:pt x="0" y="3845271"/>
                    </a:cubicBezTo>
                    <a:cubicBezTo>
                      <a:pt x="0" y="3845271"/>
                      <a:pt x="0" y="3845271"/>
                      <a:pt x="0" y="117129"/>
                    </a:cubicBezTo>
                    <a:cubicBezTo>
                      <a:pt x="0" y="51423"/>
                      <a:pt x="54279" y="0"/>
                      <a:pt x="1171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24" name="Freeform: Shape 223">
                <a:extLst>
                  <a:ext uri="{FF2B5EF4-FFF2-40B4-BE49-F238E27FC236}">
                    <a16:creationId xmlns:a16="http://schemas.microsoft.com/office/drawing/2014/main" id="{F665283B-2FAE-4539-83B6-BF73CEDC9A9D}"/>
                  </a:ext>
                </a:extLst>
              </p:cNvPr>
              <p:cNvSpPr>
                <a:spLocks/>
              </p:cNvSpPr>
              <p:nvPr/>
            </p:nvSpPr>
            <p:spPr bwMode="auto">
              <a:xfrm>
                <a:off x="7621588" y="468313"/>
                <a:ext cx="1630363" cy="1166813"/>
              </a:xfrm>
              <a:custGeom>
                <a:avLst/>
                <a:gdLst>
                  <a:gd name="connsiteX0" fmla="*/ 230187 w 1630363"/>
                  <a:gd name="connsiteY0" fmla="*/ 234950 h 1166813"/>
                  <a:gd name="connsiteX1" fmla="*/ 230187 w 1630363"/>
                  <a:gd name="connsiteY1" fmla="*/ 935038 h 1166813"/>
                  <a:gd name="connsiteX2" fmla="*/ 1397000 w 1630363"/>
                  <a:gd name="connsiteY2" fmla="*/ 935038 h 1166813"/>
                  <a:gd name="connsiteX3" fmla="*/ 1397000 w 1630363"/>
                  <a:gd name="connsiteY3" fmla="*/ 234950 h 1166813"/>
                  <a:gd name="connsiteX4" fmla="*/ 114211 w 1630363"/>
                  <a:gd name="connsiteY4" fmla="*/ 0 h 1166813"/>
                  <a:gd name="connsiteX5" fmla="*/ 1513297 w 1630363"/>
                  <a:gd name="connsiteY5" fmla="*/ 0 h 1166813"/>
                  <a:gd name="connsiteX6" fmla="*/ 1630363 w 1630363"/>
                  <a:gd name="connsiteY6" fmla="*/ 117253 h 1166813"/>
                  <a:gd name="connsiteX7" fmla="*/ 1630363 w 1630363"/>
                  <a:gd name="connsiteY7" fmla="*/ 1049560 h 1166813"/>
                  <a:gd name="connsiteX8" fmla="*/ 1513297 w 1630363"/>
                  <a:gd name="connsiteY8" fmla="*/ 1166813 h 1166813"/>
                  <a:gd name="connsiteX9" fmla="*/ 114211 w 1630363"/>
                  <a:gd name="connsiteY9" fmla="*/ 1166813 h 1166813"/>
                  <a:gd name="connsiteX10" fmla="*/ 0 w 1630363"/>
                  <a:gd name="connsiteY10" fmla="*/ 1049560 h 1166813"/>
                  <a:gd name="connsiteX11" fmla="*/ 0 w 1630363"/>
                  <a:gd name="connsiteY11" fmla="*/ 117253 h 1166813"/>
                  <a:gd name="connsiteX12" fmla="*/ 114211 w 1630363"/>
                  <a:gd name="connsiteY12" fmla="*/ 0 h 1166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30363" h="1166813">
                    <a:moveTo>
                      <a:pt x="230187" y="234950"/>
                    </a:moveTo>
                    <a:lnTo>
                      <a:pt x="230187" y="935038"/>
                    </a:lnTo>
                    <a:lnTo>
                      <a:pt x="1397000" y="935038"/>
                    </a:lnTo>
                    <a:lnTo>
                      <a:pt x="1397000" y="234950"/>
                    </a:lnTo>
                    <a:close/>
                    <a:moveTo>
                      <a:pt x="114211" y="0"/>
                    </a:moveTo>
                    <a:cubicBezTo>
                      <a:pt x="114211" y="0"/>
                      <a:pt x="114211" y="0"/>
                      <a:pt x="1513297" y="0"/>
                    </a:cubicBezTo>
                    <a:cubicBezTo>
                      <a:pt x="1578968" y="0"/>
                      <a:pt x="1630363" y="51477"/>
                      <a:pt x="1630363" y="117253"/>
                    </a:cubicBezTo>
                    <a:cubicBezTo>
                      <a:pt x="1630363" y="117253"/>
                      <a:pt x="1630363" y="117253"/>
                      <a:pt x="1630363" y="1049560"/>
                    </a:cubicBezTo>
                    <a:cubicBezTo>
                      <a:pt x="1630363" y="1115336"/>
                      <a:pt x="1578968" y="1166813"/>
                      <a:pt x="1513297" y="1166813"/>
                    </a:cubicBezTo>
                    <a:cubicBezTo>
                      <a:pt x="1513297" y="1166813"/>
                      <a:pt x="1513297" y="1166813"/>
                      <a:pt x="114211" y="1166813"/>
                    </a:cubicBezTo>
                    <a:cubicBezTo>
                      <a:pt x="51395" y="1166813"/>
                      <a:pt x="0" y="1115336"/>
                      <a:pt x="0" y="1049560"/>
                    </a:cubicBezTo>
                    <a:cubicBezTo>
                      <a:pt x="0" y="1049560"/>
                      <a:pt x="0" y="1049560"/>
                      <a:pt x="0" y="117253"/>
                    </a:cubicBezTo>
                    <a:cubicBezTo>
                      <a:pt x="0" y="51477"/>
                      <a:pt x="51395" y="0"/>
                      <a:pt x="1142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25" name="Freeform: Shape 224">
                <a:extLst>
                  <a:ext uri="{FF2B5EF4-FFF2-40B4-BE49-F238E27FC236}">
                    <a16:creationId xmlns:a16="http://schemas.microsoft.com/office/drawing/2014/main" id="{AE74A4CC-A06F-4163-AB46-CE0E3A99D562}"/>
                  </a:ext>
                </a:extLst>
              </p:cNvPr>
              <p:cNvSpPr>
                <a:spLocks/>
              </p:cNvSpPr>
              <p:nvPr/>
            </p:nvSpPr>
            <p:spPr bwMode="auto">
              <a:xfrm>
                <a:off x="5403850" y="1285875"/>
                <a:ext cx="1400175" cy="1165225"/>
              </a:xfrm>
              <a:custGeom>
                <a:avLst/>
                <a:gdLst>
                  <a:gd name="connsiteX0" fmla="*/ 234950 w 1400175"/>
                  <a:gd name="connsiteY0" fmla="*/ 231775 h 1165225"/>
                  <a:gd name="connsiteX1" fmla="*/ 234950 w 1400175"/>
                  <a:gd name="connsiteY1" fmla="*/ 931863 h 1165225"/>
                  <a:gd name="connsiteX2" fmla="*/ 1165225 w 1400175"/>
                  <a:gd name="connsiteY2" fmla="*/ 931863 h 1165225"/>
                  <a:gd name="connsiteX3" fmla="*/ 1165225 w 1400175"/>
                  <a:gd name="connsiteY3" fmla="*/ 231775 h 1165225"/>
                  <a:gd name="connsiteX4" fmla="*/ 117158 w 1400175"/>
                  <a:gd name="connsiteY4" fmla="*/ 0 h 1165225"/>
                  <a:gd name="connsiteX5" fmla="*/ 1283018 w 1400175"/>
                  <a:gd name="connsiteY5" fmla="*/ 0 h 1165225"/>
                  <a:gd name="connsiteX6" fmla="*/ 1400175 w 1400175"/>
                  <a:gd name="connsiteY6" fmla="*/ 117094 h 1165225"/>
                  <a:gd name="connsiteX7" fmla="*/ 1400175 w 1400175"/>
                  <a:gd name="connsiteY7" fmla="*/ 1048131 h 1165225"/>
                  <a:gd name="connsiteX8" fmla="*/ 1283018 w 1400175"/>
                  <a:gd name="connsiteY8" fmla="*/ 1165225 h 1165225"/>
                  <a:gd name="connsiteX9" fmla="*/ 117158 w 1400175"/>
                  <a:gd name="connsiteY9" fmla="*/ 1165225 h 1165225"/>
                  <a:gd name="connsiteX10" fmla="*/ 0 w 1400175"/>
                  <a:gd name="connsiteY10" fmla="*/ 1048131 h 1165225"/>
                  <a:gd name="connsiteX11" fmla="*/ 0 w 1400175"/>
                  <a:gd name="connsiteY11" fmla="*/ 117094 h 1165225"/>
                  <a:gd name="connsiteX12" fmla="*/ 117158 w 1400175"/>
                  <a:gd name="connsiteY12"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0175" h="1165225">
                    <a:moveTo>
                      <a:pt x="234950" y="231775"/>
                    </a:moveTo>
                    <a:lnTo>
                      <a:pt x="234950" y="931863"/>
                    </a:lnTo>
                    <a:lnTo>
                      <a:pt x="1165225" y="931863"/>
                    </a:lnTo>
                    <a:lnTo>
                      <a:pt x="1165225" y="231775"/>
                    </a:lnTo>
                    <a:close/>
                    <a:moveTo>
                      <a:pt x="117158" y="0"/>
                    </a:moveTo>
                    <a:cubicBezTo>
                      <a:pt x="117158" y="0"/>
                      <a:pt x="117158" y="0"/>
                      <a:pt x="1283018" y="0"/>
                    </a:cubicBezTo>
                    <a:cubicBezTo>
                      <a:pt x="1348740" y="0"/>
                      <a:pt x="1400175" y="51407"/>
                      <a:pt x="1400175" y="117094"/>
                    </a:cubicBezTo>
                    <a:cubicBezTo>
                      <a:pt x="1400175" y="117094"/>
                      <a:pt x="1400175" y="117094"/>
                      <a:pt x="1400175" y="1048131"/>
                    </a:cubicBezTo>
                    <a:cubicBezTo>
                      <a:pt x="1400175" y="1113818"/>
                      <a:pt x="1348740" y="1165225"/>
                      <a:pt x="1283018" y="1165225"/>
                    </a:cubicBezTo>
                    <a:cubicBezTo>
                      <a:pt x="1283018" y="1165225"/>
                      <a:pt x="1283018" y="1165225"/>
                      <a:pt x="117158" y="1165225"/>
                    </a:cubicBezTo>
                    <a:cubicBezTo>
                      <a:pt x="54293" y="1165225"/>
                      <a:pt x="0" y="1113818"/>
                      <a:pt x="0" y="1048131"/>
                    </a:cubicBezTo>
                    <a:cubicBezTo>
                      <a:pt x="0" y="1048131"/>
                      <a:pt x="0" y="1048131"/>
                      <a:pt x="0" y="117094"/>
                    </a:cubicBezTo>
                    <a:cubicBezTo>
                      <a:pt x="0" y="51407"/>
                      <a:pt x="54293" y="0"/>
                      <a:pt x="1171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26" name="Freeform 88">
                <a:extLst>
                  <a:ext uri="{FF2B5EF4-FFF2-40B4-BE49-F238E27FC236}">
                    <a16:creationId xmlns:a16="http://schemas.microsoft.com/office/drawing/2014/main" id="{88054DBD-1136-472D-A4B5-89C696DD69B6}"/>
                  </a:ext>
                </a:extLst>
              </p:cNvPr>
              <p:cNvSpPr>
                <a:spLocks/>
              </p:cNvSpPr>
              <p:nvPr/>
            </p:nvSpPr>
            <p:spPr bwMode="auto">
              <a:xfrm>
                <a:off x="7621588" y="1868488"/>
                <a:ext cx="230188" cy="582613"/>
              </a:xfrm>
              <a:custGeom>
                <a:avLst/>
                <a:gdLst>
                  <a:gd name="T0" fmla="*/ 0 w 81"/>
                  <a:gd name="T1" fmla="*/ 41 h 204"/>
                  <a:gd name="T2" fmla="*/ 0 w 81"/>
                  <a:gd name="T3" fmla="*/ 163 h 204"/>
                  <a:gd name="T4" fmla="*/ 40 w 81"/>
                  <a:gd name="T5" fmla="*/ 204 h 204"/>
                  <a:gd name="T6" fmla="*/ 81 w 81"/>
                  <a:gd name="T7" fmla="*/ 163 h 204"/>
                  <a:gd name="T8" fmla="*/ 81 w 81"/>
                  <a:gd name="T9" fmla="*/ 41 h 204"/>
                  <a:gd name="T10" fmla="*/ 40 w 81"/>
                  <a:gd name="T11" fmla="*/ 0 h 204"/>
                  <a:gd name="T12" fmla="*/ 0 w 81"/>
                  <a:gd name="T13" fmla="*/ 41 h 204"/>
                </a:gdLst>
                <a:ahLst/>
                <a:cxnLst>
                  <a:cxn ang="0">
                    <a:pos x="T0" y="T1"/>
                  </a:cxn>
                  <a:cxn ang="0">
                    <a:pos x="T2" y="T3"/>
                  </a:cxn>
                  <a:cxn ang="0">
                    <a:pos x="T4" y="T5"/>
                  </a:cxn>
                  <a:cxn ang="0">
                    <a:pos x="T6" y="T7"/>
                  </a:cxn>
                  <a:cxn ang="0">
                    <a:pos x="T8" y="T9"/>
                  </a:cxn>
                  <a:cxn ang="0">
                    <a:pos x="T10" y="T11"/>
                  </a:cxn>
                  <a:cxn ang="0">
                    <a:pos x="T12" y="T13"/>
                  </a:cxn>
                </a:cxnLst>
                <a:rect l="0" t="0" r="r" b="b"/>
                <a:pathLst>
                  <a:path w="81" h="204">
                    <a:moveTo>
                      <a:pt x="0" y="41"/>
                    </a:moveTo>
                    <a:cubicBezTo>
                      <a:pt x="0" y="163"/>
                      <a:pt x="0" y="163"/>
                      <a:pt x="0" y="163"/>
                    </a:cubicBezTo>
                    <a:cubicBezTo>
                      <a:pt x="0" y="186"/>
                      <a:pt x="18" y="204"/>
                      <a:pt x="40" y="204"/>
                    </a:cubicBezTo>
                    <a:cubicBezTo>
                      <a:pt x="63" y="204"/>
                      <a:pt x="81" y="186"/>
                      <a:pt x="81" y="163"/>
                    </a:cubicBezTo>
                    <a:cubicBezTo>
                      <a:pt x="81" y="41"/>
                      <a:pt x="81" y="41"/>
                      <a:pt x="81" y="41"/>
                    </a:cubicBezTo>
                    <a:cubicBezTo>
                      <a:pt x="81" y="18"/>
                      <a:pt x="63" y="0"/>
                      <a:pt x="40" y="0"/>
                    </a:cubicBezTo>
                    <a:cubicBezTo>
                      <a:pt x="18" y="0"/>
                      <a:pt x="0" y="18"/>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27" name="Freeform 89">
                <a:extLst>
                  <a:ext uri="{FF2B5EF4-FFF2-40B4-BE49-F238E27FC236}">
                    <a16:creationId xmlns:a16="http://schemas.microsoft.com/office/drawing/2014/main" id="{6282ACB4-9535-4F01-BA46-63CF6AF00289}"/>
                  </a:ext>
                </a:extLst>
              </p:cNvPr>
              <p:cNvSpPr>
                <a:spLocks/>
              </p:cNvSpPr>
              <p:nvPr/>
            </p:nvSpPr>
            <p:spPr bwMode="auto">
              <a:xfrm>
                <a:off x="9018588" y="1868488"/>
                <a:ext cx="233363" cy="582613"/>
              </a:xfrm>
              <a:custGeom>
                <a:avLst/>
                <a:gdLst>
                  <a:gd name="T0" fmla="*/ 0 w 82"/>
                  <a:gd name="T1" fmla="*/ 41 h 204"/>
                  <a:gd name="T2" fmla="*/ 0 w 82"/>
                  <a:gd name="T3" fmla="*/ 163 h 204"/>
                  <a:gd name="T4" fmla="*/ 41 w 82"/>
                  <a:gd name="T5" fmla="*/ 204 h 204"/>
                  <a:gd name="T6" fmla="*/ 82 w 82"/>
                  <a:gd name="T7" fmla="*/ 163 h 204"/>
                  <a:gd name="T8" fmla="*/ 82 w 82"/>
                  <a:gd name="T9" fmla="*/ 41 h 204"/>
                  <a:gd name="T10" fmla="*/ 41 w 82"/>
                  <a:gd name="T11" fmla="*/ 0 h 204"/>
                  <a:gd name="T12" fmla="*/ 0 w 82"/>
                  <a:gd name="T13" fmla="*/ 41 h 204"/>
                </a:gdLst>
                <a:ahLst/>
                <a:cxnLst>
                  <a:cxn ang="0">
                    <a:pos x="T0" y="T1"/>
                  </a:cxn>
                  <a:cxn ang="0">
                    <a:pos x="T2" y="T3"/>
                  </a:cxn>
                  <a:cxn ang="0">
                    <a:pos x="T4" y="T5"/>
                  </a:cxn>
                  <a:cxn ang="0">
                    <a:pos x="T6" y="T7"/>
                  </a:cxn>
                  <a:cxn ang="0">
                    <a:pos x="T8" y="T9"/>
                  </a:cxn>
                  <a:cxn ang="0">
                    <a:pos x="T10" y="T11"/>
                  </a:cxn>
                  <a:cxn ang="0">
                    <a:pos x="T12" y="T13"/>
                  </a:cxn>
                </a:cxnLst>
                <a:rect l="0" t="0" r="r" b="b"/>
                <a:pathLst>
                  <a:path w="82" h="204">
                    <a:moveTo>
                      <a:pt x="0" y="41"/>
                    </a:moveTo>
                    <a:cubicBezTo>
                      <a:pt x="0" y="163"/>
                      <a:pt x="0" y="163"/>
                      <a:pt x="0" y="163"/>
                    </a:cubicBezTo>
                    <a:cubicBezTo>
                      <a:pt x="0" y="186"/>
                      <a:pt x="18" y="204"/>
                      <a:pt x="41" y="204"/>
                    </a:cubicBezTo>
                    <a:cubicBezTo>
                      <a:pt x="64" y="204"/>
                      <a:pt x="82" y="186"/>
                      <a:pt x="82" y="163"/>
                    </a:cubicBezTo>
                    <a:cubicBezTo>
                      <a:pt x="82" y="41"/>
                      <a:pt x="82" y="41"/>
                      <a:pt x="82" y="41"/>
                    </a:cubicBezTo>
                    <a:cubicBezTo>
                      <a:pt x="82" y="18"/>
                      <a:pt x="64" y="0"/>
                      <a:pt x="41" y="0"/>
                    </a:cubicBezTo>
                    <a:cubicBezTo>
                      <a:pt x="18" y="0"/>
                      <a:pt x="0" y="18"/>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29" name="Freeform 90">
                <a:extLst>
                  <a:ext uri="{FF2B5EF4-FFF2-40B4-BE49-F238E27FC236}">
                    <a16:creationId xmlns:a16="http://schemas.microsoft.com/office/drawing/2014/main" id="{3C0D639F-3718-4357-A8A5-0D989F0D6315}"/>
                  </a:ext>
                </a:extLst>
              </p:cNvPr>
              <p:cNvSpPr>
                <a:spLocks/>
              </p:cNvSpPr>
              <p:nvPr/>
            </p:nvSpPr>
            <p:spPr bwMode="auto">
              <a:xfrm>
                <a:off x="8551863" y="1868488"/>
                <a:ext cx="234950" cy="582613"/>
              </a:xfrm>
              <a:custGeom>
                <a:avLst/>
                <a:gdLst>
                  <a:gd name="T0" fmla="*/ 0 w 82"/>
                  <a:gd name="T1" fmla="*/ 41 h 204"/>
                  <a:gd name="T2" fmla="*/ 0 w 82"/>
                  <a:gd name="T3" fmla="*/ 163 h 204"/>
                  <a:gd name="T4" fmla="*/ 41 w 82"/>
                  <a:gd name="T5" fmla="*/ 204 h 204"/>
                  <a:gd name="T6" fmla="*/ 82 w 82"/>
                  <a:gd name="T7" fmla="*/ 163 h 204"/>
                  <a:gd name="T8" fmla="*/ 82 w 82"/>
                  <a:gd name="T9" fmla="*/ 41 h 204"/>
                  <a:gd name="T10" fmla="*/ 41 w 82"/>
                  <a:gd name="T11" fmla="*/ 0 h 204"/>
                  <a:gd name="T12" fmla="*/ 0 w 82"/>
                  <a:gd name="T13" fmla="*/ 41 h 204"/>
                </a:gdLst>
                <a:ahLst/>
                <a:cxnLst>
                  <a:cxn ang="0">
                    <a:pos x="T0" y="T1"/>
                  </a:cxn>
                  <a:cxn ang="0">
                    <a:pos x="T2" y="T3"/>
                  </a:cxn>
                  <a:cxn ang="0">
                    <a:pos x="T4" y="T5"/>
                  </a:cxn>
                  <a:cxn ang="0">
                    <a:pos x="T6" y="T7"/>
                  </a:cxn>
                  <a:cxn ang="0">
                    <a:pos x="T8" y="T9"/>
                  </a:cxn>
                  <a:cxn ang="0">
                    <a:pos x="T10" y="T11"/>
                  </a:cxn>
                  <a:cxn ang="0">
                    <a:pos x="T12" y="T13"/>
                  </a:cxn>
                </a:cxnLst>
                <a:rect l="0" t="0" r="r" b="b"/>
                <a:pathLst>
                  <a:path w="82" h="204">
                    <a:moveTo>
                      <a:pt x="0" y="41"/>
                    </a:moveTo>
                    <a:cubicBezTo>
                      <a:pt x="0" y="163"/>
                      <a:pt x="0" y="163"/>
                      <a:pt x="0" y="163"/>
                    </a:cubicBezTo>
                    <a:cubicBezTo>
                      <a:pt x="0" y="186"/>
                      <a:pt x="18" y="204"/>
                      <a:pt x="41" y="204"/>
                    </a:cubicBezTo>
                    <a:cubicBezTo>
                      <a:pt x="63" y="204"/>
                      <a:pt x="82" y="186"/>
                      <a:pt x="82" y="163"/>
                    </a:cubicBezTo>
                    <a:cubicBezTo>
                      <a:pt x="82" y="41"/>
                      <a:pt x="82" y="41"/>
                      <a:pt x="82" y="41"/>
                    </a:cubicBezTo>
                    <a:cubicBezTo>
                      <a:pt x="82" y="18"/>
                      <a:pt x="63" y="0"/>
                      <a:pt x="41" y="0"/>
                    </a:cubicBezTo>
                    <a:cubicBezTo>
                      <a:pt x="18" y="0"/>
                      <a:pt x="0" y="18"/>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30" name="Freeform 91">
                <a:extLst>
                  <a:ext uri="{FF2B5EF4-FFF2-40B4-BE49-F238E27FC236}">
                    <a16:creationId xmlns:a16="http://schemas.microsoft.com/office/drawing/2014/main" id="{D3DED700-8DE2-4357-898E-523B11D20F32}"/>
                  </a:ext>
                </a:extLst>
              </p:cNvPr>
              <p:cNvSpPr>
                <a:spLocks/>
              </p:cNvSpPr>
              <p:nvPr/>
            </p:nvSpPr>
            <p:spPr bwMode="auto">
              <a:xfrm>
                <a:off x="8086725" y="1868488"/>
                <a:ext cx="231775" cy="582613"/>
              </a:xfrm>
              <a:custGeom>
                <a:avLst/>
                <a:gdLst>
                  <a:gd name="T0" fmla="*/ 0 w 81"/>
                  <a:gd name="T1" fmla="*/ 41 h 204"/>
                  <a:gd name="T2" fmla="*/ 0 w 81"/>
                  <a:gd name="T3" fmla="*/ 163 h 204"/>
                  <a:gd name="T4" fmla="*/ 41 w 81"/>
                  <a:gd name="T5" fmla="*/ 204 h 204"/>
                  <a:gd name="T6" fmla="*/ 81 w 81"/>
                  <a:gd name="T7" fmla="*/ 163 h 204"/>
                  <a:gd name="T8" fmla="*/ 81 w 81"/>
                  <a:gd name="T9" fmla="*/ 41 h 204"/>
                  <a:gd name="T10" fmla="*/ 41 w 81"/>
                  <a:gd name="T11" fmla="*/ 0 h 204"/>
                  <a:gd name="T12" fmla="*/ 0 w 81"/>
                  <a:gd name="T13" fmla="*/ 41 h 204"/>
                </a:gdLst>
                <a:ahLst/>
                <a:cxnLst>
                  <a:cxn ang="0">
                    <a:pos x="T0" y="T1"/>
                  </a:cxn>
                  <a:cxn ang="0">
                    <a:pos x="T2" y="T3"/>
                  </a:cxn>
                  <a:cxn ang="0">
                    <a:pos x="T4" y="T5"/>
                  </a:cxn>
                  <a:cxn ang="0">
                    <a:pos x="T6" y="T7"/>
                  </a:cxn>
                  <a:cxn ang="0">
                    <a:pos x="T8" y="T9"/>
                  </a:cxn>
                  <a:cxn ang="0">
                    <a:pos x="T10" y="T11"/>
                  </a:cxn>
                  <a:cxn ang="0">
                    <a:pos x="T12" y="T13"/>
                  </a:cxn>
                </a:cxnLst>
                <a:rect l="0" t="0" r="r" b="b"/>
                <a:pathLst>
                  <a:path w="81" h="204">
                    <a:moveTo>
                      <a:pt x="0" y="41"/>
                    </a:moveTo>
                    <a:cubicBezTo>
                      <a:pt x="0" y="163"/>
                      <a:pt x="0" y="163"/>
                      <a:pt x="0" y="163"/>
                    </a:cubicBezTo>
                    <a:cubicBezTo>
                      <a:pt x="0" y="186"/>
                      <a:pt x="18" y="204"/>
                      <a:pt x="41" y="204"/>
                    </a:cubicBezTo>
                    <a:cubicBezTo>
                      <a:pt x="63" y="204"/>
                      <a:pt x="81" y="186"/>
                      <a:pt x="81" y="163"/>
                    </a:cubicBezTo>
                    <a:cubicBezTo>
                      <a:pt x="81" y="41"/>
                      <a:pt x="81" y="41"/>
                      <a:pt x="81" y="41"/>
                    </a:cubicBezTo>
                    <a:cubicBezTo>
                      <a:pt x="81" y="18"/>
                      <a:pt x="63" y="0"/>
                      <a:pt x="41" y="0"/>
                    </a:cubicBezTo>
                    <a:cubicBezTo>
                      <a:pt x="18" y="0"/>
                      <a:pt x="0" y="18"/>
                      <a:pt x="0"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31" name="Freeform: Shape 230">
                <a:extLst>
                  <a:ext uri="{FF2B5EF4-FFF2-40B4-BE49-F238E27FC236}">
                    <a16:creationId xmlns:a16="http://schemas.microsoft.com/office/drawing/2014/main" id="{2F888300-7B05-4C55-B438-07A884FA838A}"/>
                  </a:ext>
                </a:extLst>
              </p:cNvPr>
              <p:cNvSpPr>
                <a:spLocks/>
              </p:cNvSpPr>
              <p:nvPr/>
            </p:nvSpPr>
            <p:spPr bwMode="auto">
              <a:xfrm>
                <a:off x="7621588" y="2682875"/>
                <a:ext cx="696913" cy="700088"/>
              </a:xfrm>
              <a:custGeom>
                <a:avLst/>
                <a:gdLst>
                  <a:gd name="connsiteX0" fmla="*/ 230187 w 696913"/>
                  <a:gd name="connsiteY0" fmla="*/ 234950 h 700088"/>
                  <a:gd name="connsiteX1" fmla="*/ 230187 w 696913"/>
                  <a:gd name="connsiteY1" fmla="*/ 468313 h 700088"/>
                  <a:gd name="connsiteX2" fmla="*/ 465137 w 696913"/>
                  <a:gd name="connsiteY2" fmla="*/ 468313 h 700088"/>
                  <a:gd name="connsiteX3" fmla="*/ 465137 w 696913"/>
                  <a:gd name="connsiteY3" fmla="*/ 234950 h 700088"/>
                  <a:gd name="connsiteX4" fmla="*/ 114248 w 696913"/>
                  <a:gd name="connsiteY4" fmla="*/ 0 h 700088"/>
                  <a:gd name="connsiteX5" fmla="*/ 582665 w 696913"/>
                  <a:gd name="connsiteY5" fmla="*/ 0 h 700088"/>
                  <a:gd name="connsiteX6" fmla="*/ 696913 w 696913"/>
                  <a:gd name="connsiteY6" fmla="*/ 117158 h 700088"/>
                  <a:gd name="connsiteX7" fmla="*/ 696913 w 696913"/>
                  <a:gd name="connsiteY7" fmla="*/ 582931 h 700088"/>
                  <a:gd name="connsiteX8" fmla="*/ 582665 w 696913"/>
                  <a:gd name="connsiteY8" fmla="*/ 700088 h 700088"/>
                  <a:gd name="connsiteX9" fmla="*/ 114248 w 696913"/>
                  <a:gd name="connsiteY9" fmla="*/ 700088 h 700088"/>
                  <a:gd name="connsiteX10" fmla="*/ 0 w 696913"/>
                  <a:gd name="connsiteY10" fmla="*/ 582931 h 700088"/>
                  <a:gd name="connsiteX11" fmla="*/ 0 w 696913"/>
                  <a:gd name="connsiteY11" fmla="*/ 117158 h 700088"/>
                  <a:gd name="connsiteX12" fmla="*/ 114248 w 696913"/>
                  <a:gd name="connsiteY12" fmla="*/ 0 h 70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96913" h="700088">
                    <a:moveTo>
                      <a:pt x="230187" y="234950"/>
                    </a:moveTo>
                    <a:lnTo>
                      <a:pt x="230187" y="468313"/>
                    </a:lnTo>
                    <a:lnTo>
                      <a:pt x="465137" y="468313"/>
                    </a:lnTo>
                    <a:lnTo>
                      <a:pt x="465137" y="234950"/>
                    </a:lnTo>
                    <a:close/>
                    <a:moveTo>
                      <a:pt x="114248" y="0"/>
                    </a:moveTo>
                    <a:cubicBezTo>
                      <a:pt x="114248" y="0"/>
                      <a:pt x="114248" y="0"/>
                      <a:pt x="582665" y="0"/>
                    </a:cubicBezTo>
                    <a:cubicBezTo>
                      <a:pt x="645502" y="0"/>
                      <a:pt x="696913" y="54293"/>
                      <a:pt x="696913" y="117158"/>
                    </a:cubicBezTo>
                    <a:cubicBezTo>
                      <a:pt x="696913" y="117158"/>
                      <a:pt x="696913" y="117158"/>
                      <a:pt x="696913" y="582931"/>
                    </a:cubicBezTo>
                    <a:cubicBezTo>
                      <a:pt x="696913" y="648653"/>
                      <a:pt x="645502" y="700088"/>
                      <a:pt x="582665" y="700088"/>
                    </a:cubicBezTo>
                    <a:cubicBezTo>
                      <a:pt x="582665" y="700088"/>
                      <a:pt x="582665" y="700088"/>
                      <a:pt x="114248" y="700088"/>
                    </a:cubicBezTo>
                    <a:cubicBezTo>
                      <a:pt x="51412" y="700088"/>
                      <a:pt x="0" y="648653"/>
                      <a:pt x="0" y="582931"/>
                    </a:cubicBezTo>
                    <a:cubicBezTo>
                      <a:pt x="0" y="582931"/>
                      <a:pt x="0" y="582931"/>
                      <a:pt x="0" y="117158"/>
                    </a:cubicBezTo>
                    <a:cubicBezTo>
                      <a:pt x="0" y="54293"/>
                      <a:pt x="51412" y="0"/>
                      <a:pt x="11424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33" name="Freeform: Shape 232">
                <a:extLst>
                  <a:ext uri="{FF2B5EF4-FFF2-40B4-BE49-F238E27FC236}">
                    <a16:creationId xmlns:a16="http://schemas.microsoft.com/office/drawing/2014/main" id="{C9D90752-1D6E-44B5-92F8-AFC4F97C5C10}"/>
                  </a:ext>
                </a:extLst>
              </p:cNvPr>
              <p:cNvSpPr>
                <a:spLocks/>
              </p:cNvSpPr>
              <p:nvPr/>
            </p:nvSpPr>
            <p:spPr bwMode="auto">
              <a:xfrm>
                <a:off x="8551863" y="2682875"/>
                <a:ext cx="700088" cy="700088"/>
              </a:xfrm>
              <a:custGeom>
                <a:avLst/>
                <a:gdLst>
                  <a:gd name="connsiteX0" fmla="*/ 234950 w 700088"/>
                  <a:gd name="connsiteY0" fmla="*/ 234950 h 700088"/>
                  <a:gd name="connsiteX1" fmla="*/ 234950 w 700088"/>
                  <a:gd name="connsiteY1" fmla="*/ 468313 h 700088"/>
                  <a:gd name="connsiteX2" fmla="*/ 466725 w 700088"/>
                  <a:gd name="connsiteY2" fmla="*/ 468313 h 700088"/>
                  <a:gd name="connsiteX3" fmla="*/ 466725 w 700088"/>
                  <a:gd name="connsiteY3" fmla="*/ 234950 h 700088"/>
                  <a:gd name="connsiteX4" fmla="*/ 117158 w 700088"/>
                  <a:gd name="connsiteY4" fmla="*/ 0 h 700088"/>
                  <a:gd name="connsiteX5" fmla="*/ 582930 w 700088"/>
                  <a:gd name="connsiteY5" fmla="*/ 0 h 700088"/>
                  <a:gd name="connsiteX6" fmla="*/ 700088 w 700088"/>
                  <a:gd name="connsiteY6" fmla="*/ 117158 h 700088"/>
                  <a:gd name="connsiteX7" fmla="*/ 700088 w 700088"/>
                  <a:gd name="connsiteY7" fmla="*/ 582931 h 700088"/>
                  <a:gd name="connsiteX8" fmla="*/ 582930 w 700088"/>
                  <a:gd name="connsiteY8" fmla="*/ 700088 h 700088"/>
                  <a:gd name="connsiteX9" fmla="*/ 117158 w 700088"/>
                  <a:gd name="connsiteY9" fmla="*/ 700088 h 700088"/>
                  <a:gd name="connsiteX10" fmla="*/ 0 w 700088"/>
                  <a:gd name="connsiteY10" fmla="*/ 582931 h 700088"/>
                  <a:gd name="connsiteX11" fmla="*/ 0 w 700088"/>
                  <a:gd name="connsiteY11" fmla="*/ 117158 h 700088"/>
                  <a:gd name="connsiteX12" fmla="*/ 117158 w 700088"/>
                  <a:gd name="connsiteY12" fmla="*/ 0 h 70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0088" h="700088">
                    <a:moveTo>
                      <a:pt x="234950" y="234950"/>
                    </a:moveTo>
                    <a:lnTo>
                      <a:pt x="234950" y="468313"/>
                    </a:lnTo>
                    <a:lnTo>
                      <a:pt x="466725" y="468313"/>
                    </a:lnTo>
                    <a:lnTo>
                      <a:pt x="466725" y="234950"/>
                    </a:lnTo>
                    <a:close/>
                    <a:moveTo>
                      <a:pt x="117158" y="0"/>
                    </a:moveTo>
                    <a:cubicBezTo>
                      <a:pt x="117158" y="0"/>
                      <a:pt x="117158" y="0"/>
                      <a:pt x="582930" y="0"/>
                    </a:cubicBezTo>
                    <a:cubicBezTo>
                      <a:pt x="648653" y="0"/>
                      <a:pt x="700088" y="54293"/>
                      <a:pt x="700088" y="117158"/>
                    </a:cubicBezTo>
                    <a:cubicBezTo>
                      <a:pt x="700088" y="117158"/>
                      <a:pt x="700088" y="117158"/>
                      <a:pt x="700088" y="582931"/>
                    </a:cubicBezTo>
                    <a:cubicBezTo>
                      <a:pt x="700088" y="648653"/>
                      <a:pt x="648653" y="700088"/>
                      <a:pt x="582930" y="700088"/>
                    </a:cubicBezTo>
                    <a:cubicBezTo>
                      <a:pt x="582930" y="700088"/>
                      <a:pt x="582930" y="700088"/>
                      <a:pt x="117158" y="700088"/>
                    </a:cubicBezTo>
                    <a:cubicBezTo>
                      <a:pt x="51435" y="700088"/>
                      <a:pt x="0" y="648653"/>
                      <a:pt x="0" y="582931"/>
                    </a:cubicBezTo>
                    <a:cubicBezTo>
                      <a:pt x="0" y="582931"/>
                      <a:pt x="0" y="582931"/>
                      <a:pt x="0" y="117158"/>
                    </a:cubicBezTo>
                    <a:cubicBezTo>
                      <a:pt x="0" y="54293"/>
                      <a:pt x="51435" y="0"/>
                      <a:pt x="11715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34" name="Oval 96">
                <a:extLst>
                  <a:ext uri="{FF2B5EF4-FFF2-40B4-BE49-F238E27FC236}">
                    <a16:creationId xmlns:a16="http://schemas.microsoft.com/office/drawing/2014/main" id="{99FD529D-457B-4E11-80BB-264818C47099}"/>
                  </a:ext>
                </a:extLst>
              </p:cNvPr>
              <p:cNvSpPr>
                <a:spLocks noChangeArrowheads="1"/>
              </p:cNvSpPr>
              <p:nvPr/>
            </p:nvSpPr>
            <p:spPr bwMode="auto">
              <a:xfrm>
                <a:off x="3771900" y="4432300"/>
                <a:ext cx="234950"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35" name="Oval 97">
                <a:extLst>
                  <a:ext uri="{FF2B5EF4-FFF2-40B4-BE49-F238E27FC236}">
                    <a16:creationId xmlns:a16="http://schemas.microsoft.com/office/drawing/2014/main" id="{EB4B4483-2728-405C-A8E8-64329F01F938}"/>
                  </a:ext>
                </a:extLst>
              </p:cNvPr>
              <p:cNvSpPr>
                <a:spLocks noChangeArrowheads="1"/>
              </p:cNvSpPr>
              <p:nvPr/>
            </p:nvSpPr>
            <p:spPr bwMode="auto">
              <a:xfrm>
                <a:off x="3541713" y="4200525"/>
                <a:ext cx="696913" cy="700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36" name="Oval 98">
                <a:extLst>
                  <a:ext uri="{FF2B5EF4-FFF2-40B4-BE49-F238E27FC236}">
                    <a16:creationId xmlns:a16="http://schemas.microsoft.com/office/drawing/2014/main" id="{2B45BD56-3AAD-4011-96EB-7BEDB53336D6}"/>
                  </a:ext>
                </a:extLst>
              </p:cNvPr>
              <p:cNvSpPr>
                <a:spLocks noChangeArrowheads="1"/>
              </p:cNvSpPr>
              <p:nvPr/>
            </p:nvSpPr>
            <p:spPr bwMode="auto">
              <a:xfrm>
                <a:off x="4706938" y="4432300"/>
                <a:ext cx="231775"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37" name="Oval 99">
                <a:extLst>
                  <a:ext uri="{FF2B5EF4-FFF2-40B4-BE49-F238E27FC236}">
                    <a16:creationId xmlns:a16="http://schemas.microsoft.com/office/drawing/2014/main" id="{A3FF6EF5-17A6-4CC3-89AC-FC7CA4F43416}"/>
                  </a:ext>
                </a:extLst>
              </p:cNvPr>
              <p:cNvSpPr>
                <a:spLocks noChangeArrowheads="1"/>
              </p:cNvSpPr>
              <p:nvPr/>
            </p:nvSpPr>
            <p:spPr bwMode="auto">
              <a:xfrm>
                <a:off x="4471988" y="4200525"/>
                <a:ext cx="700088" cy="700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44" name="Oval 100">
                <a:extLst>
                  <a:ext uri="{FF2B5EF4-FFF2-40B4-BE49-F238E27FC236}">
                    <a16:creationId xmlns:a16="http://schemas.microsoft.com/office/drawing/2014/main" id="{2CC78174-E742-40DC-A2D1-5F0713516D1C}"/>
                  </a:ext>
                </a:extLst>
              </p:cNvPr>
              <p:cNvSpPr>
                <a:spLocks noChangeArrowheads="1"/>
              </p:cNvSpPr>
              <p:nvPr/>
            </p:nvSpPr>
            <p:spPr bwMode="auto">
              <a:xfrm>
                <a:off x="5638800" y="4432300"/>
                <a:ext cx="233363"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45" name="Oval 101">
                <a:extLst>
                  <a:ext uri="{FF2B5EF4-FFF2-40B4-BE49-F238E27FC236}">
                    <a16:creationId xmlns:a16="http://schemas.microsoft.com/office/drawing/2014/main" id="{DAED1ACB-9468-43C4-8F8A-6C955EF5FA7C}"/>
                  </a:ext>
                </a:extLst>
              </p:cNvPr>
              <p:cNvSpPr>
                <a:spLocks noChangeArrowheads="1"/>
              </p:cNvSpPr>
              <p:nvPr/>
            </p:nvSpPr>
            <p:spPr bwMode="auto">
              <a:xfrm>
                <a:off x="5403850" y="4200525"/>
                <a:ext cx="700088" cy="700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46" name="Oval 102">
                <a:extLst>
                  <a:ext uri="{FF2B5EF4-FFF2-40B4-BE49-F238E27FC236}">
                    <a16:creationId xmlns:a16="http://schemas.microsoft.com/office/drawing/2014/main" id="{B9C14FDD-02CB-4F23-A8DA-D6632E402397}"/>
                  </a:ext>
                </a:extLst>
              </p:cNvPr>
              <p:cNvSpPr>
                <a:spLocks noChangeArrowheads="1"/>
              </p:cNvSpPr>
              <p:nvPr/>
            </p:nvSpPr>
            <p:spPr bwMode="auto">
              <a:xfrm>
                <a:off x="6569075" y="4432300"/>
                <a:ext cx="234950"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67" name="Oval 103">
                <a:extLst>
                  <a:ext uri="{FF2B5EF4-FFF2-40B4-BE49-F238E27FC236}">
                    <a16:creationId xmlns:a16="http://schemas.microsoft.com/office/drawing/2014/main" id="{762E1E42-2D12-4FB6-8BC2-2142F6C0EA10}"/>
                  </a:ext>
                </a:extLst>
              </p:cNvPr>
              <p:cNvSpPr>
                <a:spLocks noChangeArrowheads="1"/>
              </p:cNvSpPr>
              <p:nvPr/>
            </p:nvSpPr>
            <p:spPr bwMode="auto">
              <a:xfrm>
                <a:off x="6338888" y="4200525"/>
                <a:ext cx="700088" cy="700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68" name="Oval 104">
                <a:extLst>
                  <a:ext uri="{FF2B5EF4-FFF2-40B4-BE49-F238E27FC236}">
                    <a16:creationId xmlns:a16="http://schemas.microsoft.com/office/drawing/2014/main" id="{B1C92575-C6E1-4540-8C5B-D553CED60EED}"/>
                  </a:ext>
                </a:extLst>
              </p:cNvPr>
              <p:cNvSpPr>
                <a:spLocks noChangeArrowheads="1"/>
              </p:cNvSpPr>
              <p:nvPr/>
            </p:nvSpPr>
            <p:spPr bwMode="auto">
              <a:xfrm>
                <a:off x="7504113" y="4432300"/>
                <a:ext cx="231775"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69" name="Oval 105">
                <a:extLst>
                  <a:ext uri="{FF2B5EF4-FFF2-40B4-BE49-F238E27FC236}">
                    <a16:creationId xmlns:a16="http://schemas.microsoft.com/office/drawing/2014/main" id="{9D06F823-A2B2-4F65-B9B6-157EB1636624}"/>
                  </a:ext>
                </a:extLst>
              </p:cNvPr>
              <p:cNvSpPr>
                <a:spLocks noChangeArrowheads="1"/>
              </p:cNvSpPr>
              <p:nvPr/>
            </p:nvSpPr>
            <p:spPr bwMode="auto">
              <a:xfrm>
                <a:off x="7269163" y="4200525"/>
                <a:ext cx="700088" cy="700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70" name="Oval 106">
                <a:extLst>
                  <a:ext uri="{FF2B5EF4-FFF2-40B4-BE49-F238E27FC236}">
                    <a16:creationId xmlns:a16="http://schemas.microsoft.com/office/drawing/2014/main" id="{CDF69069-6F23-49A5-A6B9-90A993E05B7C}"/>
                  </a:ext>
                </a:extLst>
              </p:cNvPr>
              <p:cNvSpPr>
                <a:spLocks noChangeArrowheads="1"/>
              </p:cNvSpPr>
              <p:nvPr/>
            </p:nvSpPr>
            <p:spPr bwMode="auto">
              <a:xfrm>
                <a:off x="8435975" y="4432300"/>
                <a:ext cx="233363"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72" name="Oval 107">
                <a:extLst>
                  <a:ext uri="{FF2B5EF4-FFF2-40B4-BE49-F238E27FC236}">
                    <a16:creationId xmlns:a16="http://schemas.microsoft.com/office/drawing/2014/main" id="{A2E3F119-C5AC-48B1-A39A-FF4788BF7BAD}"/>
                  </a:ext>
                </a:extLst>
              </p:cNvPr>
              <p:cNvSpPr>
                <a:spLocks noChangeArrowheads="1"/>
              </p:cNvSpPr>
              <p:nvPr/>
            </p:nvSpPr>
            <p:spPr bwMode="auto">
              <a:xfrm>
                <a:off x="8204200" y="4200525"/>
                <a:ext cx="696913" cy="7000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273" name="Freeform: Shape 272">
                <a:extLst>
                  <a:ext uri="{FF2B5EF4-FFF2-40B4-BE49-F238E27FC236}">
                    <a16:creationId xmlns:a16="http://schemas.microsoft.com/office/drawing/2014/main" id="{5318FE5F-31B2-479B-B8D1-ADDAABAC8555}"/>
                  </a:ext>
                </a:extLst>
              </p:cNvPr>
              <p:cNvSpPr>
                <a:spLocks/>
              </p:cNvSpPr>
              <p:nvPr/>
            </p:nvSpPr>
            <p:spPr bwMode="auto">
              <a:xfrm>
                <a:off x="2957513" y="3033713"/>
                <a:ext cx="931863" cy="931863"/>
              </a:xfrm>
              <a:custGeom>
                <a:avLst/>
                <a:gdLst>
                  <a:gd name="connsiteX0" fmla="*/ 231775 w 931863"/>
                  <a:gd name="connsiteY0" fmla="*/ 231775 h 931863"/>
                  <a:gd name="connsiteX1" fmla="*/ 231775 w 931863"/>
                  <a:gd name="connsiteY1" fmla="*/ 700088 h 931863"/>
                  <a:gd name="connsiteX2" fmla="*/ 698500 w 931863"/>
                  <a:gd name="connsiteY2" fmla="*/ 700088 h 931863"/>
                  <a:gd name="connsiteX3" fmla="*/ 698500 w 931863"/>
                  <a:gd name="connsiteY3" fmla="*/ 231775 h 931863"/>
                  <a:gd name="connsiteX4" fmla="*/ 114339 w 931863"/>
                  <a:gd name="connsiteY4" fmla="*/ 0 h 931863"/>
                  <a:gd name="connsiteX5" fmla="*/ 814666 w 931863"/>
                  <a:gd name="connsiteY5" fmla="*/ 0 h 931863"/>
                  <a:gd name="connsiteX6" fmla="*/ 931863 w 931863"/>
                  <a:gd name="connsiteY6" fmla="*/ 117198 h 931863"/>
                  <a:gd name="connsiteX7" fmla="*/ 931863 w 931863"/>
                  <a:gd name="connsiteY7" fmla="*/ 814666 h 931863"/>
                  <a:gd name="connsiteX8" fmla="*/ 814666 w 931863"/>
                  <a:gd name="connsiteY8" fmla="*/ 931863 h 931863"/>
                  <a:gd name="connsiteX9" fmla="*/ 114339 w 931863"/>
                  <a:gd name="connsiteY9" fmla="*/ 931863 h 931863"/>
                  <a:gd name="connsiteX10" fmla="*/ 0 w 931863"/>
                  <a:gd name="connsiteY10" fmla="*/ 814666 h 931863"/>
                  <a:gd name="connsiteX11" fmla="*/ 0 w 931863"/>
                  <a:gd name="connsiteY11" fmla="*/ 117198 h 931863"/>
                  <a:gd name="connsiteX12" fmla="*/ 114339 w 931863"/>
                  <a:gd name="connsiteY1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1863" h="931863">
                    <a:moveTo>
                      <a:pt x="231775" y="231775"/>
                    </a:moveTo>
                    <a:lnTo>
                      <a:pt x="231775" y="700088"/>
                    </a:lnTo>
                    <a:lnTo>
                      <a:pt x="698500" y="700088"/>
                    </a:lnTo>
                    <a:lnTo>
                      <a:pt x="698500" y="231775"/>
                    </a:lnTo>
                    <a:close/>
                    <a:moveTo>
                      <a:pt x="114339" y="0"/>
                    </a:moveTo>
                    <a:cubicBezTo>
                      <a:pt x="114339" y="0"/>
                      <a:pt x="114339" y="0"/>
                      <a:pt x="814666" y="0"/>
                    </a:cubicBezTo>
                    <a:cubicBezTo>
                      <a:pt x="880411" y="0"/>
                      <a:pt x="931863" y="51453"/>
                      <a:pt x="931863" y="117198"/>
                    </a:cubicBezTo>
                    <a:cubicBezTo>
                      <a:pt x="931863" y="117198"/>
                      <a:pt x="931863" y="117198"/>
                      <a:pt x="931863" y="814666"/>
                    </a:cubicBezTo>
                    <a:cubicBezTo>
                      <a:pt x="931863" y="880411"/>
                      <a:pt x="880411" y="931863"/>
                      <a:pt x="814666" y="931863"/>
                    </a:cubicBezTo>
                    <a:cubicBezTo>
                      <a:pt x="814666" y="931863"/>
                      <a:pt x="814666" y="931863"/>
                      <a:pt x="114339" y="931863"/>
                    </a:cubicBezTo>
                    <a:cubicBezTo>
                      <a:pt x="51453" y="931863"/>
                      <a:pt x="0" y="880411"/>
                      <a:pt x="0" y="814666"/>
                    </a:cubicBezTo>
                    <a:cubicBezTo>
                      <a:pt x="0" y="814666"/>
                      <a:pt x="0" y="814666"/>
                      <a:pt x="0" y="117198"/>
                    </a:cubicBezTo>
                    <a:cubicBezTo>
                      <a:pt x="0" y="51453"/>
                      <a:pt x="51453" y="0"/>
                      <a:pt x="1143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74" name="Freeform: Shape 273">
                <a:extLst>
                  <a:ext uri="{FF2B5EF4-FFF2-40B4-BE49-F238E27FC236}">
                    <a16:creationId xmlns:a16="http://schemas.microsoft.com/office/drawing/2014/main" id="{F5656F2E-9927-4DA4-97F1-5C8C559D7C9E}"/>
                  </a:ext>
                </a:extLst>
              </p:cNvPr>
              <p:cNvSpPr>
                <a:spLocks/>
              </p:cNvSpPr>
              <p:nvPr/>
            </p:nvSpPr>
            <p:spPr bwMode="auto">
              <a:xfrm>
                <a:off x="4471988" y="3033713"/>
                <a:ext cx="931863" cy="931863"/>
              </a:xfrm>
              <a:custGeom>
                <a:avLst/>
                <a:gdLst>
                  <a:gd name="connsiteX0" fmla="*/ 234950 w 931863"/>
                  <a:gd name="connsiteY0" fmla="*/ 231775 h 931863"/>
                  <a:gd name="connsiteX1" fmla="*/ 234950 w 931863"/>
                  <a:gd name="connsiteY1" fmla="*/ 700088 h 931863"/>
                  <a:gd name="connsiteX2" fmla="*/ 700088 w 931863"/>
                  <a:gd name="connsiteY2" fmla="*/ 700088 h 931863"/>
                  <a:gd name="connsiteX3" fmla="*/ 700088 w 931863"/>
                  <a:gd name="connsiteY3" fmla="*/ 231775 h 931863"/>
                  <a:gd name="connsiteX4" fmla="*/ 117198 w 931863"/>
                  <a:gd name="connsiteY4" fmla="*/ 0 h 931863"/>
                  <a:gd name="connsiteX5" fmla="*/ 817524 w 931863"/>
                  <a:gd name="connsiteY5" fmla="*/ 0 h 931863"/>
                  <a:gd name="connsiteX6" fmla="*/ 931863 w 931863"/>
                  <a:gd name="connsiteY6" fmla="*/ 117198 h 931863"/>
                  <a:gd name="connsiteX7" fmla="*/ 931863 w 931863"/>
                  <a:gd name="connsiteY7" fmla="*/ 814666 h 931863"/>
                  <a:gd name="connsiteX8" fmla="*/ 817524 w 931863"/>
                  <a:gd name="connsiteY8" fmla="*/ 931863 h 931863"/>
                  <a:gd name="connsiteX9" fmla="*/ 117198 w 931863"/>
                  <a:gd name="connsiteY9" fmla="*/ 931863 h 931863"/>
                  <a:gd name="connsiteX10" fmla="*/ 0 w 931863"/>
                  <a:gd name="connsiteY10" fmla="*/ 814666 h 931863"/>
                  <a:gd name="connsiteX11" fmla="*/ 0 w 931863"/>
                  <a:gd name="connsiteY11" fmla="*/ 117198 h 931863"/>
                  <a:gd name="connsiteX12" fmla="*/ 117198 w 931863"/>
                  <a:gd name="connsiteY1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1863" h="931863">
                    <a:moveTo>
                      <a:pt x="234950" y="231775"/>
                    </a:moveTo>
                    <a:lnTo>
                      <a:pt x="234950" y="700088"/>
                    </a:lnTo>
                    <a:lnTo>
                      <a:pt x="700088" y="700088"/>
                    </a:lnTo>
                    <a:lnTo>
                      <a:pt x="700088" y="231775"/>
                    </a:lnTo>
                    <a:close/>
                    <a:moveTo>
                      <a:pt x="117198" y="0"/>
                    </a:moveTo>
                    <a:cubicBezTo>
                      <a:pt x="117198" y="0"/>
                      <a:pt x="117198" y="0"/>
                      <a:pt x="817524" y="0"/>
                    </a:cubicBezTo>
                    <a:cubicBezTo>
                      <a:pt x="880411" y="0"/>
                      <a:pt x="931863" y="51453"/>
                      <a:pt x="931863" y="117198"/>
                    </a:cubicBezTo>
                    <a:cubicBezTo>
                      <a:pt x="931863" y="117198"/>
                      <a:pt x="931863" y="117198"/>
                      <a:pt x="931863" y="814666"/>
                    </a:cubicBezTo>
                    <a:cubicBezTo>
                      <a:pt x="931863" y="880411"/>
                      <a:pt x="880411" y="931863"/>
                      <a:pt x="817524" y="931863"/>
                    </a:cubicBezTo>
                    <a:cubicBezTo>
                      <a:pt x="817524" y="931863"/>
                      <a:pt x="817524" y="931863"/>
                      <a:pt x="117198" y="931863"/>
                    </a:cubicBezTo>
                    <a:cubicBezTo>
                      <a:pt x="51453" y="931863"/>
                      <a:pt x="0" y="880411"/>
                      <a:pt x="0" y="814666"/>
                    </a:cubicBezTo>
                    <a:cubicBezTo>
                      <a:pt x="0" y="814666"/>
                      <a:pt x="0" y="814666"/>
                      <a:pt x="0" y="117198"/>
                    </a:cubicBezTo>
                    <a:cubicBezTo>
                      <a:pt x="0" y="51453"/>
                      <a:pt x="51453" y="0"/>
                      <a:pt x="117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75" name="Freeform: Shape 274">
                <a:extLst>
                  <a:ext uri="{FF2B5EF4-FFF2-40B4-BE49-F238E27FC236}">
                    <a16:creationId xmlns:a16="http://schemas.microsoft.com/office/drawing/2014/main" id="{4932947C-AEF8-4313-A61C-2C24B5CD779C}"/>
                  </a:ext>
                </a:extLst>
              </p:cNvPr>
              <p:cNvSpPr>
                <a:spLocks/>
              </p:cNvSpPr>
              <p:nvPr/>
            </p:nvSpPr>
            <p:spPr bwMode="auto">
              <a:xfrm>
                <a:off x="5986463" y="3033713"/>
                <a:ext cx="935038" cy="931863"/>
              </a:xfrm>
              <a:custGeom>
                <a:avLst/>
                <a:gdLst>
                  <a:gd name="connsiteX0" fmla="*/ 234950 w 935038"/>
                  <a:gd name="connsiteY0" fmla="*/ 231775 h 931863"/>
                  <a:gd name="connsiteX1" fmla="*/ 234950 w 935038"/>
                  <a:gd name="connsiteY1" fmla="*/ 700088 h 931863"/>
                  <a:gd name="connsiteX2" fmla="*/ 700088 w 935038"/>
                  <a:gd name="connsiteY2" fmla="*/ 700088 h 931863"/>
                  <a:gd name="connsiteX3" fmla="*/ 700088 w 935038"/>
                  <a:gd name="connsiteY3" fmla="*/ 231775 h 931863"/>
                  <a:gd name="connsiteX4" fmla="*/ 117237 w 935038"/>
                  <a:gd name="connsiteY4" fmla="*/ 0 h 931863"/>
                  <a:gd name="connsiteX5" fmla="*/ 817801 w 935038"/>
                  <a:gd name="connsiteY5" fmla="*/ 0 h 931863"/>
                  <a:gd name="connsiteX6" fmla="*/ 935038 w 935038"/>
                  <a:gd name="connsiteY6" fmla="*/ 117198 h 931863"/>
                  <a:gd name="connsiteX7" fmla="*/ 935038 w 935038"/>
                  <a:gd name="connsiteY7" fmla="*/ 814666 h 931863"/>
                  <a:gd name="connsiteX8" fmla="*/ 817801 w 935038"/>
                  <a:gd name="connsiteY8" fmla="*/ 931863 h 931863"/>
                  <a:gd name="connsiteX9" fmla="*/ 117237 w 935038"/>
                  <a:gd name="connsiteY9" fmla="*/ 931863 h 931863"/>
                  <a:gd name="connsiteX10" fmla="*/ 0 w 935038"/>
                  <a:gd name="connsiteY10" fmla="*/ 814666 h 931863"/>
                  <a:gd name="connsiteX11" fmla="*/ 0 w 935038"/>
                  <a:gd name="connsiteY11" fmla="*/ 117198 h 931863"/>
                  <a:gd name="connsiteX12" fmla="*/ 117237 w 935038"/>
                  <a:gd name="connsiteY12" fmla="*/ 0 h 93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5038" h="931863">
                    <a:moveTo>
                      <a:pt x="234950" y="231775"/>
                    </a:moveTo>
                    <a:lnTo>
                      <a:pt x="234950" y="700088"/>
                    </a:lnTo>
                    <a:lnTo>
                      <a:pt x="700088" y="700088"/>
                    </a:lnTo>
                    <a:lnTo>
                      <a:pt x="700088" y="231775"/>
                    </a:lnTo>
                    <a:close/>
                    <a:moveTo>
                      <a:pt x="117237" y="0"/>
                    </a:moveTo>
                    <a:cubicBezTo>
                      <a:pt x="117237" y="0"/>
                      <a:pt x="117237" y="0"/>
                      <a:pt x="817801" y="0"/>
                    </a:cubicBezTo>
                    <a:cubicBezTo>
                      <a:pt x="883568" y="0"/>
                      <a:pt x="935038" y="51453"/>
                      <a:pt x="935038" y="117198"/>
                    </a:cubicBezTo>
                    <a:cubicBezTo>
                      <a:pt x="935038" y="117198"/>
                      <a:pt x="935038" y="117198"/>
                      <a:pt x="935038" y="814666"/>
                    </a:cubicBezTo>
                    <a:cubicBezTo>
                      <a:pt x="935038" y="880411"/>
                      <a:pt x="883568" y="931863"/>
                      <a:pt x="817801" y="931863"/>
                    </a:cubicBezTo>
                    <a:cubicBezTo>
                      <a:pt x="817801" y="931863"/>
                      <a:pt x="817801" y="931863"/>
                      <a:pt x="117237" y="931863"/>
                    </a:cubicBezTo>
                    <a:cubicBezTo>
                      <a:pt x="54330" y="931863"/>
                      <a:pt x="0" y="880411"/>
                      <a:pt x="0" y="814666"/>
                    </a:cubicBezTo>
                    <a:cubicBezTo>
                      <a:pt x="0" y="814666"/>
                      <a:pt x="0" y="814666"/>
                      <a:pt x="0" y="117198"/>
                    </a:cubicBezTo>
                    <a:cubicBezTo>
                      <a:pt x="0" y="51453"/>
                      <a:pt x="54330" y="0"/>
                      <a:pt x="117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sp>
            <p:nvSpPr>
              <p:cNvPr id="291" name="Freeform: Shape 290">
                <a:extLst>
                  <a:ext uri="{FF2B5EF4-FFF2-40B4-BE49-F238E27FC236}">
                    <a16:creationId xmlns:a16="http://schemas.microsoft.com/office/drawing/2014/main" id="{213C3752-B8EA-4BD3-B8BC-C9B185002512}"/>
                  </a:ext>
                </a:extLst>
              </p:cNvPr>
              <p:cNvSpPr>
                <a:spLocks/>
              </p:cNvSpPr>
              <p:nvPr/>
            </p:nvSpPr>
            <p:spPr bwMode="auto">
              <a:xfrm>
                <a:off x="4821238" y="3175"/>
                <a:ext cx="2565400" cy="3962400"/>
              </a:xfrm>
              <a:custGeom>
                <a:avLst/>
                <a:gdLst>
                  <a:gd name="connsiteX0" fmla="*/ 233362 w 2565400"/>
                  <a:gd name="connsiteY0" fmla="*/ 233363 h 3962400"/>
                  <a:gd name="connsiteX1" fmla="*/ 233362 w 2565400"/>
                  <a:gd name="connsiteY1" fmla="*/ 3030602 h 3962400"/>
                  <a:gd name="connsiteX2" fmla="*/ 467819 w 2565400"/>
                  <a:gd name="connsiteY2" fmla="*/ 3030602 h 3962400"/>
                  <a:gd name="connsiteX3" fmla="*/ 582188 w 2565400"/>
                  <a:gd name="connsiteY3" fmla="*/ 3147749 h 3962400"/>
                  <a:gd name="connsiteX4" fmla="*/ 582188 w 2565400"/>
                  <a:gd name="connsiteY4" fmla="*/ 3730626 h 3962400"/>
                  <a:gd name="connsiteX5" fmla="*/ 2332037 w 2565400"/>
                  <a:gd name="connsiteY5" fmla="*/ 3730626 h 3962400"/>
                  <a:gd name="connsiteX6" fmla="*/ 2332037 w 2565400"/>
                  <a:gd name="connsiteY6" fmla="*/ 233363 h 3962400"/>
                  <a:gd name="connsiteX7" fmla="*/ 117129 w 2565400"/>
                  <a:gd name="connsiteY7" fmla="*/ 0 h 3962400"/>
                  <a:gd name="connsiteX8" fmla="*/ 2448272 w 2565400"/>
                  <a:gd name="connsiteY8" fmla="*/ 0 h 3962400"/>
                  <a:gd name="connsiteX9" fmla="*/ 2565400 w 2565400"/>
                  <a:gd name="connsiteY9" fmla="*/ 117129 h 3962400"/>
                  <a:gd name="connsiteX10" fmla="*/ 2565400 w 2565400"/>
                  <a:gd name="connsiteY10" fmla="*/ 3845271 h 3962400"/>
                  <a:gd name="connsiteX11" fmla="*/ 2448272 w 2565400"/>
                  <a:gd name="connsiteY11" fmla="*/ 3962400 h 3962400"/>
                  <a:gd name="connsiteX12" fmla="*/ 468514 w 2565400"/>
                  <a:gd name="connsiteY12" fmla="*/ 3962400 h 3962400"/>
                  <a:gd name="connsiteX13" fmla="*/ 351386 w 2565400"/>
                  <a:gd name="connsiteY13" fmla="*/ 3845271 h 3962400"/>
                  <a:gd name="connsiteX14" fmla="*/ 351386 w 2565400"/>
                  <a:gd name="connsiteY14" fmla="*/ 3262481 h 3962400"/>
                  <a:gd name="connsiteX15" fmla="*/ 117129 w 2565400"/>
                  <a:gd name="connsiteY15" fmla="*/ 3262481 h 3962400"/>
                  <a:gd name="connsiteX16" fmla="*/ 0 w 2565400"/>
                  <a:gd name="connsiteY16" fmla="*/ 3148208 h 3962400"/>
                  <a:gd name="connsiteX17" fmla="*/ 0 w 2565400"/>
                  <a:gd name="connsiteY17" fmla="*/ 117129 h 3962400"/>
                  <a:gd name="connsiteX18" fmla="*/ 117129 w 2565400"/>
                  <a:gd name="connsiteY18" fmla="*/ 0 h 39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65400" h="3962400">
                    <a:moveTo>
                      <a:pt x="233362" y="233363"/>
                    </a:moveTo>
                    <a:cubicBezTo>
                      <a:pt x="233362" y="233363"/>
                      <a:pt x="233362" y="233363"/>
                      <a:pt x="233362" y="3030602"/>
                    </a:cubicBezTo>
                    <a:cubicBezTo>
                      <a:pt x="233362" y="3030602"/>
                      <a:pt x="233362" y="3030602"/>
                      <a:pt x="467819" y="3030602"/>
                    </a:cubicBezTo>
                    <a:cubicBezTo>
                      <a:pt x="530722" y="3030602"/>
                      <a:pt x="582188" y="3082032"/>
                      <a:pt x="582188" y="3147749"/>
                    </a:cubicBezTo>
                    <a:cubicBezTo>
                      <a:pt x="582188" y="3147749"/>
                      <a:pt x="582188" y="3147749"/>
                      <a:pt x="582188" y="3730626"/>
                    </a:cubicBezTo>
                    <a:cubicBezTo>
                      <a:pt x="582188" y="3730626"/>
                      <a:pt x="582188" y="3730626"/>
                      <a:pt x="2332037" y="3730626"/>
                    </a:cubicBezTo>
                    <a:cubicBezTo>
                      <a:pt x="2332037" y="3730626"/>
                      <a:pt x="2332037" y="3730626"/>
                      <a:pt x="2332037" y="233363"/>
                    </a:cubicBezTo>
                    <a:close/>
                    <a:moveTo>
                      <a:pt x="117129" y="0"/>
                    </a:moveTo>
                    <a:cubicBezTo>
                      <a:pt x="117129" y="0"/>
                      <a:pt x="117129" y="0"/>
                      <a:pt x="2448272" y="0"/>
                    </a:cubicBezTo>
                    <a:cubicBezTo>
                      <a:pt x="2513978" y="0"/>
                      <a:pt x="2565400" y="51423"/>
                      <a:pt x="2565400" y="117129"/>
                    </a:cubicBezTo>
                    <a:cubicBezTo>
                      <a:pt x="2565400" y="117129"/>
                      <a:pt x="2565400" y="117129"/>
                      <a:pt x="2565400" y="3845271"/>
                    </a:cubicBezTo>
                    <a:cubicBezTo>
                      <a:pt x="2565400" y="3910977"/>
                      <a:pt x="2513978" y="3962400"/>
                      <a:pt x="2448272" y="3962400"/>
                    </a:cubicBezTo>
                    <a:cubicBezTo>
                      <a:pt x="2448272" y="3962400"/>
                      <a:pt x="2448272" y="3962400"/>
                      <a:pt x="468514" y="3962400"/>
                    </a:cubicBezTo>
                    <a:cubicBezTo>
                      <a:pt x="402808" y="3962400"/>
                      <a:pt x="351386" y="3910977"/>
                      <a:pt x="351386" y="3845271"/>
                    </a:cubicBezTo>
                    <a:lnTo>
                      <a:pt x="351386" y="3262481"/>
                    </a:lnTo>
                    <a:cubicBezTo>
                      <a:pt x="351386" y="3262481"/>
                      <a:pt x="351386" y="3262481"/>
                      <a:pt x="117129" y="3262481"/>
                    </a:cubicBezTo>
                    <a:cubicBezTo>
                      <a:pt x="54279" y="3262481"/>
                      <a:pt x="0" y="3211058"/>
                      <a:pt x="0" y="3148208"/>
                    </a:cubicBezTo>
                    <a:cubicBezTo>
                      <a:pt x="0" y="3148208"/>
                      <a:pt x="0" y="3148208"/>
                      <a:pt x="0" y="117129"/>
                    </a:cubicBezTo>
                    <a:cubicBezTo>
                      <a:pt x="0" y="51423"/>
                      <a:pt x="54279" y="0"/>
                      <a:pt x="1171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noAutofit/>
              </a:bodyPr>
              <a:lstStyle/>
              <a:p>
                <a:pPr algn="ctr" defTabSz="914191">
                  <a:defRPr/>
                </a:pPr>
                <a:endParaRPr lang="en-US" sz="1764">
                  <a:solidFill>
                    <a:srgbClr val="353535"/>
                  </a:solidFill>
                  <a:latin typeface="Segoe UI Semilight"/>
                </a:endParaRPr>
              </a:p>
            </p:txBody>
          </p:sp>
        </p:grpSp>
        <p:sp>
          <p:nvSpPr>
            <p:cNvPr id="400" name="Rectangle 399">
              <a:extLst>
                <a:ext uri="{FF2B5EF4-FFF2-40B4-BE49-F238E27FC236}">
                  <a16:creationId xmlns:a16="http://schemas.microsoft.com/office/drawing/2014/main" id="{8827F539-176A-419F-87AF-2F80984FFDC1}"/>
                </a:ext>
              </a:extLst>
            </p:cNvPr>
            <p:cNvSpPr/>
            <p:nvPr/>
          </p:nvSpPr>
          <p:spPr>
            <a:xfrm>
              <a:off x="6776575" y="4553914"/>
              <a:ext cx="791594" cy="111368"/>
            </a:xfrm>
            <a:prstGeom prst="rect">
              <a:avLst/>
            </a:prstGeom>
            <a:noFill/>
            <a:ln w="25400" cap="flat" cmpd="sng" algn="ctr">
              <a:noFill/>
              <a:prstDash val="solid"/>
            </a:ln>
            <a:effectLst/>
          </p:spPr>
          <p:txBody>
            <a:bodyPr rot="0" spcFirstLastPara="0" vertOverflow="overflow" horzOverflow="overflow" vert="horz" wrap="square" lIns="89629" tIns="89629" rIns="89629" bIns="89629" numCol="1" spcCol="0" rtlCol="0" fromWordArt="0" anchor="ctr" anchorCtr="0" forceAA="0" compatLnSpc="1">
              <a:prstTxWarp prst="textNoShape">
                <a:avLst/>
              </a:prstTxWarp>
              <a:noAutofit/>
            </a:bodyPr>
            <a:lstStyle/>
            <a:p>
              <a:pPr algn="ctr" defTabSz="896214">
                <a:defRPr/>
              </a:pPr>
              <a:r>
                <a:rPr lang="en-US" sz="900" kern="0">
                  <a:gradFill>
                    <a:gsLst>
                      <a:gs pos="66667">
                        <a:schemeClr val="tx1"/>
                      </a:gs>
                      <a:gs pos="37000">
                        <a:schemeClr val="tx1"/>
                      </a:gs>
                    </a:gsLst>
                    <a:lin ang="0" scaled="1"/>
                  </a:gradFill>
                  <a:latin typeface="Segoe UI Semilight"/>
                </a:rPr>
                <a:t>Production</a:t>
              </a:r>
            </a:p>
          </p:txBody>
        </p:sp>
      </p:grpSp>
      <p:grpSp>
        <p:nvGrpSpPr>
          <p:cNvPr id="8" name="Group 7">
            <a:extLst>
              <a:ext uri="{FF2B5EF4-FFF2-40B4-BE49-F238E27FC236}">
                <a16:creationId xmlns:a16="http://schemas.microsoft.com/office/drawing/2014/main" id="{C841CE1E-EC79-484E-9BB1-B67AD4FC7875}"/>
              </a:ext>
            </a:extLst>
          </p:cNvPr>
          <p:cNvGrpSpPr/>
          <p:nvPr/>
        </p:nvGrpSpPr>
        <p:grpSpPr>
          <a:xfrm>
            <a:off x="4671896" y="3953948"/>
            <a:ext cx="791482" cy="585777"/>
            <a:chOff x="4801640" y="2860112"/>
            <a:chExt cx="791594" cy="585860"/>
          </a:xfrm>
        </p:grpSpPr>
        <p:sp>
          <p:nvSpPr>
            <p:cNvPr id="292" name="Freeform 173">
              <a:extLst>
                <a:ext uri="{FF2B5EF4-FFF2-40B4-BE49-F238E27FC236}">
                  <a16:creationId xmlns:a16="http://schemas.microsoft.com/office/drawing/2014/main" id="{6E9AEA20-F970-4A2F-92D6-79CC0EAE819E}"/>
                </a:ext>
              </a:extLst>
            </p:cNvPr>
            <p:cNvSpPr>
              <a:spLocks noEditPoints="1"/>
            </p:cNvSpPr>
            <p:nvPr/>
          </p:nvSpPr>
          <p:spPr bwMode="auto">
            <a:xfrm>
              <a:off x="4984455" y="2860112"/>
              <a:ext cx="425965" cy="399340"/>
            </a:xfrm>
            <a:custGeom>
              <a:avLst/>
              <a:gdLst>
                <a:gd name="T0" fmla="*/ 234 w 2328"/>
                <a:gd name="T1" fmla="*/ 2182 h 2182"/>
                <a:gd name="T2" fmla="*/ 171 w 2328"/>
                <a:gd name="T3" fmla="*/ 1033 h 2182"/>
                <a:gd name="T4" fmla="*/ 0 w 2328"/>
                <a:gd name="T5" fmla="*/ 650 h 2182"/>
                <a:gd name="T6" fmla="*/ 326 w 2328"/>
                <a:gd name="T7" fmla="*/ 33 h 2182"/>
                <a:gd name="T8" fmla="*/ 1947 w 2328"/>
                <a:gd name="T9" fmla="*/ 0 h 2182"/>
                <a:gd name="T10" fmla="*/ 2320 w 2328"/>
                <a:gd name="T11" fmla="*/ 621 h 2182"/>
                <a:gd name="T12" fmla="*/ 2328 w 2328"/>
                <a:gd name="T13" fmla="*/ 650 h 2182"/>
                <a:gd name="T14" fmla="*/ 2157 w 2328"/>
                <a:gd name="T15" fmla="*/ 1033 h 2182"/>
                <a:gd name="T16" fmla="*/ 2094 w 2328"/>
                <a:gd name="T17" fmla="*/ 2182 h 2182"/>
                <a:gd name="T18" fmla="*/ 2032 w 2328"/>
                <a:gd name="T19" fmla="*/ 2057 h 2182"/>
                <a:gd name="T20" fmla="*/ 1825 w 2328"/>
                <a:gd name="T21" fmla="*/ 950 h 2182"/>
                <a:gd name="T22" fmla="*/ 1384 w 2328"/>
                <a:gd name="T23" fmla="*/ 950 h 2182"/>
                <a:gd name="T24" fmla="*/ 944 w 2328"/>
                <a:gd name="T25" fmla="*/ 950 h 2182"/>
                <a:gd name="T26" fmla="*/ 503 w 2328"/>
                <a:gd name="T27" fmla="*/ 950 h 2182"/>
                <a:gd name="T28" fmla="*/ 296 w 2328"/>
                <a:gd name="T29" fmla="*/ 2057 h 2182"/>
                <a:gd name="T30" fmla="*/ 465 w 2328"/>
                <a:gd name="T31" fmla="*/ 1336 h 2182"/>
                <a:gd name="T32" fmla="*/ 1017 w 2328"/>
                <a:gd name="T33" fmla="*/ 1273 h 2182"/>
                <a:gd name="T34" fmla="*/ 1080 w 2328"/>
                <a:gd name="T35" fmla="*/ 2057 h 2182"/>
                <a:gd name="T36" fmla="*/ 955 w 2328"/>
                <a:gd name="T37" fmla="*/ 2057 h 2182"/>
                <a:gd name="T38" fmla="*/ 590 w 2328"/>
                <a:gd name="T39" fmla="*/ 1398 h 2182"/>
                <a:gd name="T40" fmla="*/ 1887 w 2328"/>
                <a:gd name="T41" fmla="*/ 713 h 2182"/>
                <a:gd name="T42" fmla="*/ 2045 w 2328"/>
                <a:gd name="T43" fmla="*/ 931 h 2182"/>
                <a:gd name="T44" fmla="*/ 2203 w 2328"/>
                <a:gd name="T45" fmla="*/ 713 h 2182"/>
                <a:gd name="T46" fmla="*/ 1447 w 2328"/>
                <a:gd name="T47" fmla="*/ 713 h 2182"/>
                <a:gd name="T48" fmla="*/ 1605 w 2328"/>
                <a:gd name="T49" fmla="*/ 931 h 2182"/>
                <a:gd name="T50" fmla="*/ 1762 w 2328"/>
                <a:gd name="T51" fmla="*/ 713 h 2182"/>
                <a:gd name="T52" fmla="*/ 1006 w 2328"/>
                <a:gd name="T53" fmla="*/ 713 h 2182"/>
                <a:gd name="T54" fmla="*/ 1164 w 2328"/>
                <a:gd name="T55" fmla="*/ 931 h 2182"/>
                <a:gd name="T56" fmla="*/ 1322 w 2328"/>
                <a:gd name="T57" fmla="*/ 713 h 2182"/>
                <a:gd name="T58" fmla="*/ 566 w 2328"/>
                <a:gd name="T59" fmla="*/ 713 h 2182"/>
                <a:gd name="T60" fmla="*/ 723 w 2328"/>
                <a:gd name="T61" fmla="*/ 931 h 2182"/>
                <a:gd name="T62" fmla="*/ 881 w 2328"/>
                <a:gd name="T63" fmla="*/ 713 h 2182"/>
                <a:gd name="T64" fmla="*/ 125 w 2328"/>
                <a:gd name="T65" fmla="*/ 713 h 2182"/>
                <a:gd name="T66" fmla="*/ 283 w 2328"/>
                <a:gd name="T67" fmla="*/ 931 h 2182"/>
                <a:gd name="T68" fmla="*/ 441 w 2328"/>
                <a:gd name="T69" fmla="*/ 713 h 2182"/>
                <a:gd name="T70" fmla="*/ 167 w 2328"/>
                <a:gd name="T71" fmla="*/ 588 h 2182"/>
                <a:gd name="T72" fmla="*/ 1910 w 2328"/>
                <a:gd name="T73" fmla="*/ 125 h 2182"/>
                <a:gd name="T74" fmla="*/ 167 w 2328"/>
                <a:gd name="T75" fmla="*/ 588 h 2182"/>
                <a:gd name="T76" fmla="*/ 1262 w 2328"/>
                <a:gd name="T77" fmla="*/ 1741 h 2182"/>
                <a:gd name="T78" fmla="*/ 1199 w 2328"/>
                <a:gd name="T79" fmla="*/ 1336 h 2182"/>
                <a:gd name="T80" fmla="*/ 1800 w 2328"/>
                <a:gd name="T81" fmla="*/ 1273 h 2182"/>
                <a:gd name="T82" fmla="*/ 1863 w 2328"/>
                <a:gd name="T83" fmla="*/ 1679 h 2182"/>
                <a:gd name="T84" fmla="*/ 1324 w 2328"/>
                <a:gd name="T85" fmla="*/ 1616 h 2182"/>
                <a:gd name="T86" fmla="*/ 1738 w 2328"/>
                <a:gd name="T87" fmla="*/ 1398 h 2182"/>
                <a:gd name="T88" fmla="*/ 1324 w 2328"/>
                <a:gd name="T89" fmla="*/ 1616 h 2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28" h="2182">
                  <a:moveTo>
                    <a:pt x="2094" y="2182"/>
                  </a:moveTo>
                  <a:cubicBezTo>
                    <a:pt x="234" y="2182"/>
                    <a:pt x="234" y="2182"/>
                    <a:pt x="234" y="2182"/>
                  </a:cubicBezTo>
                  <a:cubicBezTo>
                    <a:pt x="199" y="2182"/>
                    <a:pt x="171" y="2154"/>
                    <a:pt x="171" y="2119"/>
                  </a:cubicBezTo>
                  <a:cubicBezTo>
                    <a:pt x="171" y="1033"/>
                    <a:pt x="171" y="1033"/>
                    <a:pt x="171" y="1033"/>
                  </a:cubicBezTo>
                  <a:cubicBezTo>
                    <a:pt x="68" y="989"/>
                    <a:pt x="0" y="888"/>
                    <a:pt x="0" y="773"/>
                  </a:cubicBezTo>
                  <a:cubicBezTo>
                    <a:pt x="0" y="650"/>
                    <a:pt x="0" y="650"/>
                    <a:pt x="0" y="650"/>
                  </a:cubicBezTo>
                  <a:cubicBezTo>
                    <a:pt x="0" y="640"/>
                    <a:pt x="3" y="629"/>
                    <a:pt x="8" y="620"/>
                  </a:cubicBezTo>
                  <a:cubicBezTo>
                    <a:pt x="326" y="33"/>
                    <a:pt x="326" y="33"/>
                    <a:pt x="326" y="33"/>
                  </a:cubicBezTo>
                  <a:cubicBezTo>
                    <a:pt x="336" y="13"/>
                    <a:pt x="357" y="1"/>
                    <a:pt x="380" y="0"/>
                  </a:cubicBezTo>
                  <a:cubicBezTo>
                    <a:pt x="1947" y="0"/>
                    <a:pt x="1947" y="0"/>
                    <a:pt x="1947" y="0"/>
                  </a:cubicBezTo>
                  <a:cubicBezTo>
                    <a:pt x="1971" y="1"/>
                    <a:pt x="1992" y="13"/>
                    <a:pt x="2002" y="34"/>
                  </a:cubicBezTo>
                  <a:cubicBezTo>
                    <a:pt x="2320" y="621"/>
                    <a:pt x="2320" y="621"/>
                    <a:pt x="2320" y="621"/>
                  </a:cubicBezTo>
                  <a:cubicBezTo>
                    <a:pt x="2325" y="629"/>
                    <a:pt x="2328" y="640"/>
                    <a:pt x="2328" y="650"/>
                  </a:cubicBezTo>
                  <a:cubicBezTo>
                    <a:pt x="2328" y="650"/>
                    <a:pt x="2328" y="650"/>
                    <a:pt x="2328" y="650"/>
                  </a:cubicBezTo>
                  <a:cubicBezTo>
                    <a:pt x="2328" y="773"/>
                    <a:pt x="2328" y="773"/>
                    <a:pt x="2328" y="773"/>
                  </a:cubicBezTo>
                  <a:cubicBezTo>
                    <a:pt x="2328" y="888"/>
                    <a:pt x="2260" y="989"/>
                    <a:pt x="2157" y="1033"/>
                  </a:cubicBezTo>
                  <a:cubicBezTo>
                    <a:pt x="2157" y="2119"/>
                    <a:pt x="2157" y="2119"/>
                    <a:pt x="2157" y="2119"/>
                  </a:cubicBezTo>
                  <a:cubicBezTo>
                    <a:pt x="2157" y="2154"/>
                    <a:pt x="2129" y="2182"/>
                    <a:pt x="2094" y="2182"/>
                  </a:cubicBezTo>
                  <a:close/>
                  <a:moveTo>
                    <a:pt x="1080" y="2057"/>
                  </a:moveTo>
                  <a:cubicBezTo>
                    <a:pt x="2032" y="2057"/>
                    <a:pt x="2032" y="2057"/>
                    <a:pt x="2032" y="2057"/>
                  </a:cubicBezTo>
                  <a:cubicBezTo>
                    <a:pt x="2032" y="1055"/>
                    <a:pt x="2032" y="1055"/>
                    <a:pt x="2032" y="1055"/>
                  </a:cubicBezTo>
                  <a:cubicBezTo>
                    <a:pt x="1950" y="1051"/>
                    <a:pt x="1875" y="1013"/>
                    <a:pt x="1825" y="950"/>
                  </a:cubicBezTo>
                  <a:cubicBezTo>
                    <a:pt x="1772" y="1016"/>
                    <a:pt x="1692" y="1056"/>
                    <a:pt x="1605" y="1056"/>
                  </a:cubicBezTo>
                  <a:cubicBezTo>
                    <a:pt x="1517" y="1056"/>
                    <a:pt x="1437" y="1016"/>
                    <a:pt x="1384" y="950"/>
                  </a:cubicBezTo>
                  <a:cubicBezTo>
                    <a:pt x="1332" y="1016"/>
                    <a:pt x="1252" y="1056"/>
                    <a:pt x="1164" y="1056"/>
                  </a:cubicBezTo>
                  <a:cubicBezTo>
                    <a:pt x="1076" y="1056"/>
                    <a:pt x="996" y="1016"/>
                    <a:pt x="944" y="950"/>
                  </a:cubicBezTo>
                  <a:cubicBezTo>
                    <a:pt x="891" y="1016"/>
                    <a:pt x="811" y="1056"/>
                    <a:pt x="723" y="1056"/>
                  </a:cubicBezTo>
                  <a:cubicBezTo>
                    <a:pt x="636" y="1056"/>
                    <a:pt x="556" y="1016"/>
                    <a:pt x="503" y="950"/>
                  </a:cubicBezTo>
                  <a:cubicBezTo>
                    <a:pt x="453" y="1013"/>
                    <a:pt x="378" y="1051"/>
                    <a:pt x="296" y="1055"/>
                  </a:cubicBezTo>
                  <a:cubicBezTo>
                    <a:pt x="296" y="2057"/>
                    <a:pt x="296" y="2057"/>
                    <a:pt x="296" y="2057"/>
                  </a:cubicBezTo>
                  <a:cubicBezTo>
                    <a:pt x="465" y="2057"/>
                    <a:pt x="465" y="2057"/>
                    <a:pt x="465" y="2057"/>
                  </a:cubicBezTo>
                  <a:cubicBezTo>
                    <a:pt x="465" y="1336"/>
                    <a:pt x="465" y="1336"/>
                    <a:pt x="465" y="1336"/>
                  </a:cubicBezTo>
                  <a:cubicBezTo>
                    <a:pt x="465" y="1301"/>
                    <a:pt x="493" y="1273"/>
                    <a:pt x="528" y="1273"/>
                  </a:cubicBezTo>
                  <a:cubicBezTo>
                    <a:pt x="1017" y="1273"/>
                    <a:pt x="1017" y="1273"/>
                    <a:pt x="1017" y="1273"/>
                  </a:cubicBezTo>
                  <a:cubicBezTo>
                    <a:pt x="1052" y="1273"/>
                    <a:pt x="1080" y="1301"/>
                    <a:pt x="1080" y="1336"/>
                  </a:cubicBezTo>
                  <a:lnTo>
                    <a:pt x="1080" y="2057"/>
                  </a:lnTo>
                  <a:close/>
                  <a:moveTo>
                    <a:pt x="590" y="2057"/>
                  </a:moveTo>
                  <a:cubicBezTo>
                    <a:pt x="955" y="2057"/>
                    <a:pt x="955" y="2057"/>
                    <a:pt x="955" y="2057"/>
                  </a:cubicBezTo>
                  <a:cubicBezTo>
                    <a:pt x="955" y="1398"/>
                    <a:pt x="955" y="1398"/>
                    <a:pt x="955" y="1398"/>
                  </a:cubicBezTo>
                  <a:cubicBezTo>
                    <a:pt x="590" y="1398"/>
                    <a:pt x="590" y="1398"/>
                    <a:pt x="590" y="1398"/>
                  </a:cubicBezTo>
                  <a:lnTo>
                    <a:pt x="590" y="2057"/>
                  </a:lnTo>
                  <a:close/>
                  <a:moveTo>
                    <a:pt x="1887" y="713"/>
                  </a:moveTo>
                  <a:cubicBezTo>
                    <a:pt x="1887" y="773"/>
                    <a:pt x="1887" y="773"/>
                    <a:pt x="1887" y="773"/>
                  </a:cubicBezTo>
                  <a:cubicBezTo>
                    <a:pt x="1887" y="861"/>
                    <a:pt x="1957" y="931"/>
                    <a:pt x="2045" y="931"/>
                  </a:cubicBezTo>
                  <a:cubicBezTo>
                    <a:pt x="2134" y="931"/>
                    <a:pt x="2203" y="861"/>
                    <a:pt x="2203" y="773"/>
                  </a:cubicBezTo>
                  <a:cubicBezTo>
                    <a:pt x="2203" y="713"/>
                    <a:pt x="2203" y="713"/>
                    <a:pt x="2203" y="713"/>
                  </a:cubicBezTo>
                  <a:lnTo>
                    <a:pt x="1887" y="713"/>
                  </a:lnTo>
                  <a:close/>
                  <a:moveTo>
                    <a:pt x="1447" y="713"/>
                  </a:moveTo>
                  <a:cubicBezTo>
                    <a:pt x="1447" y="773"/>
                    <a:pt x="1447" y="773"/>
                    <a:pt x="1447" y="773"/>
                  </a:cubicBezTo>
                  <a:cubicBezTo>
                    <a:pt x="1447" y="861"/>
                    <a:pt x="1516" y="931"/>
                    <a:pt x="1605" y="931"/>
                  </a:cubicBezTo>
                  <a:cubicBezTo>
                    <a:pt x="1693" y="931"/>
                    <a:pt x="1762" y="861"/>
                    <a:pt x="1762" y="773"/>
                  </a:cubicBezTo>
                  <a:cubicBezTo>
                    <a:pt x="1762" y="713"/>
                    <a:pt x="1762" y="713"/>
                    <a:pt x="1762" y="713"/>
                  </a:cubicBezTo>
                  <a:lnTo>
                    <a:pt x="1447" y="713"/>
                  </a:lnTo>
                  <a:close/>
                  <a:moveTo>
                    <a:pt x="1006" y="713"/>
                  </a:moveTo>
                  <a:cubicBezTo>
                    <a:pt x="1006" y="773"/>
                    <a:pt x="1006" y="773"/>
                    <a:pt x="1006" y="773"/>
                  </a:cubicBezTo>
                  <a:cubicBezTo>
                    <a:pt x="1006" y="861"/>
                    <a:pt x="1075" y="931"/>
                    <a:pt x="1164" y="931"/>
                  </a:cubicBezTo>
                  <a:cubicBezTo>
                    <a:pt x="1253" y="931"/>
                    <a:pt x="1322" y="861"/>
                    <a:pt x="1322" y="773"/>
                  </a:cubicBezTo>
                  <a:cubicBezTo>
                    <a:pt x="1322" y="713"/>
                    <a:pt x="1322" y="713"/>
                    <a:pt x="1322" y="713"/>
                  </a:cubicBezTo>
                  <a:lnTo>
                    <a:pt x="1006" y="713"/>
                  </a:lnTo>
                  <a:close/>
                  <a:moveTo>
                    <a:pt x="566" y="713"/>
                  </a:moveTo>
                  <a:cubicBezTo>
                    <a:pt x="566" y="773"/>
                    <a:pt x="566" y="773"/>
                    <a:pt x="566" y="773"/>
                  </a:cubicBezTo>
                  <a:cubicBezTo>
                    <a:pt x="566" y="861"/>
                    <a:pt x="635" y="931"/>
                    <a:pt x="723" y="931"/>
                  </a:cubicBezTo>
                  <a:cubicBezTo>
                    <a:pt x="812" y="931"/>
                    <a:pt x="881" y="861"/>
                    <a:pt x="881" y="773"/>
                  </a:cubicBezTo>
                  <a:cubicBezTo>
                    <a:pt x="881" y="713"/>
                    <a:pt x="881" y="713"/>
                    <a:pt x="881" y="713"/>
                  </a:cubicBezTo>
                  <a:lnTo>
                    <a:pt x="566" y="713"/>
                  </a:lnTo>
                  <a:close/>
                  <a:moveTo>
                    <a:pt x="125" y="713"/>
                  </a:moveTo>
                  <a:cubicBezTo>
                    <a:pt x="125" y="773"/>
                    <a:pt x="125" y="773"/>
                    <a:pt x="125" y="773"/>
                  </a:cubicBezTo>
                  <a:cubicBezTo>
                    <a:pt x="125" y="861"/>
                    <a:pt x="194" y="931"/>
                    <a:pt x="283" y="931"/>
                  </a:cubicBezTo>
                  <a:cubicBezTo>
                    <a:pt x="371" y="931"/>
                    <a:pt x="441" y="861"/>
                    <a:pt x="441" y="773"/>
                  </a:cubicBezTo>
                  <a:cubicBezTo>
                    <a:pt x="441" y="713"/>
                    <a:pt x="441" y="713"/>
                    <a:pt x="441" y="713"/>
                  </a:cubicBezTo>
                  <a:lnTo>
                    <a:pt x="125" y="713"/>
                  </a:lnTo>
                  <a:close/>
                  <a:moveTo>
                    <a:pt x="167" y="588"/>
                  </a:moveTo>
                  <a:cubicBezTo>
                    <a:pt x="2161" y="588"/>
                    <a:pt x="2161" y="588"/>
                    <a:pt x="2161" y="588"/>
                  </a:cubicBezTo>
                  <a:cubicBezTo>
                    <a:pt x="1910" y="125"/>
                    <a:pt x="1910" y="125"/>
                    <a:pt x="1910" y="125"/>
                  </a:cubicBezTo>
                  <a:cubicBezTo>
                    <a:pt x="418" y="125"/>
                    <a:pt x="418" y="125"/>
                    <a:pt x="418" y="125"/>
                  </a:cubicBezTo>
                  <a:lnTo>
                    <a:pt x="167" y="588"/>
                  </a:lnTo>
                  <a:close/>
                  <a:moveTo>
                    <a:pt x="1800" y="1741"/>
                  </a:moveTo>
                  <a:cubicBezTo>
                    <a:pt x="1262" y="1741"/>
                    <a:pt x="1262" y="1741"/>
                    <a:pt x="1262" y="1741"/>
                  </a:cubicBezTo>
                  <a:cubicBezTo>
                    <a:pt x="1227" y="1741"/>
                    <a:pt x="1199" y="1713"/>
                    <a:pt x="1199" y="1679"/>
                  </a:cubicBezTo>
                  <a:cubicBezTo>
                    <a:pt x="1199" y="1336"/>
                    <a:pt x="1199" y="1336"/>
                    <a:pt x="1199" y="1336"/>
                  </a:cubicBezTo>
                  <a:cubicBezTo>
                    <a:pt x="1199" y="1301"/>
                    <a:pt x="1227" y="1273"/>
                    <a:pt x="1262" y="1273"/>
                  </a:cubicBezTo>
                  <a:cubicBezTo>
                    <a:pt x="1800" y="1273"/>
                    <a:pt x="1800" y="1273"/>
                    <a:pt x="1800" y="1273"/>
                  </a:cubicBezTo>
                  <a:cubicBezTo>
                    <a:pt x="1835" y="1273"/>
                    <a:pt x="1863" y="1301"/>
                    <a:pt x="1863" y="1336"/>
                  </a:cubicBezTo>
                  <a:cubicBezTo>
                    <a:pt x="1863" y="1679"/>
                    <a:pt x="1863" y="1679"/>
                    <a:pt x="1863" y="1679"/>
                  </a:cubicBezTo>
                  <a:cubicBezTo>
                    <a:pt x="1863" y="1713"/>
                    <a:pt x="1835" y="1741"/>
                    <a:pt x="1800" y="1741"/>
                  </a:cubicBezTo>
                  <a:close/>
                  <a:moveTo>
                    <a:pt x="1324" y="1616"/>
                  </a:moveTo>
                  <a:cubicBezTo>
                    <a:pt x="1738" y="1616"/>
                    <a:pt x="1738" y="1616"/>
                    <a:pt x="1738" y="1616"/>
                  </a:cubicBezTo>
                  <a:cubicBezTo>
                    <a:pt x="1738" y="1398"/>
                    <a:pt x="1738" y="1398"/>
                    <a:pt x="1738" y="1398"/>
                  </a:cubicBezTo>
                  <a:cubicBezTo>
                    <a:pt x="1324" y="1398"/>
                    <a:pt x="1324" y="1398"/>
                    <a:pt x="1324" y="1398"/>
                  </a:cubicBezTo>
                  <a:lnTo>
                    <a:pt x="1324" y="1616"/>
                  </a:lnTo>
                  <a:close/>
                </a:path>
              </a:pathLst>
            </a:custGeom>
            <a:solidFill>
              <a:schemeClr val="tx2"/>
            </a:solidFill>
            <a:ln w="3175">
              <a:solidFill>
                <a:schemeClr val="bg1"/>
              </a:solid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401" name="Rectangle 400">
              <a:extLst>
                <a:ext uri="{FF2B5EF4-FFF2-40B4-BE49-F238E27FC236}">
                  <a16:creationId xmlns:a16="http://schemas.microsoft.com/office/drawing/2014/main" id="{E52F8E8D-AD09-47A4-8531-8813A987EC14}"/>
                </a:ext>
              </a:extLst>
            </p:cNvPr>
            <p:cNvSpPr/>
            <p:nvPr/>
          </p:nvSpPr>
          <p:spPr>
            <a:xfrm>
              <a:off x="4801640" y="3334604"/>
              <a:ext cx="791594" cy="111368"/>
            </a:xfrm>
            <a:prstGeom prst="rect">
              <a:avLst/>
            </a:prstGeom>
            <a:noFill/>
            <a:ln w="25400" cap="flat" cmpd="sng" algn="ctr">
              <a:noFill/>
              <a:prstDash val="solid"/>
            </a:ln>
            <a:effectLst/>
          </p:spPr>
          <p:txBody>
            <a:bodyPr rot="0" spcFirstLastPara="0" vertOverflow="overflow" horzOverflow="overflow" vert="horz" wrap="square" lIns="89629" tIns="89629" rIns="89629" bIns="89629" numCol="1" spcCol="0" rtlCol="0" fromWordArt="0" anchor="ctr" anchorCtr="0" forceAA="0" compatLnSpc="1">
              <a:prstTxWarp prst="textNoShape">
                <a:avLst/>
              </a:prstTxWarp>
              <a:noAutofit/>
            </a:bodyPr>
            <a:lstStyle/>
            <a:p>
              <a:pPr algn="ctr" defTabSz="896214">
                <a:defRPr/>
              </a:pPr>
              <a:r>
                <a:rPr lang="en-US" sz="900" kern="0">
                  <a:gradFill>
                    <a:gsLst>
                      <a:gs pos="66667">
                        <a:schemeClr val="tx1"/>
                      </a:gs>
                      <a:gs pos="37000">
                        <a:schemeClr val="tx1"/>
                      </a:gs>
                    </a:gsLst>
                    <a:lin ang="0" scaled="1"/>
                  </a:gradFill>
                  <a:latin typeface="Segoe UI Semilight"/>
                </a:rPr>
                <a:t>Marketing</a:t>
              </a:r>
            </a:p>
          </p:txBody>
        </p:sp>
      </p:grpSp>
      <p:grpSp>
        <p:nvGrpSpPr>
          <p:cNvPr id="7" name="Group 6">
            <a:extLst>
              <a:ext uri="{FF2B5EF4-FFF2-40B4-BE49-F238E27FC236}">
                <a16:creationId xmlns:a16="http://schemas.microsoft.com/office/drawing/2014/main" id="{287CD5DB-6AF4-4295-B0B5-4ACF49333CFB}"/>
              </a:ext>
            </a:extLst>
          </p:cNvPr>
          <p:cNvGrpSpPr/>
          <p:nvPr/>
        </p:nvGrpSpPr>
        <p:grpSpPr>
          <a:xfrm>
            <a:off x="7151112" y="3889360"/>
            <a:ext cx="594652" cy="528458"/>
            <a:chOff x="5912138" y="4598318"/>
            <a:chExt cx="594736" cy="528533"/>
          </a:xfrm>
        </p:grpSpPr>
        <p:grpSp>
          <p:nvGrpSpPr>
            <p:cNvPr id="294" name="Group 293">
              <a:extLst>
                <a:ext uri="{FF2B5EF4-FFF2-40B4-BE49-F238E27FC236}">
                  <a16:creationId xmlns:a16="http://schemas.microsoft.com/office/drawing/2014/main" id="{01E3F615-829B-4F7B-B428-685A55A43F0C}"/>
                </a:ext>
              </a:extLst>
            </p:cNvPr>
            <p:cNvGrpSpPr/>
            <p:nvPr/>
          </p:nvGrpSpPr>
          <p:grpSpPr>
            <a:xfrm>
              <a:off x="5931815" y="4598318"/>
              <a:ext cx="555383" cy="345846"/>
              <a:chOff x="6513888" y="5320066"/>
              <a:chExt cx="736566" cy="458667"/>
            </a:xfrm>
            <a:solidFill>
              <a:schemeClr val="tx2"/>
            </a:solidFill>
          </p:grpSpPr>
          <p:sp>
            <p:nvSpPr>
              <p:cNvPr id="295" name="Freeform 15">
                <a:extLst>
                  <a:ext uri="{FF2B5EF4-FFF2-40B4-BE49-F238E27FC236}">
                    <a16:creationId xmlns:a16="http://schemas.microsoft.com/office/drawing/2014/main" id="{C2021C5A-9F66-468C-A446-17F8A5E8891E}"/>
                  </a:ext>
                </a:extLst>
              </p:cNvPr>
              <p:cNvSpPr>
                <a:spLocks/>
              </p:cNvSpPr>
              <p:nvPr/>
            </p:nvSpPr>
            <p:spPr bwMode="auto">
              <a:xfrm>
                <a:off x="6659582" y="5379423"/>
                <a:ext cx="237428" cy="58008"/>
              </a:xfrm>
              <a:custGeom>
                <a:avLst/>
                <a:gdLst>
                  <a:gd name="T0" fmla="*/ 143 w 415"/>
                  <a:gd name="T1" fmla="*/ 102 h 102"/>
                  <a:gd name="T2" fmla="*/ 124 w 415"/>
                  <a:gd name="T3" fmla="*/ 98 h 102"/>
                  <a:gd name="T4" fmla="*/ 12 w 415"/>
                  <a:gd name="T5" fmla="*/ 42 h 102"/>
                  <a:gd name="T6" fmla="*/ 4 w 415"/>
                  <a:gd name="T7" fmla="*/ 18 h 102"/>
                  <a:gd name="T8" fmla="*/ 29 w 415"/>
                  <a:gd name="T9" fmla="*/ 10 h 102"/>
                  <a:gd name="T10" fmla="*/ 140 w 415"/>
                  <a:gd name="T11" fmla="*/ 66 h 102"/>
                  <a:gd name="T12" fmla="*/ 145 w 415"/>
                  <a:gd name="T13" fmla="*/ 66 h 102"/>
                  <a:gd name="T14" fmla="*/ 313 w 415"/>
                  <a:gd name="T15" fmla="*/ 7 h 102"/>
                  <a:gd name="T16" fmla="*/ 365 w 415"/>
                  <a:gd name="T17" fmla="*/ 11 h 102"/>
                  <a:gd name="T18" fmla="*/ 366 w 415"/>
                  <a:gd name="T19" fmla="*/ 11 h 102"/>
                  <a:gd name="T20" fmla="*/ 367 w 415"/>
                  <a:gd name="T21" fmla="*/ 12 h 102"/>
                  <a:gd name="T22" fmla="*/ 403 w 415"/>
                  <a:gd name="T23" fmla="*/ 29 h 102"/>
                  <a:gd name="T24" fmla="*/ 411 w 415"/>
                  <a:gd name="T25" fmla="*/ 54 h 102"/>
                  <a:gd name="T26" fmla="*/ 387 w 415"/>
                  <a:gd name="T27" fmla="*/ 62 h 102"/>
                  <a:gd name="T28" fmla="*/ 352 w 415"/>
                  <a:gd name="T29" fmla="*/ 44 h 102"/>
                  <a:gd name="T30" fmla="*/ 325 w 415"/>
                  <a:gd name="T31" fmla="*/ 41 h 102"/>
                  <a:gd name="T32" fmla="*/ 157 w 415"/>
                  <a:gd name="T33" fmla="*/ 100 h 102"/>
                  <a:gd name="T34" fmla="*/ 143 w 415"/>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5" h="102">
                    <a:moveTo>
                      <a:pt x="143" y="102"/>
                    </a:moveTo>
                    <a:cubicBezTo>
                      <a:pt x="137" y="102"/>
                      <a:pt x="130" y="101"/>
                      <a:pt x="124" y="98"/>
                    </a:cubicBezTo>
                    <a:cubicBezTo>
                      <a:pt x="12" y="42"/>
                      <a:pt x="12" y="42"/>
                      <a:pt x="12" y="42"/>
                    </a:cubicBezTo>
                    <a:cubicBezTo>
                      <a:pt x="4" y="38"/>
                      <a:pt x="0" y="27"/>
                      <a:pt x="4" y="18"/>
                    </a:cubicBezTo>
                    <a:cubicBezTo>
                      <a:pt x="9" y="9"/>
                      <a:pt x="20" y="5"/>
                      <a:pt x="29" y="10"/>
                    </a:cubicBezTo>
                    <a:cubicBezTo>
                      <a:pt x="140" y="66"/>
                      <a:pt x="140" y="66"/>
                      <a:pt x="140" y="66"/>
                    </a:cubicBezTo>
                    <a:cubicBezTo>
                      <a:pt x="142" y="67"/>
                      <a:pt x="144" y="67"/>
                      <a:pt x="145" y="66"/>
                    </a:cubicBezTo>
                    <a:cubicBezTo>
                      <a:pt x="183" y="53"/>
                      <a:pt x="313" y="7"/>
                      <a:pt x="313" y="7"/>
                    </a:cubicBezTo>
                    <a:cubicBezTo>
                      <a:pt x="333" y="0"/>
                      <a:pt x="350" y="5"/>
                      <a:pt x="365" y="11"/>
                    </a:cubicBezTo>
                    <a:cubicBezTo>
                      <a:pt x="365" y="11"/>
                      <a:pt x="366" y="11"/>
                      <a:pt x="366" y="11"/>
                    </a:cubicBezTo>
                    <a:cubicBezTo>
                      <a:pt x="367" y="12"/>
                      <a:pt x="367" y="12"/>
                      <a:pt x="367" y="12"/>
                    </a:cubicBezTo>
                    <a:cubicBezTo>
                      <a:pt x="403" y="29"/>
                      <a:pt x="403" y="29"/>
                      <a:pt x="403" y="29"/>
                    </a:cubicBezTo>
                    <a:cubicBezTo>
                      <a:pt x="412" y="34"/>
                      <a:pt x="415" y="45"/>
                      <a:pt x="411" y="54"/>
                    </a:cubicBezTo>
                    <a:cubicBezTo>
                      <a:pt x="406" y="63"/>
                      <a:pt x="395" y="66"/>
                      <a:pt x="387" y="62"/>
                    </a:cubicBezTo>
                    <a:cubicBezTo>
                      <a:pt x="352" y="44"/>
                      <a:pt x="352" y="44"/>
                      <a:pt x="352" y="44"/>
                    </a:cubicBezTo>
                    <a:cubicBezTo>
                      <a:pt x="341" y="40"/>
                      <a:pt x="333" y="38"/>
                      <a:pt x="325" y="41"/>
                    </a:cubicBezTo>
                    <a:cubicBezTo>
                      <a:pt x="325" y="41"/>
                      <a:pt x="195" y="87"/>
                      <a:pt x="157" y="100"/>
                    </a:cubicBezTo>
                    <a:cubicBezTo>
                      <a:pt x="153" y="102"/>
                      <a:pt x="148" y="102"/>
                      <a:pt x="143" y="102"/>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26" name="Freeform 16">
                <a:extLst>
                  <a:ext uri="{FF2B5EF4-FFF2-40B4-BE49-F238E27FC236}">
                    <a16:creationId xmlns:a16="http://schemas.microsoft.com/office/drawing/2014/main" id="{A1663A80-22A6-439D-9824-E81F0BB92522}"/>
                  </a:ext>
                </a:extLst>
              </p:cNvPr>
              <p:cNvSpPr>
                <a:spLocks/>
              </p:cNvSpPr>
              <p:nvPr/>
            </p:nvSpPr>
            <p:spPr bwMode="auto">
              <a:xfrm>
                <a:off x="6604273" y="5570984"/>
                <a:ext cx="94431" cy="53961"/>
              </a:xfrm>
              <a:custGeom>
                <a:avLst/>
                <a:gdLst>
                  <a:gd name="T0" fmla="*/ 144 w 165"/>
                  <a:gd name="T1" fmla="*/ 93 h 93"/>
                  <a:gd name="T2" fmla="*/ 137 w 165"/>
                  <a:gd name="T3" fmla="*/ 92 h 93"/>
                  <a:gd name="T4" fmla="*/ 14 w 165"/>
                  <a:gd name="T5" fmla="*/ 37 h 93"/>
                  <a:gd name="T6" fmla="*/ 4 w 165"/>
                  <a:gd name="T7" fmla="*/ 13 h 93"/>
                  <a:gd name="T8" fmla="*/ 28 w 165"/>
                  <a:gd name="T9" fmla="*/ 4 h 93"/>
                  <a:gd name="T10" fmla="*/ 152 w 165"/>
                  <a:gd name="T11" fmla="*/ 59 h 93"/>
                  <a:gd name="T12" fmla="*/ 161 w 165"/>
                  <a:gd name="T13" fmla="*/ 82 h 93"/>
                  <a:gd name="T14" fmla="*/ 144 w 165"/>
                  <a:gd name="T15" fmla="*/ 9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5" h="93">
                    <a:moveTo>
                      <a:pt x="144" y="93"/>
                    </a:moveTo>
                    <a:cubicBezTo>
                      <a:pt x="142" y="93"/>
                      <a:pt x="139" y="93"/>
                      <a:pt x="137" y="92"/>
                    </a:cubicBezTo>
                    <a:cubicBezTo>
                      <a:pt x="14" y="37"/>
                      <a:pt x="14" y="37"/>
                      <a:pt x="14" y="37"/>
                    </a:cubicBezTo>
                    <a:cubicBezTo>
                      <a:pt x="4" y="33"/>
                      <a:pt x="0" y="22"/>
                      <a:pt x="4" y="13"/>
                    </a:cubicBezTo>
                    <a:cubicBezTo>
                      <a:pt x="8" y="4"/>
                      <a:pt x="19" y="0"/>
                      <a:pt x="28" y="4"/>
                    </a:cubicBezTo>
                    <a:cubicBezTo>
                      <a:pt x="152" y="59"/>
                      <a:pt x="152" y="59"/>
                      <a:pt x="152" y="59"/>
                    </a:cubicBezTo>
                    <a:cubicBezTo>
                      <a:pt x="161" y="63"/>
                      <a:pt x="165" y="73"/>
                      <a:pt x="161" y="82"/>
                    </a:cubicBezTo>
                    <a:cubicBezTo>
                      <a:pt x="158" y="89"/>
                      <a:pt x="151" y="93"/>
                      <a:pt x="144" y="93"/>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27" name="Freeform 19">
                <a:extLst>
                  <a:ext uri="{FF2B5EF4-FFF2-40B4-BE49-F238E27FC236}">
                    <a16:creationId xmlns:a16="http://schemas.microsoft.com/office/drawing/2014/main" id="{E65AB133-8438-4F7A-A469-250BEF45DAE8}"/>
                  </a:ext>
                </a:extLst>
              </p:cNvPr>
              <p:cNvSpPr>
                <a:spLocks/>
              </p:cNvSpPr>
              <p:nvPr/>
            </p:nvSpPr>
            <p:spPr bwMode="auto">
              <a:xfrm>
                <a:off x="6759410" y="5379423"/>
                <a:ext cx="395263" cy="249569"/>
              </a:xfrm>
              <a:custGeom>
                <a:avLst/>
                <a:gdLst>
                  <a:gd name="T0" fmla="*/ 519 w 688"/>
                  <a:gd name="T1" fmla="*/ 436 h 436"/>
                  <a:gd name="T2" fmla="*/ 507 w 688"/>
                  <a:gd name="T3" fmla="*/ 432 h 436"/>
                  <a:gd name="T4" fmla="*/ 226 w 688"/>
                  <a:gd name="T5" fmla="*/ 199 h 436"/>
                  <a:gd name="T6" fmla="*/ 219 w 688"/>
                  <a:gd name="T7" fmla="*/ 198 h 436"/>
                  <a:gd name="T8" fmla="*/ 172 w 688"/>
                  <a:gd name="T9" fmla="*/ 216 h 436"/>
                  <a:gd name="T10" fmla="*/ 169 w 688"/>
                  <a:gd name="T11" fmla="*/ 220 h 436"/>
                  <a:gd name="T12" fmla="*/ 147 w 688"/>
                  <a:gd name="T13" fmla="*/ 271 h 436"/>
                  <a:gd name="T14" fmla="*/ 106 w 688"/>
                  <a:gd name="T15" fmla="*/ 312 h 436"/>
                  <a:gd name="T16" fmla="*/ 47 w 688"/>
                  <a:gd name="T17" fmla="*/ 312 h 436"/>
                  <a:gd name="T18" fmla="*/ 7 w 688"/>
                  <a:gd name="T19" fmla="*/ 270 h 436"/>
                  <a:gd name="T20" fmla="*/ 9 w 688"/>
                  <a:gd name="T21" fmla="*/ 212 h 436"/>
                  <a:gd name="T22" fmla="*/ 9 w 688"/>
                  <a:gd name="T23" fmla="*/ 211 h 436"/>
                  <a:gd name="T24" fmla="*/ 24 w 688"/>
                  <a:gd name="T25" fmla="*/ 177 h 436"/>
                  <a:gd name="T26" fmla="*/ 49 w 688"/>
                  <a:gd name="T27" fmla="*/ 121 h 436"/>
                  <a:gd name="T28" fmla="*/ 95 w 688"/>
                  <a:gd name="T29" fmla="*/ 73 h 436"/>
                  <a:gd name="T30" fmla="*/ 246 w 688"/>
                  <a:gd name="T31" fmla="*/ 14 h 436"/>
                  <a:gd name="T32" fmla="*/ 253 w 688"/>
                  <a:gd name="T33" fmla="*/ 11 h 436"/>
                  <a:gd name="T34" fmla="*/ 305 w 688"/>
                  <a:gd name="T35" fmla="*/ 8 h 436"/>
                  <a:gd name="T36" fmla="*/ 305 w 688"/>
                  <a:gd name="T37" fmla="*/ 8 h 436"/>
                  <a:gd name="T38" fmla="*/ 471 w 688"/>
                  <a:gd name="T39" fmla="*/ 75 h 436"/>
                  <a:gd name="T40" fmla="*/ 476 w 688"/>
                  <a:gd name="T41" fmla="*/ 75 h 436"/>
                  <a:gd name="T42" fmla="*/ 583 w 688"/>
                  <a:gd name="T43" fmla="*/ 34 h 436"/>
                  <a:gd name="T44" fmla="*/ 607 w 688"/>
                  <a:gd name="T45" fmla="*/ 44 h 436"/>
                  <a:gd name="T46" fmla="*/ 596 w 688"/>
                  <a:gd name="T47" fmla="*/ 67 h 436"/>
                  <a:gd name="T48" fmla="*/ 489 w 688"/>
                  <a:gd name="T49" fmla="*/ 109 h 436"/>
                  <a:gd name="T50" fmla="*/ 458 w 688"/>
                  <a:gd name="T51" fmla="*/ 109 h 436"/>
                  <a:gd name="T52" fmla="*/ 292 w 688"/>
                  <a:gd name="T53" fmla="*/ 42 h 436"/>
                  <a:gd name="T54" fmla="*/ 266 w 688"/>
                  <a:gd name="T55" fmla="*/ 45 h 436"/>
                  <a:gd name="T56" fmla="*/ 263 w 688"/>
                  <a:gd name="T57" fmla="*/ 46 h 436"/>
                  <a:gd name="T58" fmla="*/ 263 w 688"/>
                  <a:gd name="T59" fmla="*/ 46 h 436"/>
                  <a:gd name="T60" fmla="*/ 260 w 688"/>
                  <a:gd name="T61" fmla="*/ 47 h 436"/>
                  <a:gd name="T62" fmla="*/ 107 w 688"/>
                  <a:gd name="T63" fmla="*/ 107 h 436"/>
                  <a:gd name="T64" fmla="*/ 81 w 688"/>
                  <a:gd name="T65" fmla="*/ 136 h 436"/>
                  <a:gd name="T66" fmla="*/ 57 w 688"/>
                  <a:gd name="T67" fmla="*/ 191 h 436"/>
                  <a:gd name="T68" fmla="*/ 41 w 688"/>
                  <a:gd name="T69" fmla="*/ 227 h 436"/>
                  <a:gd name="T70" fmla="*/ 41 w 688"/>
                  <a:gd name="T71" fmla="*/ 257 h 436"/>
                  <a:gd name="T72" fmla="*/ 41 w 688"/>
                  <a:gd name="T73" fmla="*/ 258 h 436"/>
                  <a:gd name="T74" fmla="*/ 61 w 688"/>
                  <a:gd name="T75" fmla="*/ 279 h 436"/>
                  <a:gd name="T76" fmla="*/ 92 w 688"/>
                  <a:gd name="T77" fmla="*/ 279 h 436"/>
                  <a:gd name="T78" fmla="*/ 114 w 688"/>
                  <a:gd name="T79" fmla="*/ 257 h 436"/>
                  <a:gd name="T80" fmla="*/ 135 w 688"/>
                  <a:gd name="T81" fmla="*/ 206 h 436"/>
                  <a:gd name="T82" fmla="*/ 159 w 688"/>
                  <a:gd name="T83" fmla="*/ 183 h 436"/>
                  <a:gd name="T84" fmla="*/ 206 w 688"/>
                  <a:gd name="T85" fmla="*/ 165 h 436"/>
                  <a:gd name="T86" fmla="*/ 249 w 688"/>
                  <a:gd name="T87" fmla="*/ 172 h 436"/>
                  <a:gd name="T88" fmla="*/ 522 w 688"/>
                  <a:gd name="T89" fmla="*/ 397 h 436"/>
                  <a:gd name="T90" fmla="*/ 660 w 688"/>
                  <a:gd name="T91" fmla="*/ 336 h 436"/>
                  <a:gd name="T92" fmla="*/ 684 w 688"/>
                  <a:gd name="T93" fmla="*/ 345 h 436"/>
                  <a:gd name="T94" fmla="*/ 675 w 688"/>
                  <a:gd name="T95" fmla="*/ 369 h 436"/>
                  <a:gd name="T96" fmla="*/ 526 w 688"/>
                  <a:gd name="T97" fmla="*/ 435 h 436"/>
                  <a:gd name="T98" fmla="*/ 519 w 688"/>
                  <a:gd name="T9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8" h="436">
                    <a:moveTo>
                      <a:pt x="519" y="436"/>
                    </a:moveTo>
                    <a:cubicBezTo>
                      <a:pt x="515" y="436"/>
                      <a:pt x="510" y="435"/>
                      <a:pt x="507" y="432"/>
                    </a:cubicBezTo>
                    <a:cubicBezTo>
                      <a:pt x="226" y="199"/>
                      <a:pt x="226" y="199"/>
                      <a:pt x="226" y="199"/>
                    </a:cubicBezTo>
                    <a:cubicBezTo>
                      <a:pt x="224" y="198"/>
                      <a:pt x="221" y="197"/>
                      <a:pt x="219" y="198"/>
                    </a:cubicBezTo>
                    <a:cubicBezTo>
                      <a:pt x="172" y="216"/>
                      <a:pt x="172" y="216"/>
                      <a:pt x="172" y="216"/>
                    </a:cubicBezTo>
                    <a:cubicBezTo>
                      <a:pt x="171" y="217"/>
                      <a:pt x="169" y="218"/>
                      <a:pt x="169" y="220"/>
                    </a:cubicBezTo>
                    <a:cubicBezTo>
                      <a:pt x="147" y="271"/>
                      <a:pt x="147" y="271"/>
                      <a:pt x="147" y="271"/>
                    </a:cubicBezTo>
                    <a:cubicBezTo>
                      <a:pt x="139" y="289"/>
                      <a:pt x="124" y="304"/>
                      <a:pt x="106" y="312"/>
                    </a:cubicBezTo>
                    <a:cubicBezTo>
                      <a:pt x="87" y="320"/>
                      <a:pt x="66" y="320"/>
                      <a:pt x="47" y="312"/>
                    </a:cubicBezTo>
                    <a:cubicBezTo>
                      <a:pt x="29" y="305"/>
                      <a:pt x="14" y="289"/>
                      <a:pt x="7" y="270"/>
                    </a:cubicBezTo>
                    <a:cubicBezTo>
                      <a:pt x="0" y="251"/>
                      <a:pt x="0" y="231"/>
                      <a:pt x="9" y="212"/>
                    </a:cubicBezTo>
                    <a:cubicBezTo>
                      <a:pt x="9" y="212"/>
                      <a:pt x="9" y="211"/>
                      <a:pt x="9" y="211"/>
                    </a:cubicBezTo>
                    <a:cubicBezTo>
                      <a:pt x="10" y="209"/>
                      <a:pt x="17" y="192"/>
                      <a:pt x="24" y="177"/>
                    </a:cubicBezTo>
                    <a:cubicBezTo>
                      <a:pt x="34" y="154"/>
                      <a:pt x="45" y="128"/>
                      <a:pt x="49" y="121"/>
                    </a:cubicBezTo>
                    <a:cubicBezTo>
                      <a:pt x="55" y="108"/>
                      <a:pt x="66" y="83"/>
                      <a:pt x="95" y="73"/>
                    </a:cubicBezTo>
                    <a:cubicBezTo>
                      <a:pt x="246" y="14"/>
                      <a:pt x="246" y="14"/>
                      <a:pt x="246" y="14"/>
                    </a:cubicBezTo>
                    <a:cubicBezTo>
                      <a:pt x="248" y="13"/>
                      <a:pt x="251" y="12"/>
                      <a:pt x="253" y="11"/>
                    </a:cubicBezTo>
                    <a:cubicBezTo>
                      <a:pt x="266" y="6"/>
                      <a:pt x="285" y="0"/>
                      <a:pt x="305" y="8"/>
                    </a:cubicBezTo>
                    <a:cubicBezTo>
                      <a:pt x="305" y="8"/>
                      <a:pt x="305" y="8"/>
                      <a:pt x="305" y="8"/>
                    </a:cubicBezTo>
                    <a:cubicBezTo>
                      <a:pt x="471" y="75"/>
                      <a:pt x="471" y="75"/>
                      <a:pt x="471" y="75"/>
                    </a:cubicBezTo>
                    <a:cubicBezTo>
                      <a:pt x="473" y="76"/>
                      <a:pt x="475" y="76"/>
                      <a:pt x="476" y="75"/>
                    </a:cubicBezTo>
                    <a:cubicBezTo>
                      <a:pt x="583" y="34"/>
                      <a:pt x="583" y="34"/>
                      <a:pt x="583" y="34"/>
                    </a:cubicBezTo>
                    <a:cubicBezTo>
                      <a:pt x="592" y="30"/>
                      <a:pt x="603" y="35"/>
                      <a:pt x="607" y="44"/>
                    </a:cubicBezTo>
                    <a:cubicBezTo>
                      <a:pt x="610" y="53"/>
                      <a:pt x="606" y="64"/>
                      <a:pt x="596" y="67"/>
                    </a:cubicBezTo>
                    <a:cubicBezTo>
                      <a:pt x="489" y="109"/>
                      <a:pt x="489" y="109"/>
                      <a:pt x="489" y="109"/>
                    </a:cubicBezTo>
                    <a:cubicBezTo>
                      <a:pt x="479" y="113"/>
                      <a:pt x="468" y="113"/>
                      <a:pt x="458" y="109"/>
                    </a:cubicBezTo>
                    <a:cubicBezTo>
                      <a:pt x="292" y="42"/>
                      <a:pt x="292" y="42"/>
                      <a:pt x="292" y="42"/>
                    </a:cubicBezTo>
                    <a:cubicBezTo>
                      <a:pt x="283" y="39"/>
                      <a:pt x="273" y="42"/>
                      <a:pt x="266" y="45"/>
                    </a:cubicBezTo>
                    <a:cubicBezTo>
                      <a:pt x="265" y="45"/>
                      <a:pt x="264" y="46"/>
                      <a:pt x="263" y="46"/>
                    </a:cubicBezTo>
                    <a:cubicBezTo>
                      <a:pt x="263" y="46"/>
                      <a:pt x="263" y="46"/>
                      <a:pt x="263" y="46"/>
                    </a:cubicBezTo>
                    <a:cubicBezTo>
                      <a:pt x="262" y="47"/>
                      <a:pt x="261" y="47"/>
                      <a:pt x="260" y="47"/>
                    </a:cubicBezTo>
                    <a:cubicBezTo>
                      <a:pt x="107" y="107"/>
                      <a:pt x="107" y="107"/>
                      <a:pt x="107" y="107"/>
                    </a:cubicBezTo>
                    <a:cubicBezTo>
                      <a:pt x="95" y="111"/>
                      <a:pt x="89" y="121"/>
                      <a:pt x="81" y="136"/>
                    </a:cubicBezTo>
                    <a:cubicBezTo>
                      <a:pt x="78" y="143"/>
                      <a:pt x="66" y="170"/>
                      <a:pt x="57" y="191"/>
                    </a:cubicBezTo>
                    <a:cubicBezTo>
                      <a:pt x="46" y="216"/>
                      <a:pt x="43" y="224"/>
                      <a:pt x="41" y="227"/>
                    </a:cubicBezTo>
                    <a:cubicBezTo>
                      <a:pt x="37" y="237"/>
                      <a:pt x="37" y="247"/>
                      <a:pt x="41" y="257"/>
                    </a:cubicBezTo>
                    <a:cubicBezTo>
                      <a:pt x="41" y="257"/>
                      <a:pt x="41" y="258"/>
                      <a:pt x="41" y="258"/>
                    </a:cubicBezTo>
                    <a:cubicBezTo>
                      <a:pt x="44" y="268"/>
                      <a:pt x="51" y="275"/>
                      <a:pt x="61" y="279"/>
                    </a:cubicBezTo>
                    <a:cubicBezTo>
                      <a:pt x="71" y="283"/>
                      <a:pt x="82" y="283"/>
                      <a:pt x="92" y="279"/>
                    </a:cubicBezTo>
                    <a:cubicBezTo>
                      <a:pt x="101" y="275"/>
                      <a:pt x="109" y="267"/>
                      <a:pt x="114" y="257"/>
                    </a:cubicBezTo>
                    <a:cubicBezTo>
                      <a:pt x="135" y="206"/>
                      <a:pt x="135" y="206"/>
                      <a:pt x="135" y="206"/>
                    </a:cubicBezTo>
                    <a:cubicBezTo>
                      <a:pt x="140" y="195"/>
                      <a:pt x="149" y="187"/>
                      <a:pt x="159" y="183"/>
                    </a:cubicBezTo>
                    <a:cubicBezTo>
                      <a:pt x="206" y="165"/>
                      <a:pt x="206" y="165"/>
                      <a:pt x="206" y="165"/>
                    </a:cubicBezTo>
                    <a:cubicBezTo>
                      <a:pt x="220" y="159"/>
                      <a:pt x="237" y="162"/>
                      <a:pt x="249" y="172"/>
                    </a:cubicBezTo>
                    <a:cubicBezTo>
                      <a:pt x="522" y="397"/>
                      <a:pt x="522" y="397"/>
                      <a:pt x="522" y="397"/>
                    </a:cubicBezTo>
                    <a:cubicBezTo>
                      <a:pt x="660" y="336"/>
                      <a:pt x="660" y="336"/>
                      <a:pt x="660" y="336"/>
                    </a:cubicBezTo>
                    <a:cubicBezTo>
                      <a:pt x="669" y="332"/>
                      <a:pt x="680" y="336"/>
                      <a:pt x="684" y="345"/>
                    </a:cubicBezTo>
                    <a:cubicBezTo>
                      <a:pt x="688" y="354"/>
                      <a:pt x="684" y="364"/>
                      <a:pt x="675" y="369"/>
                    </a:cubicBezTo>
                    <a:cubicBezTo>
                      <a:pt x="526" y="435"/>
                      <a:pt x="526" y="435"/>
                      <a:pt x="526" y="435"/>
                    </a:cubicBezTo>
                    <a:cubicBezTo>
                      <a:pt x="524" y="436"/>
                      <a:pt x="521" y="436"/>
                      <a:pt x="519" y="436"/>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29" name="Freeform 20">
                <a:extLst>
                  <a:ext uri="{FF2B5EF4-FFF2-40B4-BE49-F238E27FC236}">
                    <a16:creationId xmlns:a16="http://schemas.microsoft.com/office/drawing/2014/main" id="{56E960C5-770B-400B-8CEE-DBFB3532AE64}"/>
                  </a:ext>
                </a:extLst>
              </p:cNvPr>
              <p:cNvSpPr>
                <a:spLocks/>
              </p:cNvSpPr>
              <p:nvPr/>
            </p:nvSpPr>
            <p:spPr bwMode="auto">
              <a:xfrm>
                <a:off x="6910500" y="540505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30" name="Freeform 22">
                <a:extLst>
                  <a:ext uri="{FF2B5EF4-FFF2-40B4-BE49-F238E27FC236}">
                    <a16:creationId xmlns:a16="http://schemas.microsoft.com/office/drawing/2014/main" id="{1BADD07B-BB47-40D4-9A41-8A0F53AEBD61}"/>
                  </a:ext>
                </a:extLst>
              </p:cNvPr>
              <p:cNvSpPr>
                <a:spLocks noEditPoints="1"/>
              </p:cNvSpPr>
              <p:nvPr/>
            </p:nvSpPr>
            <p:spPr bwMode="auto">
              <a:xfrm>
                <a:off x="6673072" y="5588521"/>
                <a:ext cx="93083" cy="83639"/>
              </a:xfrm>
              <a:custGeom>
                <a:avLst/>
                <a:gdLst>
                  <a:gd name="T0" fmla="*/ 153 w 162"/>
                  <a:gd name="T1" fmla="*/ 34 h 146"/>
                  <a:gd name="T2" fmla="*/ 150 w 162"/>
                  <a:gd name="T3" fmla="*/ 30 h 146"/>
                  <a:gd name="T4" fmla="*/ 115 w 162"/>
                  <a:gd name="T5" fmla="*/ 4 h 146"/>
                  <a:gd name="T6" fmla="*/ 73 w 162"/>
                  <a:gd name="T7" fmla="*/ 10 h 146"/>
                  <a:gd name="T8" fmla="*/ 29 w 162"/>
                  <a:gd name="T9" fmla="*/ 36 h 146"/>
                  <a:gd name="T10" fmla="*/ 3 w 162"/>
                  <a:gd name="T11" fmla="*/ 71 h 146"/>
                  <a:gd name="T12" fmla="*/ 9 w 162"/>
                  <a:gd name="T13" fmla="*/ 114 h 146"/>
                  <a:gd name="T14" fmla="*/ 12 w 162"/>
                  <a:gd name="T15" fmla="*/ 118 h 146"/>
                  <a:gd name="T16" fmla="*/ 60 w 162"/>
                  <a:gd name="T17" fmla="*/ 146 h 146"/>
                  <a:gd name="T18" fmla="*/ 88 w 162"/>
                  <a:gd name="T19" fmla="*/ 138 h 146"/>
                  <a:gd name="T20" fmla="*/ 89 w 162"/>
                  <a:gd name="T21" fmla="*/ 138 h 146"/>
                  <a:gd name="T22" fmla="*/ 133 w 162"/>
                  <a:gd name="T23" fmla="*/ 111 h 146"/>
                  <a:gd name="T24" fmla="*/ 159 w 162"/>
                  <a:gd name="T25" fmla="*/ 77 h 146"/>
                  <a:gd name="T26" fmla="*/ 153 w 162"/>
                  <a:gd name="T27" fmla="*/ 34 h 146"/>
                  <a:gd name="T28" fmla="*/ 124 w 162"/>
                  <a:gd name="T29" fmla="*/ 68 h 146"/>
                  <a:gd name="T30" fmla="*/ 115 w 162"/>
                  <a:gd name="T31" fmla="*/ 81 h 146"/>
                  <a:gd name="T32" fmla="*/ 71 w 162"/>
                  <a:gd name="T33" fmla="*/ 107 h 146"/>
                  <a:gd name="T34" fmla="*/ 60 w 162"/>
                  <a:gd name="T35" fmla="*/ 110 h 146"/>
                  <a:gd name="T36" fmla="*/ 43 w 162"/>
                  <a:gd name="T37" fmla="*/ 100 h 146"/>
                  <a:gd name="T38" fmla="*/ 41 w 162"/>
                  <a:gd name="T39" fmla="*/ 96 h 146"/>
                  <a:gd name="T40" fmla="*/ 38 w 162"/>
                  <a:gd name="T41" fmla="*/ 80 h 146"/>
                  <a:gd name="T42" fmla="*/ 48 w 162"/>
                  <a:gd name="T43" fmla="*/ 67 h 146"/>
                  <a:gd name="T44" fmla="*/ 92 w 162"/>
                  <a:gd name="T45" fmla="*/ 41 h 146"/>
                  <a:gd name="T46" fmla="*/ 102 w 162"/>
                  <a:gd name="T47" fmla="*/ 38 h 146"/>
                  <a:gd name="T48" fmla="*/ 106 w 162"/>
                  <a:gd name="T49" fmla="*/ 38 h 146"/>
                  <a:gd name="T50" fmla="*/ 119 w 162"/>
                  <a:gd name="T51" fmla="*/ 48 h 146"/>
                  <a:gd name="T52" fmla="*/ 121 w 162"/>
                  <a:gd name="T53" fmla="*/ 52 h 146"/>
                  <a:gd name="T54" fmla="*/ 124 w 162"/>
                  <a:gd name="T55"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2" h="146">
                    <a:moveTo>
                      <a:pt x="153" y="34"/>
                    </a:moveTo>
                    <a:cubicBezTo>
                      <a:pt x="150" y="30"/>
                      <a:pt x="150" y="30"/>
                      <a:pt x="150" y="30"/>
                    </a:cubicBezTo>
                    <a:cubicBezTo>
                      <a:pt x="142" y="17"/>
                      <a:pt x="130" y="7"/>
                      <a:pt x="115" y="4"/>
                    </a:cubicBezTo>
                    <a:cubicBezTo>
                      <a:pt x="101" y="0"/>
                      <a:pt x="86" y="2"/>
                      <a:pt x="73" y="10"/>
                    </a:cubicBezTo>
                    <a:cubicBezTo>
                      <a:pt x="29" y="36"/>
                      <a:pt x="29" y="36"/>
                      <a:pt x="29" y="36"/>
                    </a:cubicBezTo>
                    <a:cubicBezTo>
                      <a:pt x="16" y="44"/>
                      <a:pt x="7" y="57"/>
                      <a:pt x="3" y="71"/>
                    </a:cubicBezTo>
                    <a:cubicBezTo>
                      <a:pt x="0" y="86"/>
                      <a:pt x="2" y="101"/>
                      <a:pt x="9" y="114"/>
                    </a:cubicBezTo>
                    <a:cubicBezTo>
                      <a:pt x="12" y="118"/>
                      <a:pt x="12" y="118"/>
                      <a:pt x="12" y="118"/>
                    </a:cubicBezTo>
                    <a:cubicBezTo>
                      <a:pt x="22" y="135"/>
                      <a:pt x="41" y="146"/>
                      <a:pt x="60" y="146"/>
                    </a:cubicBezTo>
                    <a:cubicBezTo>
                      <a:pt x="69" y="146"/>
                      <a:pt x="79" y="144"/>
                      <a:pt x="88" y="138"/>
                    </a:cubicBezTo>
                    <a:cubicBezTo>
                      <a:pt x="88" y="138"/>
                      <a:pt x="89" y="138"/>
                      <a:pt x="89" y="138"/>
                    </a:cubicBezTo>
                    <a:cubicBezTo>
                      <a:pt x="133" y="111"/>
                      <a:pt x="133" y="111"/>
                      <a:pt x="133" y="111"/>
                    </a:cubicBezTo>
                    <a:cubicBezTo>
                      <a:pt x="146" y="103"/>
                      <a:pt x="155" y="91"/>
                      <a:pt x="159" y="77"/>
                    </a:cubicBezTo>
                    <a:cubicBezTo>
                      <a:pt x="162" y="62"/>
                      <a:pt x="160" y="47"/>
                      <a:pt x="153" y="34"/>
                    </a:cubicBezTo>
                    <a:close/>
                    <a:moveTo>
                      <a:pt x="124" y="68"/>
                    </a:moveTo>
                    <a:cubicBezTo>
                      <a:pt x="122" y="73"/>
                      <a:pt x="119" y="78"/>
                      <a:pt x="115" y="81"/>
                    </a:cubicBezTo>
                    <a:cubicBezTo>
                      <a:pt x="71" y="107"/>
                      <a:pt x="71" y="107"/>
                      <a:pt x="71" y="107"/>
                    </a:cubicBezTo>
                    <a:cubicBezTo>
                      <a:pt x="67" y="109"/>
                      <a:pt x="63" y="110"/>
                      <a:pt x="60" y="110"/>
                    </a:cubicBezTo>
                    <a:cubicBezTo>
                      <a:pt x="54" y="110"/>
                      <a:pt x="47" y="106"/>
                      <a:pt x="43" y="100"/>
                    </a:cubicBezTo>
                    <a:cubicBezTo>
                      <a:pt x="41" y="96"/>
                      <a:pt x="41" y="96"/>
                      <a:pt x="41" y="96"/>
                    </a:cubicBezTo>
                    <a:cubicBezTo>
                      <a:pt x="38" y="91"/>
                      <a:pt x="37" y="85"/>
                      <a:pt x="38" y="80"/>
                    </a:cubicBezTo>
                    <a:cubicBezTo>
                      <a:pt x="40" y="74"/>
                      <a:pt x="43" y="70"/>
                      <a:pt x="48" y="67"/>
                    </a:cubicBezTo>
                    <a:cubicBezTo>
                      <a:pt x="92" y="41"/>
                      <a:pt x="92" y="41"/>
                      <a:pt x="92" y="41"/>
                    </a:cubicBezTo>
                    <a:cubicBezTo>
                      <a:pt x="95" y="39"/>
                      <a:pt x="98" y="38"/>
                      <a:pt x="102" y="38"/>
                    </a:cubicBezTo>
                    <a:cubicBezTo>
                      <a:pt x="103" y="38"/>
                      <a:pt x="105" y="38"/>
                      <a:pt x="106" y="38"/>
                    </a:cubicBezTo>
                    <a:cubicBezTo>
                      <a:pt x="112" y="40"/>
                      <a:pt x="116" y="43"/>
                      <a:pt x="119" y="48"/>
                    </a:cubicBezTo>
                    <a:cubicBezTo>
                      <a:pt x="121" y="52"/>
                      <a:pt x="121" y="52"/>
                      <a:pt x="121" y="52"/>
                    </a:cubicBezTo>
                    <a:cubicBezTo>
                      <a:pt x="124" y="57"/>
                      <a:pt x="125" y="63"/>
                      <a:pt x="124" y="68"/>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46" name="Freeform 23">
                <a:extLst>
                  <a:ext uri="{FF2B5EF4-FFF2-40B4-BE49-F238E27FC236}">
                    <a16:creationId xmlns:a16="http://schemas.microsoft.com/office/drawing/2014/main" id="{89F3C9BB-91A6-4C25-BD20-08854C138857}"/>
                  </a:ext>
                </a:extLst>
              </p:cNvPr>
              <p:cNvSpPr>
                <a:spLocks noEditPoints="1"/>
              </p:cNvSpPr>
              <p:nvPr/>
            </p:nvSpPr>
            <p:spPr bwMode="auto">
              <a:xfrm>
                <a:off x="6710845" y="5615501"/>
                <a:ext cx="111969" cy="98479"/>
              </a:xfrm>
              <a:custGeom>
                <a:avLst/>
                <a:gdLst>
                  <a:gd name="T0" fmla="*/ 184 w 195"/>
                  <a:gd name="T1" fmla="*/ 42 h 171"/>
                  <a:gd name="T2" fmla="*/ 178 w 195"/>
                  <a:gd name="T3" fmla="*/ 32 h 171"/>
                  <a:gd name="T4" fmla="*/ 140 w 195"/>
                  <a:gd name="T5" fmla="*/ 4 h 171"/>
                  <a:gd name="T6" fmla="*/ 94 w 195"/>
                  <a:gd name="T7" fmla="*/ 10 h 171"/>
                  <a:gd name="T8" fmla="*/ 32 w 195"/>
                  <a:gd name="T9" fmla="*/ 47 h 171"/>
                  <a:gd name="T10" fmla="*/ 4 w 195"/>
                  <a:gd name="T11" fmla="*/ 84 h 171"/>
                  <a:gd name="T12" fmla="*/ 11 w 195"/>
                  <a:gd name="T13" fmla="*/ 130 h 171"/>
                  <a:gd name="T14" fmla="*/ 16 w 195"/>
                  <a:gd name="T15" fmla="*/ 141 h 171"/>
                  <a:gd name="T16" fmla="*/ 17 w 195"/>
                  <a:gd name="T17" fmla="*/ 142 h 171"/>
                  <a:gd name="T18" fmla="*/ 55 w 195"/>
                  <a:gd name="T19" fmla="*/ 169 h 171"/>
                  <a:gd name="T20" fmla="*/ 70 w 195"/>
                  <a:gd name="T21" fmla="*/ 171 h 171"/>
                  <a:gd name="T22" fmla="*/ 101 w 195"/>
                  <a:gd name="T23" fmla="*/ 162 h 171"/>
                  <a:gd name="T24" fmla="*/ 163 w 195"/>
                  <a:gd name="T25" fmla="*/ 126 h 171"/>
                  <a:gd name="T26" fmla="*/ 191 w 195"/>
                  <a:gd name="T27" fmla="*/ 89 h 171"/>
                  <a:gd name="T28" fmla="*/ 184 w 195"/>
                  <a:gd name="T29" fmla="*/ 42 h 171"/>
                  <a:gd name="T30" fmla="*/ 156 w 195"/>
                  <a:gd name="T31" fmla="*/ 79 h 171"/>
                  <a:gd name="T32" fmla="*/ 156 w 195"/>
                  <a:gd name="T33" fmla="*/ 80 h 171"/>
                  <a:gd name="T34" fmla="*/ 145 w 195"/>
                  <a:gd name="T35" fmla="*/ 95 h 171"/>
                  <a:gd name="T36" fmla="*/ 83 w 195"/>
                  <a:gd name="T37" fmla="*/ 131 h 171"/>
                  <a:gd name="T38" fmla="*/ 70 w 195"/>
                  <a:gd name="T39" fmla="*/ 135 h 171"/>
                  <a:gd name="T40" fmla="*/ 63 w 195"/>
                  <a:gd name="T41" fmla="*/ 134 h 171"/>
                  <a:gd name="T42" fmla="*/ 48 w 195"/>
                  <a:gd name="T43" fmla="*/ 123 h 171"/>
                  <a:gd name="T44" fmla="*/ 42 w 195"/>
                  <a:gd name="T45" fmla="*/ 112 h 171"/>
                  <a:gd name="T46" fmla="*/ 41 w 195"/>
                  <a:gd name="T47" fmla="*/ 112 h 171"/>
                  <a:gd name="T48" fmla="*/ 39 w 195"/>
                  <a:gd name="T49" fmla="*/ 93 h 171"/>
                  <a:gd name="T50" fmla="*/ 50 w 195"/>
                  <a:gd name="T51" fmla="*/ 78 h 171"/>
                  <a:gd name="T52" fmla="*/ 113 w 195"/>
                  <a:gd name="T53" fmla="*/ 41 h 171"/>
                  <a:gd name="T54" fmla="*/ 131 w 195"/>
                  <a:gd name="T55" fmla="*/ 39 h 171"/>
                  <a:gd name="T56" fmla="*/ 147 w 195"/>
                  <a:gd name="T57" fmla="*/ 50 h 171"/>
                  <a:gd name="T58" fmla="*/ 153 w 195"/>
                  <a:gd name="T59" fmla="*/ 61 h 171"/>
                  <a:gd name="T60" fmla="*/ 156 w 195"/>
                  <a:gd name="T61" fmla="*/ 7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5" h="171">
                    <a:moveTo>
                      <a:pt x="184" y="42"/>
                    </a:moveTo>
                    <a:cubicBezTo>
                      <a:pt x="178" y="32"/>
                      <a:pt x="178" y="32"/>
                      <a:pt x="178" y="32"/>
                    </a:cubicBezTo>
                    <a:cubicBezTo>
                      <a:pt x="170" y="18"/>
                      <a:pt x="156" y="8"/>
                      <a:pt x="140" y="4"/>
                    </a:cubicBezTo>
                    <a:cubicBezTo>
                      <a:pt x="124" y="0"/>
                      <a:pt x="108" y="2"/>
                      <a:pt x="94" y="10"/>
                    </a:cubicBezTo>
                    <a:cubicBezTo>
                      <a:pt x="32" y="47"/>
                      <a:pt x="32" y="47"/>
                      <a:pt x="32" y="47"/>
                    </a:cubicBezTo>
                    <a:cubicBezTo>
                      <a:pt x="18" y="55"/>
                      <a:pt x="8" y="68"/>
                      <a:pt x="4" y="84"/>
                    </a:cubicBezTo>
                    <a:cubicBezTo>
                      <a:pt x="0" y="100"/>
                      <a:pt x="2" y="117"/>
                      <a:pt x="11" y="130"/>
                    </a:cubicBezTo>
                    <a:cubicBezTo>
                      <a:pt x="16" y="141"/>
                      <a:pt x="16" y="141"/>
                      <a:pt x="16" y="141"/>
                    </a:cubicBezTo>
                    <a:cubicBezTo>
                      <a:pt x="17" y="141"/>
                      <a:pt x="17" y="141"/>
                      <a:pt x="17" y="142"/>
                    </a:cubicBezTo>
                    <a:cubicBezTo>
                      <a:pt x="25" y="155"/>
                      <a:pt x="39" y="165"/>
                      <a:pt x="55" y="169"/>
                    </a:cubicBezTo>
                    <a:cubicBezTo>
                      <a:pt x="60" y="170"/>
                      <a:pt x="65" y="171"/>
                      <a:pt x="70" y="171"/>
                    </a:cubicBezTo>
                    <a:cubicBezTo>
                      <a:pt x="81" y="171"/>
                      <a:pt x="91" y="168"/>
                      <a:pt x="101" y="162"/>
                    </a:cubicBezTo>
                    <a:cubicBezTo>
                      <a:pt x="163" y="126"/>
                      <a:pt x="163" y="126"/>
                      <a:pt x="163" y="126"/>
                    </a:cubicBezTo>
                    <a:cubicBezTo>
                      <a:pt x="177" y="117"/>
                      <a:pt x="187" y="104"/>
                      <a:pt x="191" y="89"/>
                    </a:cubicBezTo>
                    <a:cubicBezTo>
                      <a:pt x="195" y="73"/>
                      <a:pt x="193" y="56"/>
                      <a:pt x="184" y="42"/>
                    </a:cubicBezTo>
                    <a:close/>
                    <a:moveTo>
                      <a:pt x="156" y="79"/>
                    </a:moveTo>
                    <a:cubicBezTo>
                      <a:pt x="156" y="79"/>
                      <a:pt x="156" y="79"/>
                      <a:pt x="156" y="80"/>
                    </a:cubicBezTo>
                    <a:cubicBezTo>
                      <a:pt x="154" y="86"/>
                      <a:pt x="150" y="92"/>
                      <a:pt x="145" y="95"/>
                    </a:cubicBezTo>
                    <a:cubicBezTo>
                      <a:pt x="83" y="131"/>
                      <a:pt x="83" y="131"/>
                      <a:pt x="83" y="131"/>
                    </a:cubicBezTo>
                    <a:cubicBezTo>
                      <a:pt x="79" y="134"/>
                      <a:pt x="74" y="135"/>
                      <a:pt x="70" y="135"/>
                    </a:cubicBezTo>
                    <a:cubicBezTo>
                      <a:pt x="68" y="135"/>
                      <a:pt x="66" y="135"/>
                      <a:pt x="63" y="134"/>
                    </a:cubicBezTo>
                    <a:cubicBezTo>
                      <a:pt x="57" y="132"/>
                      <a:pt x="51" y="129"/>
                      <a:pt x="48" y="123"/>
                    </a:cubicBezTo>
                    <a:cubicBezTo>
                      <a:pt x="42" y="112"/>
                      <a:pt x="42" y="112"/>
                      <a:pt x="42" y="112"/>
                    </a:cubicBezTo>
                    <a:cubicBezTo>
                      <a:pt x="42" y="112"/>
                      <a:pt x="41" y="112"/>
                      <a:pt x="41" y="112"/>
                    </a:cubicBezTo>
                    <a:cubicBezTo>
                      <a:pt x="38" y="106"/>
                      <a:pt x="37" y="100"/>
                      <a:pt x="39" y="93"/>
                    </a:cubicBezTo>
                    <a:cubicBezTo>
                      <a:pt x="40" y="87"/>
                      <a:pt x="44" y="81"/>
                      <a:pt x="50" y="78"/>
                    </a:cubicBezTo>
                    <a:cubicBezTo>
                      <a:pt x="113" y="41"/>
                      <a:pt x="113" y="41"/>
                      <a:pt x="113" y="41"/>
                    </a:cubicBezTo>
                    <a:cubicBezTo>
                      <a:pt x="118" y="38"/>
                      <a:pt x="125" y="37"/>
                      <a:pt x="131" y="39"/>
                    </a:cubicBezTo>
                    <a:cubicBezTo>
                      <a:pt x="138" y="40"/>
                      <a:pt x="144" y="45"/>
                      <a:pt x="147" y="50"/>
                    </a:cubicBezTo>
                    <a:cubicBezTo>
                      <a:pt x="153" y="61"/>
                      <a:pt x="153" y="61"/>
                      <a:pt x="153" y="61"/>
                    </a:cubicBezTo>
                    <a:cubicBezTo>
                      <a:pt x="157" y="67"/>
                      <a:pt x="158" y="73"/>
                      <a:pt x="156" y="79"/>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47" name="Freeform 24">
                <a:extLst>
                  <a:ext uri="{FF2B5EF4-FFF2-40B4-BE49-F238E27FC236}">
                    <a16:creationId xmlns:a16="http://schemas.microsoft.com/office/drawing/2014/main" id="{C454E307-205B-4CFA-BFF7-1BF2255070F6}"/>
                  </a:ext>
                </a:extLst>
              </p:cNvPr>
              <p:cNvSpPr>
                <a:spLocks noEditPoints="1"/>
              </p:cNvSpPr>
              <p:nvPr/>
            </p:nvSpPr>
            <p:spPr bwMode="auto">
              <a:xfrm>
                <a:off x="6755363" y="5666764"/>
                <a:ext cx="97129" cy="87687"/>
              </a:xfrm>
              <a:custGeom>
                <a:avLst/>
                <a:gdLst>
                  <a:gd name="T0" fmla="*/ 158 w 168"/>
                  <a:gd name="T1" fmla="*/ 39 h 152"/>
                  <a:gd name="T2" fmla="*/ 156 w 168"/>
                  <a:gd name="T3" fmla="*/ 35 h 152"/>
                  <a:gd name="T4" fmla="*/ 155 w 168"/>
                  <a:gd name="T5" fmla="*/ 34 h 152"/>
                  <a:gd name="T6" fmla="*/ 81 w 168"/>
                  <a:gd name="T7" fmla="*/ 15 h 152"/>
                  <a:gd name="T8" fmla="*/ 28 w 168"/>
                  <a:gd name="T9" fmla="*/ 47 h 152"/>
                  <a:gd name="T10" fmla="*/ 3 w 168"/>
                  <a:gd name="T11" fmla="*/ 80 h 152"/>
                  <a:gd name="T12" fmla="*/ 9 w 168"/>
                  <a:gd name="T13" fmla="*/ 121 h 152"/>
                  <a:gd name="T14" fmla="*/ 11 w 168"/>
                  <a:gd name="T15" fmla="*/ 125 h 152"/>
                  <a:gd name="T16" fmla="*/ 45 w 168"/>
                  <a:gd name="T17" fmla="*/ 150 h 152"/>
                  <a:gd name="T18" fmla="*/ 58 w 168"/>
                  <a:gd name="T19" fmla="*/ 152 h 152"/>
                  <a:gd name="T20" fmla="*/ 86 w 168"/>
                  <a:gd name="T21" fmla="*/ 144 h 152"/>
                  <a:gd name="T22" fmla="*/ 139 w 168"/>
                  <a:gd name="T23" fmla="*/ 113 h 152"/>
                  <a:gd name="T24" fmla="*/ 164 w 168"/>
                  <a:gd name="T25" fmla="*/ 80 h 152"/>
                  <a:gd name="T26" fmla="*/ 158 w 168"/>
                  <a:gd name="T27" fmla="*/ 39 h 152"/>
                  <a:gd name="T28" fmla="*/ 129 w 168"/>
                  <a:gd name="T29" fmla="*/ 70 h 152"/>
                  <a:gd name="T30" fmla="*/ 129 w 168"/>
                  <a:gd name="T31" fmla="*/ 71 h 152"/>
                  <a:gd name="T32" fmla="*/ 121 w 168"/>
                  <a:gd name="T33" fmla="*/ 82 h 152"/>
                  <a:gd name="T34" fmla="*/ 68 w 168"/>
                  <a:gd name="T35" fmla="*/ 113 h 152"/>
                  <a:gd name="T36" fmla="*/ 53 w 168"/>
                  <a:gd name="T37" fmla="*/ 115 h 152"/>
                  <a:gd name="T38" fmla="*/ 43 w 168"/>
                  <a:gd name="T39" fmla="*/ 108 h 152"/>
                  <a:gd name="T40" fmla="*/ 40 w 168"/>
                  <a:gd name="T41" fmla="*/ 103 h 152"/>
                  <a:gd name="T42" fmla="*/ 40 w 168"/>
                  <a:gd name="T43" fmla="*/ 103 h 152"/>
                  <a:gd name="T44" fmla="*/ 38 w 168"/>
                  <a:gd name="T45" fmla="*/ 89 h 152"/>
                  <a:gd name="T46" fmla="*/ 46 w 168"/>
                  <a:gd name="T47" fmla="*/ 78 h 152"/>
                  <a:gd name="T48" fmla="*/ 100 w 168"/>
                  <a:gd name="T49" fmla="*/ 46 h 152"/>
                  <a:gd name="T50" fmla="*/ 109 w 168"/>
                  <a:gd name="T51" fmla="*/ 44 h 152"/>
                  <a:gd name="T52" fmla="*/ 124 w 168"/>
                  <a:gd name="T53" fmla="*/ 52 h 152"/>
                  <a:gd name="T54" fmla="*/ 127 w 168"/>
                  <a:gd name="T55" fmla="*/ 56 h 152"/>
                  <a:gd name="T56" fmla="*/ 127 w 168"/>
                  <a:gd name="T57" fmla="*/ 57 h 152"/>
                  <a:gd name="T58" fmla="*/ 129 w 168"/>
                  <a:gd name="T59" fmla="*/ 7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 h="152">
                    <a:moveTo>
                      <a:pt x="158" y="39"/>
                    </a:moveTo>
                    <a:cubicBezTo>
                      <a:pt x="156" y="35"/>
                      <a:pt x="156" y="35"/>
                      <a:pt x="156" y="35"/>
                    </a:cubicBezTo>
                    <a:cubicBezTo>
                      <a:pt x="156" y="35"/>
                      <a:pt x="156" y="34"/>
                      <a:pt x="155" y="34"/>
                    </a:cubicBezTo>
                    <a:cubicBezTo>
                      <a:pt x="140" y="9"/>
                      <a:pt x="107" y="0"/>
                      <a:pt x="81" y="15"/>
                    </a:cubicBezTo>
                    <a:cubicBezTo>
                      <a:pt x="28" y="47"/>
                      <a:pt x="28" y="47"/>
                      <a:pt x="28" y="47"/>
                    </a:cubicBezTo>
                    <a:cubicBezTo>
                      <a:pt x="16" y="54"/>
                      <a:pt x="7" y="66"/>
                      <a:pt x="3" y="80"/>
                    </a:cubicBezTo>
                    <a:cubicBezTo>
                      <a:pt x="0" y="94"/>
                      <a:pt x="2" y="109"/>
                      <a:pt x="9" y="121"/>
                    </a:cubicBezTo>
                    <a:cubicBezTo>
                      <a:pt x="11" y="125"/>
                      <a:pt x="11" y="125"/>
                      <a:pt x="11" y="125"/>
                    </a:cubicBezTo>
                    <a:cubicBezTo>
                      <a:pt x="19" y="138"/>
                      <a:pt x="30" y="147"/>
                      <a:pt x="45" y="150"/>
                    </a:cubicBezTo>
                    <a:cubicBezTo>
                      <a:pt x="49" y="151"/>
                      <a:pt x="54" y="152"/>
                      <a:pt x="58" y="152"/>
                    </a:cubicBezTo>
                    <a:cubicBezTo>
                      <a:pt x="68" y="152"/>
                      <a:pt x="78" y="149"/>
                      <a:pt x="86" y="144"/>
                    </a:cubicBezTo>
                    <a:cubicBezTo>
                      <a:pt x="139" y="113"/>
                      <a:pt x="139" y="113"/>
                      <a:pt x="139" y="113"/>
                    </a:cubicBezTo>
                    <a:cubicBezTo>
                      <a:pt x="151" y="106"/>
                      <a:pt x="160" y="94"/>
                      <a:pt x="164" y="80"/>
                    </a:cubicBezTo>
                    <a:cubicBezTo>
                      <a:pt x="168" y="66"/>
                      <a:pt x="166" y="51"/>
                      <a:pt x="158" y="39"/>
                    </a:cubicBezTo>
                    <a:close/>
                    <a:moveTo>
                      <a:pt x="129" y="70"/>
                    </a:moveTo>
                    <a:cubicBezTo>
                      <a:pt x="129" y="70"/>
                      <a:pt x="129" y="71"/>
                      <a:pt x="129" y="71"/>
                    </a:cubicBezTo>
                    <a:cubicBezTo>
                      <a:pt x="128" y="76"/>
                      <a:pt x="125" y="79"/>
                      <a:pt x="121" y="82"/>
                    </a:cubicBezTo>
                    <a:cubicBezTo>
                      <a:pt x="68" y="113"/>
                      <a:pt x="68" y="113"/>
                      <a:pt x="68" y="113"/>
                    </a:cubicBezTo>
                    <a:cubicBezTo>
                      <a:pt x="63" y="116"/>
                      <a:pt x="59" y="117"/>
                      <a:pt x="53" y="115"/>
                    </a:cubicBezTo>
                    <a:cubicBezTo>
                      <a:pt x="49" y="114"/>
                      <a:pt x="45" y="111"/>
                      <a:pt x="43" y="108"/>
                    </a:cubicBezTo>
                    <a:cubicBezTo>
                      <a:pt x="40" y="103"/>
                      <a:pt x="40" y="103"/>
                      <a:pt x="40" y="103"/>
                    </a:cubicBezTo>
                    <a:cubicBezTo>
                      <a:pt x="40" y="103"/>
                      <a:pt x="40" y="103"/>
                      <a:pt x="40" y="103"/>
                    </a:cubicBezTo>
                    <a:cubicBezTo>
                      <a:pt x="38" y="99"/>
                      <a:pt x="37" y="94"/>
                      <a:pt x="38" y="89"/>
                    </a:cubicBezTo>
                    <a:cubicBezTo>
                      <a:pt x="39" y="84"/>
                      <a:pt x="42" y="80"/>
                      <a:pt x="46" y="78"/>
                    </a:cubicBezTo>
                    <a:cubicBezTo>
                      <a:pt x="100" y="46"/>
                      <a:pt x="100" y="46"/>
                      <a:pt x="100" y="46"/>
                    </a:cubicBezTo>
                    <a:cubicBezTo>
                      <a:pt x="102" y="45"/>
                      <a:pt x="106" y="44"/>
                      <a:pt x="109" y="44"/>
                    </a:cubicBezTo>
                    <a:cubicBezTo>
                      <a:pt x="115" y="44"/>
                      <a:pt x="121" y="47"/>
                      <a:pt x="124" y="52"/>
                    </a:cubicBezTo>
                    <a:cubicBezTo>
                      <a:pt x="127" y="56"/>
                      <a:pt x="127" y="56"/>
                      <a:pt x="127" y="56"/>
                    </a:cubicBezTo>
                    <a:cubicBezTo>
                      <a:pt x="127" y="57"/>
                      <a:pt x="127" y="57"/>
                      <a:pt x="127" y="57"/>
                    </a:cubicBezTo>
                    <a:cubicBezTo>
                      <a:pt x="130" y="61"/>
                      <a:pt x="130" y="66"/>
                      <a:pt x="129" y="70"/>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49" name="Freeform 25">
                <a:extLst>
                  <a:ext uri="{FF2B5EF4-FFF2-40B4-BE49-F238E27FC236}">
                    <a16:creationId xmlns:a16="http://schemas.microsoft.com/office/drawing/2014/main" id="{C1B114B2-0A1D-4070-A260-03464A01491A}"/>
                  </a:ext>
                </a:extLst>
              </p:cNvPr>
              <p:cNvSpPr>
                <a:spLocks noEditPoints="1"/>
              </p:cNvSpPr>
              <p:nvPr/>
            </p:nvSpPr>
            <p:spPr bwMode="auto">
              <a:xfrm>
                <a:off x="6802578" y="5712631"/>
                <a:ext cx="66102" cy="60706"/>
              </a:xfrm>
              <a:custGeom>
                <a:avLst/>
                <a:gdLst>
                  <a:gd name="T0" fmla="*/ 107 w 115"/>
                  <a:gd name="T1" fmla="*/ 28 h 106"/>
                  <a:gd name="T2" fmla="*/ 107 w 115"/>
                  <a:gd name="T3" fmla="*/ 27 h 106"/>
                  <a:gd name="T4" fmla="*/ 42 w 115"/>
                  <a:gd name="T5" fmla="*/ 13 h 106"/>
                  <a:gd name="T6" fmla="*/ 27 w 115"/>
                  <a:gd name="T7" fmla="*/ 21 h 106"/>
                  <a:gd name="T8" fmla="*/ 27 w 115"/>
                  <a:gd name="T9" fmla="*/ 21 h 106"/>
                  <a:gd name="T10" fmla="*/ 4 w 115"/>
                  <a:gd name="T11" fmla="*/ 49 h 106"/>
                  <a:gd name="T12" fmla="*/ 8 w 115"/>
                  <a:gd name="T13" fmla="*/ 85 h 106"/>
                  <a:gd name="T14" fmla="*/ 38 w 115"/>
                  <a:gd name="T15" fmla="*/ 105 h 106"/>
                  <a:gd name="T16" fmla="*/ 39 w 115"/>
                  <a:gd name="T17" fmla="*/ 105 h 106"/>
                  <a:gd name="T18" fmla="*/ 48 w 115"/>
                  <a:gd name="T19" fmla="*/ 106 h 106"/>
                  <a:gd name="T20" fmla="*/ 74 w 115"/>
                  <a:gd name="T21" fmla="*/ 99 h 106"/>
                  <a:gd name="T22" fmla="*/ 88 w 115"/>
                  <a:gd name="T23" fmla="*/ 91 h 106"/>
                  <a:gd name="T24" fmla="*/ 111 w 115"/>
                  <a:gd name="T25" fmla="*/ 63 h 106"/>
                  <a:gd name="T26" fmla="*/ 107 w 115"/>
                  <a:gd name="T27" fmla="*/ 28 h 106"/>
                  <a:gd name="T28" fmla="*/ 77 w 115"/>
                  <a:gd name="T29" fmla="*/ 52 h 106"/>
                  <a:gd name="T30" fmla="*/ 71 w 115"/>
                  <a:gd name="T31" fmla="*/ 60 h 106"/>
                  <a:gd name="T32" fmla="*/ 70 w 115"/>
                  <a:gd name="T33" fmla="*/ 60 h 106"/>
                  <a:gd name="T34" fmla="*/ 56 w 115"/>
                  <a:gd name="T35" fmla="*/ 68 h 106"/>
                  <a:gd name="T36" fmla="*/ 48 w 115"/>
                  <a:gd name="T37" fmla="*/ 70 h 106"/>
                  <a:gd name="T38" fmla="*/ 45 w 115"/>
                  <a:gd name="T39" fmla="*/ 70 h 106"/>
                  <a:gd name="T40" fmla="*/ 39 w 115"/>
                  <a:gd name="T41" fmla="*/ 66 h 106"/>
                  <a:gd name="T42" fmla="*/ 39 w 115"/>
                  <a:gd name="T43" fmla="*/ 65 h 106"/>
                  <a:gd name="T44" fmla="*/ 38 w 115"/>
                  <a:gd name="T45" fmla="*/ 60 h 106"/>
                  <a:gd name="T46" fmla="*/ 45 w 115"/>
                  <a:gd name="T47" fmla="*/ 52 h 106"/>
                  <a:gd name="T48" fmla="*/ 59 w 115"/>
                  <a:gd name="T49" fmla="*/ 44 h 106"/>
                  <a:gd name="T50" fmla="*/ 76 w 115"/>
                  <a:gd name="T51" fmla="*/ 46 h 106"/>
                  <a:gd name="T52" fmla="*/ 77 w 115"/>
                  <a:gd name="T53" fmla="*/ 5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5" h="106">
                    <a:moveTo>
                      <a:pt x="107" y="28"/>
                    </a:moveTo>
                    <a:cubicBezTo>
                      <a:pt x="107" y="27"/>
                      <a:pt x="107" y="27"/>
                      <a:pt x="107" y="27"/>
                    </a:cubicBezTo>
                    <a:cubicBezTo>
                      <a:pt x="94" y="6"/>
                      <a:pt x="65" y="0"/>
                      <a:pt x="42" y="13"/>
                    </a:cubicBezTo>
                    <a:cubicBezTo>
                      <a:pt x="27" y="21"/>
                      <a:pt x="27" y="21"/>
                      <a:pt x="27" y="21"/>
                    </a:cubicBezTo>
                    <a:cubicBezTo>
                      <a:pt x="27" y="21"/>
                      <a:pt x="27" y="21"/>
                      <a:pt x="27" y="21"/>
                    </a:cubicBezTo>
                    <a:cubicBezTo>
                      <a:pt x="16" y="28"/>
                      <a:pt x="8" y="37"/>
                      <a:pt x="4" y="49"/>
                    </a:cubicBezTo>
                    <a:cubicBezTo>
                      <a:pt x="0" y="61"/>
                      <a:pt x="2" y="74"/>
                      <a:pt x="8" y="85"/>
                    </a:cubicBezTo>
                    <a:cubicBezTo>
                      <a:pt x="15" y="95"/>
                      <a:pt x="25" y="103"/>
                      <a:pt x="38" y="105"/>
                    </a:cubicBezTo>
                    <a:cubicBezTo>
                      <a:pt x="39" y="105"/>
                      <a:pt x="39" y="105"/>
                      <a:pt x="39" y="105"/>
                    </a:cubicBezTo>
                    <a:cubicBezTo>
                      <a:pt x="42" y="106"/>
                      <a:pt x="45" y="106"/>
                      <a:pt x="48" y="106"/>
                    </a:cubicBezTo>
                    <a:cubicBezTo>
                      <a:pt x="57" y="106"/>
                      <a:pt x="66" y="104"/>
                      <a:pt x="74" y="99"/>
                    </a:cubicBezTo>
                    <a:cubicBezTo>
                      <a:pt x="88" y="91"/>
                      <a:pt x="88" y="91"/>
                      <a:pt x="88" y="91"/>
                    </a:cubicBezTo>
                    <a:cubicBezTo>
                      <a:pt x="99" y="85"/>
                      <a:pt x="108" y="75"/>
                      <a:pt x="111" y="63"/>
                    </a:cubicBezTo>
                    <a:cubicBezTo>
                      <a:pt x="115" y="51"/>
                      <a:pt x="114" y="39"/>
                      <a:pt x="107" y="28"/>
                    </a:cubicBezTo>
                    <a:close/>
                    <a:moveTo>
                      <a:pt x="77" y="52"/>
                    </a:moveTo>
                    <a:cubicBezTo>
                      <a:pt x="76" y="55"/>
                      <a:pt x="74" y="58"/>
                      <a:pt x="71" y="60"/>
                    </a:cubicBezTo>
                    <a:cubicBezTo>
                      <a:pt x="71" y="60"/>
                      <a:pt x="70" y="60"/>
                      <a:pt x="70" y="60"/>
                    </a:cubicBezTo>
                    <a:cubicBezTo>
                      <a:pt x="56" y="68"/>
                      <a:pt x="56" y="68"/>
                      <a:pt x="56" y="68"/>
                    </a:cubicBezTo>
                    <a:cubicBezTo>
                      <a:pt x="54" y="69"/>
                      <a:pt x="51" y="70"/>
                      <a:pt x="48" y="70"/>
                    </a:cubicBezTo>
                    <a:cubicBezTo>
                      <a:pt x="47" y="70"/>
                      <a:pt x="46" y="70"/>
                      <a:pt x="45" y="70"/>
                    </a:cubicBezTo>
                    <a:cubicBezTo>
                      <a:pt x="42" y="69"/>
                      <a:pt x="40" y="68"/>
                      <a:pt x="39" y="66"/>
                    </a:cubicBezTo>
                    <a:cubicBezTo>
                      <a:pt x="39" y="66"/>
                      <a:pt x="39" y="66"/>
                      <a:pt x="39" y="65"/>
                    </a:cubicBezTo>
                    <a:cubicBezTo>
                      <a:pt x="38" y="64"/>
                      <a:pt x="38" y="62"/>
                      <a:pt x="38" y="60"/>
                    </a:cubicBezTo>
                    <a:cubicBezTo>
                      <a:pt x="39" y="57"/>
                      <a:pt x="42" y="54"/>
                      <a:pt x="45" y="52"/>
                    </a:cubicBezTo>
                    <a:cubicBezTo>
                      <a:pt x="59" y="44"/>
                      <a:pt x="59" y="44"/>
                      <a:pt x="59" y="44"/>
                    </a:cubicBezTo>
                    <a:cubicBezTo>
                      <a:pt x="66" y="40"/>
                      <a:pt x="74" y="42"/>
                      <a:pt x="76" y="46"/>
                    </a:cubicBezTo>
                    <a:cubicBezTo>
                      <a:pt x="78" y="48"/>
                      <a:pt x="78" y="50"/>
                      <a:pt x="77" y="52"/>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50" name="Freeform 26">
                <a:extLst>
                  <a:ext uri="{FF2B5EF4-FFF2-40B4-BE49-F238E27FC236}">
                    <a16:creationId xmlns:a16="http://schemas.microsoft.com/office/drawing/2014/main" id="{2C70EB90-0E1F-4B63-B774-7FF3328D1598}"/>
                  </a:ext>
                </a:extLst>
              </p:cNvPr>
              <p:cNvSpPr>
                <a:spLocks noEditPoints="1"/>
              </p:cNvSpPr>
              <p:nvPr/>
            </p:nvSpPr>
            <p:spPr bwMode="auto">
              <a:xfrm>
                <a:off x="6513888" y="5320066"/>
                <a:ext cx="175373" cy="323765"/>
              </a:xfrm>
              <a:custGeom>
                <a:avLst/>
                <a:gdLst>
                  <a:gd name="T0" fmla="*/ 296 w 305"/>
                  <a:gd name="T1" fmla="*/ 53 h 565"/>
                  <a:gd name="T2" fmla="*/ 293 w 305"/>
                  <a:gd name="T3" fmla="*/ 46 h 565"/>
                  <a:gd name="T4" fmla="*/ 262 w 305"/>
                  <a:gd name="T5" fmla="*/ 22 h 565"/>
                  <a:gd name="T6" fmla="*/ 193 w 305"/>
                  <a:gd name="T7" fmla="*/ 4 h 565"/>
                  <a:gd name="T8" fmla="*/ 155 w 305"/>
                  <a:gd name="T9" fmla="*/ 9 h 565"/>
                  <a:gd name="T10" fmla="*/ 148 w 305"/>
                  <a:gd name="T11" fmla="*/ 13 h 565"/>
                  <a:gd name="T12" fmla="*/ 124 w 305"/>
                  <a:gd name="T13" fmla="*/ 43 h 565"/>
                  <a:gd name="T14" fmla="*/ 4 w 305"/>
                  <a:gd name="T15" fmla="*/ 474 h 565"/>
                  <a:gd name="T16" fmla="*/ 9 w 305"/>
                  <a:gd name="T17" fmla="*/ 513 h 565"/>
                  <a:gd name="T18" fmla="*/ 13 w 305"/>
                  <a:gd name="T19" fmla="*/ 519 h 565"/>
                  <a:gd name="T20" fmla="*/ 44 w 305"/>
                  <a:gd name="T21" fmla="*/ 543 h 565"/>
                  <a:gd name="T22" fmla="*/ 117 w 305"/>
                  <a:gd name="T23" fmla="*/ 563 h 565"/>
                  <a:gd name="T24" fmla="*/ 131 w 305"/>
                  <a:gd name="T25" fmla="*/ 565 h 565"/>
                  <a:gd name="T26" fmla="*/ 180 w 305"/>
                  <a:gd name="T27" fmla="*/ 528 h 565"/>
                  <a:gd name="T28" fmla="*/ 301 w 305"/>
                  <a:gd name="T29" fmla="*/ 92 h 565"/>
                  <a:gd name="T30" fmla="*/ 296 w 305"/>
                  <a:gd name="T31" fmla="*/ 53 h 565"/>
                  <a:gd name="T32" fmla="*/ 267 w 305"/>
                  <a:gd name="T33" fmla="*/ 82 h 565"/>
                  <a:gd name="T34" fmla="*/ 145 w 305"/>
                  <a:gd name="T35" fmla="*/ 518 h 565"/>
                  <a:gd name="T36" fmla="*/ 127 w 305"/>
                  <a:gd name="T37" fmla="*/ 529 h 565"/>
                  <a:gd name="T38" fmla="*/ 53 w 305"/>
                  <a:gd name="T39" fmla="*/ 509 h 565"/>
                  <a:gd name="T40" fmla="*/ 44 w 305"/>
                  <a:gd name="T41" fmla="*/ 502 h 565"/>
                  <a:gd name="T42" fmla="*/ 44 w 305"/>
                  <a:gd name="T43" fmla="*/ 502 h 565"/>
                  <a:gd name="T44" fmla="*/ 40 w 305"/>
                  <a:gd name="T45" fmla="*/ 495 h 565"/>
                  <a:gd name="T46" fmla="*/ 39 w 305"/>
                  <a:gd name="T47" fmla="*/ 484 h 565"/>
                  <a:gd name="T48" fmla="*/ 159 w 305"/>
                  <a:gd name="T49" fmla="*/ 53 h 565"/>
                  <a:gd name="T50" fmla="*/ 166 w 305"/>
                  <a:gd name="T51" fmla="*/ 44 h 565"/>
                  <a:gd name="T52" fmla="*/ 173 w 305"/>
                  <a:gd name="T53" fmla="*/ 40 h 565"/>
                  <a:gd name="T54" fmla="*/ 180 w 305"/>
                  <a:gd name="T55" fmla="*/ 38 h 565"/>
                  <a:gd name="T56" fmla="*/ 184 w 305"/>
                  <a:gd name="T57" fmla="*/ 39 h 565"/>
                  <a:gd name="T58" fmla="*/ 252 w 305"/>
                  <a:gd name="T59" fmla="*/ 57 h 565"/>
                  <a:gd name="T60" fmla="*/ 261 w 305"/>
                  <a:gd name="T61" fmla="*/ 64 h 565"/>
                  <a:gd name="T62" fmla="*/ 265 w 305"/>
                  <a:gd name="T63" fmla="*/ 71 h 565"/>
                  <a:gd name="T64" fmla="*/ 267 w 305"/>
                  <a:gd name="T65" fmla="*/ 82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5" h="565">
                    <a:moveTo>
                      <a:pt x="296" y="53"/>
                    </a:moveTo>
                    <a:cubicBezTo>
                      <a:pt x="293" y="46"/>
                      <a:pt x="293" y="46"/>
                      <a:pt x="293" y="46"/>
                    </a:cubicBezTo>
                    <a:cubicBezTo>
                      <a:pt x="286" y="35"/>
                      <a:pt x="275" y="26"/>
                      <a:pt x="262" y="22"/>
                    </a:cubicBezTo>
                    <a:cubicBezTo>
                      <a:pt x="193" y="4"/>
                      <a:pt x="193" y="4"/>
                      <a:pt x="193" y="4"/>
                    </a:cubicBezTo>
                    <a:cubicBezTo>
                      <a:pt x="180" y="0"/>
                      <a:pt x="167" y="2"/>
                      <a:pt x="155" y="9"/>
                    </a:cubicBezTo>
                    <a:cubicBezTo>
                      <a:pt x="148" y="13"/>
                      <a:pt x="148" y="13"/>
                      <a:pt x="148" y="13"/>
                    </a:cubicBezTo>
                    <a:cubicBezTo>
                      <a:pt x="136" y="19"/>
                      <a:pt x="128" y="30"/>
                      <a:pt x="124" y="43"/>
                    </a:cubicBezTo>
                    <a:cubicBezTo>
                      <a:pt x="4" y="474"/>
                      <a:pt x="4" y="474"/>
                      <a:pt x="4" y="474"/>
                    </a:cubicBezTo>
                    <a:cubicBezTo>
                      <a:pt x="0" y="487"/>
                      <a:pt x="2" y="501"/>
                      <a:pt x="9" y="513"/>
                    </a:cubicBezTo>
                    <a:cubicBezTo>
                      <a:pt x="13" y="519"/>
                      <a:pt x="13" y="519"/>
                      <a:pt x="13" y="519"/>
                    </a:cubicBezTo>
                    <a:cubicBezTo>
                      <a:pt x="19" y="531"/>
                      <a:pt x="31" y="540"/>
                      <a:pt x="44" y="543"/>
                    </a:cubicBezTo>
                    <a:cubicBezTo>
                      <a:pt x="117" y="563"/>
                      <a:pt x="117" y="563"/>
                      <a:pt x="117" y="563"/>
                    </a:cubicBezTo>
                    <a:cubicBezTo>
                      <a:pt x="122" y="565"/>
                      <a:pt x="126" y="565"/>
                      <a:pt x="131" y="565"/>
                    </a:cubicBezTo>
                    <a:cubicBezTo>
                      <a:pt x="153" y="565"/>
                      <a:pt x="173" y="550"/>
                      <a:pt x="180" y="528"/>
                    </a:cubicBezTo>
                    <a:cubicBezTo>
                      <a:pt x="301" y="92"/>
                      <a:pt x="301" y="92"/>
                      <a:pt x="301" y="92"/>
                    </a:cubicBezTo>
                    <a:cubicBezTo>
                      <a:pt x="305" y="79"/>
                      <a:pt x="303" y="65"/>
                      <a:pt x="296" y="53"/>
                    </a:cubicBezTo>
                    <a:close/>
                    <a:moveTo>
                      <a:pt x="267" y="82"/>
                    </a:moveTo>
                    <a:cubicBezTo>
                      <a:pt x="145" y="518"/>
                      <a:pt x="145" y="518"/>
                      <a:pt x="145" y="518"/>
                    </a:cubicBezTo>
                    <a:cubicBezTo>
                      <a:pt x="143" y="526"/>
                      <a:pt x="135" y="531"/>
                      <a:pt x="127" y="529"/>
                    </a:cubicBezTo>
                    <a:cubicBezTo>
                      <a:pt x="53" y="509"/>
                      <a:pt x="53" y="509"/>
                      <a:pt x="53" y="509"/>
                    </a:cubicBezTo>
                    <a:cubicBezTo>
                      <a:pt x="49" y="508"/>
                      <a:pt x="46" y="505"/>
                      <a:pt x="44" y="502"/>
                    </a:cubicBezTo>
                    <a:cubicBezTo>
                      <a:pt x="44" y="502"/>
                      <a:pt x="44" y="502"/>
                      <a:pt x="44" y="502"/>
                    </a:cubicBezTo>
                    <a:cubicBezTo>
                      <a:pt x="40" y="495"/>
                      <a:pt x="40" y="495"/>
                      <a:pt x="40" y="495"/>
                    </a:cubicBezTo>
                    <a:cubicBezTo>
                      <a:pt x="38" y="491"/>
                      <a:pt x="38" y="487"/>
                      <a:pt x="39" y="484"/>
                    </a:cubicBezTo>
                    <a:cubicBezTo>
                      <a:pt x="159" y="53"/>
                      <a:pt x="159" y="53"/>
                      <a:pt x="159" y="53"/>
                    </a:cubicBezTo>
                    <a:cubicBezTo>
                      <a:pt x="160" y="49"/>
                      <a:pt x="162" y="46"/>
                      <a:pt x="166" y="44"/>
                    </a:cubicBezTo>
                    <a:cubicBezTo>
                      <a:pt x="173" y="40"/>
                      <a:pt x="173" y="40"/>
                      <a:pt x="173" y="40"/>
                    </a:cubicBezTo>
                    <a:cubicBezTo>
                      <a:pt x="175" y="39"/>
                      <a:pt x="178" y="38"/>
                      <a:pt x="180" y="38"/>
                    </a:cubicBezTo>
                    <a:cubicBezTo>
                      <a:pt x="181" y="38"/>
                      <a:pt x="183" y="38"/>
                      <a:pt x="184" y="39"/>
                    </a:cubicBezTo>
                    <a:cubicBezTo>
                      <a:pt x="252" y="57"/>
                      <a:pt x="252" y="57"/>
                      <a:pt x="252" y="57"/>
                    </a:cubicBezTo>
                    <a:cubicBezTo>
                      <a:pt x="256" y="58"/>
                      <a:pt x="259" y="61"/>
                      <a:pt x="261" y="64"/>
                    </a:cubicBezTo>
                    <a:cubicBezTo>
                      <a:pt x="265" y="71"/>
                      <a:pt x="265" y="71"/>
                      <a:pt x="265" y="71"/>
                    </a:cubicBezTo>
                    <a:cubicBezTo>
                      <a:pt x="267" y="74"/>
                      <a:pt x="268" y="78"/>
                      <a:pt x="267" y="82"/>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51" name="Freeform 27">
                <a:extLst>
                  <a:ext uri="{FF2B5EF4-FFF2-40B4-BE49-F238E27FC236}">
                    <a16:creationId xmlns:a16="http://schemas.microsoft.com/office/drawing/2014/main" id="{403BF869-ACC4-42A4-9AEF-0029F63FC698}"/>
                  </a:ext>
                </a:extLst>
              </p:cNvPr>
              <p:cNvSpPr>
                <a:spLocks noEditPoints="1"/>
              </p:cNvSpPr>
              <p:nvPr/>
            </p:nvSpPr>
            <p:spPr bwMode="auto">
              <a:xfrm>
                <a:off x="7076430" y="5320066"/>
                <a:ext cx="174024" cy="323765"/>
              </a:xfrm>
              <a:custGeom>
                <a:avLst/>
                <a:gdLst>
                  <a:gd name="T0" fmla="*/ 301 w 305"/>
                  <a:gd name="T1" fmla="*/ 474 h 565"/>
                  <a:gd name="T2" fmla="*/ 181 w 305"/>
                  <a:gd name="T3" fmla="*/ 43 h 565"/>
                  <a:gd name="T4" fmla="*/ 157 w 305"/>
                  <a:gd name="T5" fmla="*/ 13 h 565"/>
                  <a:gd name="T6" fmla="*/ 150 w 305"/>
                  <a:gd name="T7" fmla="*/ 9 h 565"/>
                  <a:gd name="T8" fmla="*/ 112 w 305"/>
                  <a:gd name="T9" fmla="*/ 4 h 565"/>
                  <a:gd name="T10" fmla="*/ 43 w 305"/>
                  <a:gd name="T11" fmla="*/ 22 h 565"/>
                  <a:gd name="T12" fmla="*/ 12 w 305"/>
                  <a:gd name="T13" fmla="*/ 46 h 565"/>
                  <a:gd name="T14" fmla="*/ 8 w 305"/>
                  <a:gd name="T15" fmla="*/ 53 h 565"/>
                  <a:gd name="T16" fmla="*/ 4 w 305"/>
                  <a:gd name="T17" fmla="*/ 92 h 565"/>
                  <a:gd name="T18" fmla="*/ 125 w 305"/>
                  <a:gd name="T19" fmla="*/ 528 h 565"/>
                  <a:gd name="T20" fmla="*/ 174 w 305"/>
                  <a:gd name="T21" fmla="*/ 565 h 565"/>
                  <a:gd name="T22" fmla="*/ 188 w 305"/>
                  <a:gd name="T23" fmla="*/ 563 h 565"/>
                  <a:gd name="T24" fmla="*/ 261 w 305"/>
                  <a:gd name="T25" fmla="*/ 543 h 565"/>
                  <a:gd name="T26" fmla="*/ 261 w 305"/>
                  <a:gd name="T27" fmla="*/ 543 h 565"/>
                  <a:gd name="T28" fmla="*/ 292 w 305"/>
                  <a:gd name="T29" fmla="*/ 519 h 565"/>
                  <a:gd name="T30" fmla="*/ 296 w 305"/>
                  <a:gd name="T31" fmla="*/ 513 h 565"/>
                  <a:gd name="T32" fmla="*/ 301 w 305"/>
                  <a:gd name="T33" fmla="*/ 474 h 565"/>
                  <a:gd name="T34" fmla="*/ 265 w 305"/>
                  <a:gd name="T35" fmla="*/ 495 h 565"/>
                  <a:gd name="T36" fmla="*/ 261 w 305"/>
                  <a:gd name="T37" fmla="*/ 502 h 565"/>
                  <a:gd name="T38" fmla="*/ 252 w 305"/>
                  <a:gd name="T39" fmla="*/ 509 h 565"/>
                  <a:gd name="T40" fmla="*/ 252 w 305"/>
                  <a:gd name="T41" fmla="*/ 509 h 565"/>
                  <a:gd name="T42" fmla="*/ 178 w 305"/>
                  <a:gd name="T43" fmla="*/ 529 h 565"/>
                  <a:gd name="T44" fmla="*/ 160 w 305"/>
                  <a:gd name="T45" fmla="*/ 518 h 565"/>
                  <a:gd name="T46" fmla="*/ 38 w 305"/>
                  <a:gd name="T47" fmla="*/ 82 h 565"/>
                  <a:gd name="T48" fmla="*/ 40 w 305"/>
                  <a:gd name="T49" fmla="*/ 71 h 565"/>
                  <a:gd name="T50" fmla="*/ 44 w 305"/>
                  <a:gd name="T51" fmla="*/ 64 h 565"/>
                  <a:gd name="T52" fmla="*/ 53 w 305"/>
                  <a:gd name="T53" fmla="*/ 57 h 565"/>
                  <a:gd name="T54" fmla="*/ 121 w 305"/>
                  <a:gd name="T55" fmla="*/ 39 h 565"/>
                  <a:gd name="T56" fmla="*/ 125 w 305"/>
                  <a:gd name="T57" fmla="*/ 38 h 565"/>
                  <a:gd name="T58" fmla="*/ 132 w 305"/>
                  <a:gd name="T59" fmla="*/ 40 h 565"/>
                  <a:gd name="T60" fmla="*/ 139 w 305"/>
                  <a:gd name="T61" fmla="*/ 44 h 565"/>
                  <a:gd name="T62" fmla="*/ 146 w 305"/>
                  <a:gd name="T63" fmla="*/ 53 h 565"/>
                  <a:gd name="T64" fmla="*/ 266 w 305"/>
                  <a:gd name="T65" fmla="*/ 484 h 565"/>
                  <a:gd name="T66" fmla="*/ 265 w 305"/>
                  <a:gd name="T67" fmla="*/ 49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565">
                    <a:moveTo>
                      <a:pt x="301" y="474"/>
                    </a:moveTo>
                    <a:cubicBezTo>
                      <a:pt x="181" y="43"/>
                      <a:pt x="181" y="43"/>
                      <a:pt x="181" y="43"/>
                    </a:cubicBezTo>
                    <a:cubicBezTo>
                      <a:pt x="177" y="30"/>
                      <a:pt x="169" y="19"/>
                      <a:pt x="157" y="13"/>
                    </a:cubicBezTo>
                    <a:cubicBezTo>
                      <a:pt x="150" y="9"/>
                      <a:pt x="150" y="9"/>
                      <a:pt x="150" y="9"/>
                    </a:cubicBezTo>
                    <a:cubicBezTo>
                      <a:pt x="138" y="2"/>
                      <a:pt x="125" y="0"/>
                      <a:pt x="112" y="4"/>
                    </a:cubicBezTo>
                    <a:cubicBezTo>
                      <a:pt x="43" y="22"/>
                      <a:pt x="43" y="22"/>
                      <a:pt x="43" y="22"/>
                    </a:cubicBezTo>
                    <a:cubicBezTo>
                      <a:pt x="30" y="26"/>
                      <a:pt x="19" y="35"/>
                      <a:pt x="12" y="46"/>
                    </a:cubicBezTo>
                    <a:cubicBezTo>
                      <a:pt x="8" y="53"/>
                      <a:pt x="8" y="53"/>
                      <a:pt x="8" y="53"/>
                    </a:cubicBezTo>
                    <a:cubicBezTo>
                      <a:pt x="2" y="65"/>
                      <a:pt x="0" y="79"/>
                      <a:pt x="4" y="92"/>
                    </a:cubicBezTo>
                    <a:cubicBezTo>
                      <a:pt x="125" y="528"/>
                      <a:pt x="125" y="528"/>
                      <a:pt x="125" y="528"/>
                    </a:cubicBezTo>
                    <a:cubicBezTo>
                      <a:pt x="132" y="550"/>
                      <a:pt x="152" y="565"/>
                      <a:pt x="174" y="565"/>
                    </a:cubicBezTo>
                    <a:cubicBezTo>
                      <a:pt x="179" y="565"/>
                      <a:pt x="183" y="565"/>
                      <a:pt x="188" y="563"/>
                    </a:cubicBezTo>
                    <a:cubicBezTo>
                      <a:pt x="261" y="543"/>
                      <a:pt x="261" y="543"/>
                      <a:pt x="261" y="543"/>
                    </a:cubicBezTo>
                    <a:cubicBezTo>
                      <a:pt x="261" y="543"/>
                      <a:pt x="261" y="543"/>
                      <a:pt x="261" y="543"/>
                    </a:cubicBezTo>
                    <a:cubicBezTo>
                      <a:pt x="274" y="540"/>
                      <a:pt x="286" y="531"/>
                      <a:pt x="292" y="519"/>
                    </a:cubicBezTo>
                    <a:cubicBezTo>
                      <a:pt x="296" y="513"/>
                      <a:pt x="296" y="513"/>
                      <a:pt x="296" y="513"/>
                    </a:cubicBezTo>
                    <a:cubicBezTo>
                      <a:pt x="303" y="501"/>
                      <a:pt x="305" y="487"/>
                      <a:pt x="301" y="474"/>
                    </a:cubicBezTo>
                    <a:close/>
                    <a:moveTo>
                      <a:pt x="265" y="495"/>
                    </a:moveTo>
                    <a:cubicBezTo>
                      <a:pt x="261" y="502"/>
                      <a:pt x="261" y="502"/>
                      <a:pt x="261" y="502"/>
                    </a:cubicBezTo>
                    <a:cubicBezTo>
                      <a:pt x="259" y="505"/>
                      <a:pt x="256" y="508"/>
                      <a:pt x="252" y="509"/>
                    </a:cubicBezTo>
                    <a:cubicBezTo>
                      <a:pt x="252" y="509"/>
                      <a:pt x="252" y="509"/>
                      <a:pt x="252" y="509"/>
                    </a:cubicBezTo>
                    <a:cubicBezTo>
                      <a:pt x="178" y="529"/>
                      <a:pt x="178" y="529"/>
                      <a:pt x="178" y="529"/>
                    </a:cubicBezTo>
                    <a:cubicBezTo>
                      <a:pt x="170" y="531"/>
                      <a:pt x="162" y="526"/>
                      <a:pt x="160" y="518"/>
                    </a:cubicBezTo>
                    <a:cubicBezTo>
                      <a:pt x="38" y="82"/>
                      <a:pt x="38" y="82"/>
                      <a:pt x="38" y="82"/>
                    </a:cubicBezTo>
                    <a:cubicBezTo>
                      <a:pt x="37" y="78"/>
                      <a:pt x="38" y="74"/>
                      <a:pt x="40" y="71"/>
                    </a:cubicBezTo>
                    <a:cubicBezTo>
                      <a:pt x="44" y="64"/>
                      <a:pt x="44" y="64"/>
                      <a:pt x="44" y="64"/>
                    </a:cubicBezTo>
                    <a:cubicBezTo>
                      <a:pt x="46" y="61"/>
                      <a:pt x="49" y="58"/>
                      <a:pt x="53" y="57"/>
                    </a:cubicBezTo>
                    <a:cubicBezTo>
                      <a:pt x="121" y="39"/>
                      <a:pt x="121" y="39"/>
                      <a:pt x="121" y="39"/>
                    </a:cubicBezTo>
                    <a:cubicBezTo>
                      <a:pt x="122" y="38"/>
                      <a:pt x="124" y="38"/>
                      <a:pt x="125" y="38"/>
                    </a:cubicBezTo>
                    <a:cubicBezTo>
                      <a:pt x="127" y="38"/>
                      <a:pt x="130" y="39"/>
                      <a:pt x="132" y="40"/>
                    </a:cubicBezTo>
                    <a:cubicBezTo>
                      <a:pt x="139" y="44"/>
                      <a:pt x="139" y="44"/>
                      <a:pt x="139" y="44"/>
                    </a:cubicBezTo>
                    <a:cubicBezTo>
                      <a:pt x="143" y="46"/>
                      <a:pt x="145" y="49"/>
                      <a:pt x="146" y="53"/>
                    </a:cubicBezTo>
                    <a:cubicBezTo>
                      <a:pt x="266" y="484"/>
                      <a:pt x="266" y="484"/>
                      <a:pt x="266" y="484"/>
                    </a:cubicBezTo>
                    <a:cubicBezTo>
                      <a:pt x="267" y="487"/>
                      <a:pt x="267" y="491"/>
                      <a:pt x="265" y="495"/>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52" name="Freeform 28">
                <a:extLst>
                  <a:ext uri="{FF2B5EF4-FFF2-40B4-BE49-F238E27FC236}">
                    <a16:creationId xmlns:a16="http://schemas.microsoft.com/office/drawing/2014/main" id="{458BCFA7-84C1-4B00-81D4-A4FBA42A31A5}"/>
                  </a:ext>
                </a:extLst>
              </p:cNvPr>
              <p:cNvSpPr>
                <a:spLocks/>
              </p:cNvSpPr>
              <p:nvPr/>
            </p:nvSpPr>
            <p:spPr bwMode="auto">
              <a:xfrm>
                <a:off x="6898359" y="5562890"/>
                <a:ext cx="190212" cy="116016"/>
              </a:xfrm>
              <a:custGeom>
                <a:avLst/>
                <a:gdLst>
                  <a:gd name="T0" fmla="*/ 241 w 333"/>
                  <a:gd name="T1" fmla="*/ 202 h 202"/>
                  <a:gd name="T2" fmla="*/ 178 w 333"/>
                  <a:gd name="T3" fmla="*/ 179 h 202"/>
                  <a:gd name="T4" fmla="*/ 8 w 333"/>
                  <a:gd name="T5" fmla="*/ 34 h 202"/>
                  <a:gd name="T6" fmla="*/ 6 w 333"/>
                  <a:gd name="T7" fmla="*/ 9 h 202"/>
                  <a:gd name="T8" fmla="*/ 32 w 333"/>
                  <a:gd name="T9" fmla="*/ 7 h 202"/>
                  <a:gd name="T10" fmla="*/ 201 w 333"/>
                  <a:gd name="T11" fmla="*/ 152 h 202"/>
                  <a:gd name="T12" fmla="*/ 246 w 333"/>
                  <a:gd name="T13" fmla="*/ 166 h 202"/>
                  <a:gd name="T14" fmla="*/ 288 w 333"/>
                  <a:gd name="T15" fmla="*/ 145 h 202"/>
                  <a:gd name="T16" fmla="*/ 291 w 333"/>
                  <a:gd name="T17" fmla="*/ 134 h 202"/>
                  <a:gd name="T18" fmla="*/ 286 w 333"/>
                  <a:gd name="T19" fmla="*/ 124 h 202"/>
                  <a:gd name="T20" fmla="*/ 268 w 333"/>
                  <a:gd name="T21" fmla="*/ 109 h 202"/>
                  <a:gd name="T22" fmla="*/ 266 w 333"/>
                  <a:gd name="T23" fmla="*/ 84 h 202"/>
                  <a:gd name="T24" fmla="*/ 291 w 333"/>
                  <a:gd name="T25" fmla="*/ 82 h 202"/>
                  <a:gd name="T26" fmla="*/ 309 w 333"/>
                  <a:gd name="T27" fmla="*/ 96 h 202"/>
                  <a:gd name="T28" fmla="*/ 315 w 333"/>
                  <a:gd name="T29" fmla="*/ 168 h 202"/>
                  <a:gd name="T30" fmla="*/ 249 w 333"/>
                  <a:gd name="T31" fmla="*/ 202 h 202"/>
                  <a:gd name="T32" fmla="*/ 241 w 333"/>
                  <a:gd name="T3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 h="202">
                    <a:moveTo>
                      <a:pt x="241" y="202"/>
                    </a:moveTo>
                    <a:cubicBezTo>
                      <a:pt x="218" y="202"/>
                      <a:pt x="196" y="194"/>
                      <a:pt x="178" y="179"/>
                    </a:cubicBezTo>
                    <a:cubicBezTo>
                      <a:pt x="8" y="34"/>
                      <a:pt x="8" y="34"/>
                      <a:pt x="8" y="34"/>
                    </a:cubicBezTo>
                    <a:cubicBezTo>
                      <a:pt x="1" y="27"/>
                      <a:pt x="0" y="16"/>
                      <a:pt x="6" y="9"/>
                    </a:cubicBezTo>
                    <a:cubicBezTo>
                      <a:pt x="13" y="1"/>
                      <a:pt x="24" y="0"/>
                      <a:pt x="32" y="7"/>
                    </a:cubicBezTo>
                    <a:cubicBezTo>
                      <a:pt x="201" y="152"/>
                      <a:pt x="201" y="152"/>
                      <a:pt x="201" y="152"/>
                    </a:cubicBezTo>
                    <a:cubicBezTo>
                      <a:pt x="214" y="162"/>
                      <a:pt x="230" y="167"/>
                      <a:pt x="246" y="166"/>
                    </a:cubicBezTo>
                    <a:cubicBezTo>
                      <a:pt x="262" y="165"/>
                      <a:pt x="277" y="157"/>
                      <a:pt x="288" y="145"/>
                    </a:cubicBezTo>
                    <a:cubicBezTo>
                      <a:pt x="290" y="142"/>
                      <a:pt x="292" y="138"/>
                      <a:pt x="291" y="134"/>
                    </a:cubicBezTo>
                    <a:cubicBezTo>
                      <a:pt x="291" y="130"/>
                      <a:pt x="289" y="127"/>
                      <a:pt x="286" y="124"/>
                    </a:cubicBezTo>
                    <a:cubicBezTo>
                      <a:pt x="268" y="109"/>
                      <a:pt x="268" y="109"/>
                      <a:pt x="268" y="109"/>
                    </a:cubicBezTo>
                    <a:cubicBezTo>
                      <a:pt x="261" y="103"/>
                      <a:pt x="260" y="92"/>
                      <a:pt x="266" y="84"/>
                    </a:cubicBezTo>
                    <a:cubicBezTo>
                      <a:pt x="272" y="76"/>
                      <a:pt x="284" y="75"/>
                      <a:pt x="291" y="82"/>
                    </a:cubicBezTo>
                    <a:cubicBezTo>
                      <a:pt x="309" y="96"/>
                      <a:pt x="309" y="96"/>
                      <a:pt x="309" y="96"/>
                    </a:cubicBezTo>
                    <a:cubicBezTo>
                      <a:pt x="331" y="115"/>
                      <a:pt x="333" y="147"/>
                      <a:pt x="315" y="168"/>
                    </a:cubicBezTo>
                    <a:cubicBezTo>
                      <a:pt x="298" y="188"/>
                      <a:pt x="275" y="200"/>
                      <a:pt x="249" y="202"/>
                    </a:cubicBezTo>
                    <a:cubicBezTo>
                      <a:pt x="246" y="202"/>
                      <a:pt x="244" y="202"/>
                      <a:pt x="241" y="202"/>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53" name="Freeform 29">
                <a:extLst>
                  <a:ext uri="{FF2B5EF4-FFF2-40B4-BE49-F238E27FC236}">
                    <a16:creationId xmlns:a16="http://schemas.microsoft.com/office/drawing/2014/main" id="{07F14E7F-662E-4FB0-B163-EB4A8C871089}"/>
                  </a:ext>
                </a:extLst>
              </p:cNvPr>
              <p:cNvSpPr>
                <a:spLocks/>
              </p:cNvSpPr>
              <p:nvPr/>
            </p:nvSpPr>
            <p:spPr bwMode="auto">
              <a:xfrm>
                <a:off x="6879473" y="5548050"/>
                <a:ext cx="157836" cy="175373"/>
              </a:xfrm>
              <a:custGeom>
                <a:avLst/>
                <a:gdLst>
                  <a:gd name="T0" fmla="*/ 199 w 275"/>
                  <a:gd name="T1" fmla="*/ 306 h 306"/>
                  <a:gd name="T2" fmla="*/ 155 w 275"/>
                  <a:gd name="T3" fmla="*/ 290 h 306"/>
                  <a:gd name="T4" fmla="*/ 139 w 275"/>
                  <a:gd name="T5" fmla="*/ 276 h 306"/>
                  <a:gd name="T6" fmla="*/ 137 w 275"/>
                  <a:gd name="T7" fmla="*/ 251 h 306"/>
                  <a:gd name="T8" fmla="*/ 163 w 275"/>
                  <a:gd name="T9" fmla="*/ 249 h 306"/>
                  <a:gd name="T10" fmla="*/ 179 w 275"/>
                  <a:gd name="T11" fmla="*/ 262 h 306"/>
                  <a:gd name="T12" fmla="*/ 202 w 275"/>
                  <a:gd name="T13" fmla="*/ 270 h 306"/>
                  <a:gd name="T14" fmla="*/ 223 w 275"/>
                  <a:gd name="T15" fmla="*/ 259 h 306"/>
                  <a:gd name="T16" fmla="*/ 231 w 275"/>
                  <a:gd name="T17" fmla="*/ 236 h 306"/>
                  <a:gd name="T18" fmla="*/ 220 w 275"/>
                  <a:gd name="T19" fmla="*/ 214 h 306"/>
                  <a:gd name="T20" fmla="*/ 8 w 275"/>
                  <a:gd name="T21" fmla="*/ 34 h 306"/>
                  <a:gd name="T22" fmla="*/ 6 w 275"/>
                  <a:gd name="T23" fmla="*/ 8 h 306"/>
                  <a:gd name="T24" fmla="*/ 32 w 275"/>
                  <a:gd name="T25" fmla="*/ 6 h 306"/>
                  <a:gd name="T26" fmla="*/ 243 w 275"/>
                  <a:gd name="T27" fmla="*/ 187 h 306"/>
                  <a:gd name="T28" fmla="*/ 251 w 275"/>
                  <a:gd name="T29" fmla="*/ 282 h 306"/>
                  <a:gd name="T30" fmla="*/ 205 w 275"/>
                  <a:gd name="T31" fmla="*/ 306 h 306"/>
                  <a:gd name="T32" fmla="*/ 199 w 275"/>
                  <a:gd name="T33"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5" h="306">
                    <a:moveTo>
                      <a:pt x="199" y="306"/>
                    </a:moveTo>
                    <a:cubicBezTo>
                      <a:pt x="183" y="306"/>
                      <a:pt x="168" y="300"/>
                      <a:pt x="155" y="290"/>
                    </a:cubicBezTo>
                    <a:cubicBezTo>
                      <a:pt x="139" y="276"/>
                      <a:pt x="139" y="276"/>
                      <a:pt x="139" y="276"/>
                    </a:cubicBezTo>
                    <a:cubicBezTo>
                      <a:pt x="132" y="270"/>
                      <a:pt x="131" y="258"/>
                      <a:pt x="137" y="251"/>
                    </a:cubicBezTo>
                    <a:cubicBezTo>
                      <a:pt x="144" y="243"/>
                      <a:pt x="155" y="242"/>
                      <a:pt x="163" y="249"/>
                    </a:cubicBezTo>
                    <a:cubicBezTo>
                      <a:pt x="179" y="262"/>
                      <a:pt x="179" y="262"/>
                      <a:pt x="179" y="262"/>
                    </a:cubicBezTo>
                    <a:cubicBezTo>
                      <a:pt x="185" y="268"/>
                      <a:pt x="193" y="270"/>
                      <a:pt x="202" y="270"/>
                    </a:cubicBezTo>
                    <a:cubicBezTo>
                      <a:pt x="210" y="269"/>
                      <a:pt x="218" y="265"/>
                      <a:pt x="223" y="259"/>
                    </a:cubicBezTo>
                    <a:cubicBezTo>
                      <a:pt x="229" y="252"/>
                      <a:pt x="231" y="244"/>
                      <a:pt x="231" y="236"/>
                    </a:cubicBezTo>
                    <a:cubicBezTo>
                      <a:pt x="230" y="227"/>
                      <a:pt x="226" y="220"/>
                      <a:pt x="220" y="214"/>
                    </a:cubicBezTo>
                    <a:cubicBezTo>
                      <a:pt x="8" y="34"/>
                      <a:pt x="8" y="34"/>
                      <a:pt x="8" y="34"/>
                    </a:cubicBezTo>
                    <a:cubicBezTo>
                      <a:pt x="1" y="27"/>
                      <a:pt x="0" y="16"/>
                      <a:pt x="6" y="8"/>
                    </a:cubicBezTo>
                    <a:cubicBezTo>
                      <a:pt x="13" y="1"/>
                      <a:pt x="24" y="0"/>
                      <a:pt x="32" y="6"/>
                    </a:cubicBezTo>
                    <a:cubicBezTo>
                      <a:pt x="243" y="187"/>
                      <a:pt x="243" y="187"/>
                      <a:pt x="243" y="187"/>
                    </a:cubicBezTo>
                    <a:cubicBezTo>
                      <a:pt x="271" y="211"/>
                      <a:pt x="275" y="254"/>
                      <a:pt x="251" y="282"/>
                    </a:cubicBezTo>
                    <a:cubicBezTo>
                      <a:pt x="239" y="296"/>
                      <a:pt x="223" y="304"/>
                      <a:pt x="205" y="306"/>
                    </a:cubicBezTo>
                    <a:cubicBezTo>
                      <a:pt x="203" y="306"/>
                      <a:pt x="201" y="306"/>
                      <a:pt x="199" y="306"/>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54" name="Freeform 30">
                <a:extLst>
                  <a:ext uri="{FF2B5EF4-FFF2-40B4-BE49-F238E27FC236}">
                    <a16:creationId xmlns:a16="http://schemas.microsoft.com/office/drawing/2014/main" id="{81D3F2C8-5D5B-4982-9786-573D2F39BAAB}"/>
                  </a:ext>
                </a:extLst>
              </p:cNvPr>
              <p:cNvSpPr>
                <a:spLocks/>
              </p:cNvSpPr>
              <p:nvPr/>
            </p:nvSpPr>
            <p:spPr bwMode="auto">
              <a:xfrm>
                <a:off x="6851143" y="5603360"/>
                <a:ext cx="132204" cy="151090"/>
              </a:xfrm>
              <a:custGeom>
                <a:avLst/>
                <a:gdLst>
                  <a:gd name="T0" fmla="*/ 151 w 231"/>
                  <a:gd name="T1" fmla="*/ 265 h 265"/>
                  <a:gd name="T2" fmla="*/ 104 w 231"/>
                  <a:gd name="T3" fmla="*/ 248 h 265"/>
                  <a:gd name="T4" fmla="*/ 9 w 231"/>
                  <a:gd name="T5" fmla="*/ 166 h 265"/>
                  <a:gd name="T6" fmla="*/ 7 w 231"/>
                  <a:gd name="T7" fmla="*/ 141 h 265"/>
                  <a:gd name="T8" fmla="*/ 32 w 231"/>
                  <a:gd name="T9" fmla="*/ 139 h 265"/>
                  <a:gd name="T10" fmla="*/ 128 w 231"/>
                  <a:gd name="T11" fmla="*/ 221 h 265"/>
                  <a:gd name="T12" fmla="*/ 178 w 231"/>
                  <a:gd name="T13" fmla="*/ 217 h 265"/>
                  <a:gd name="T14" fmla="*/ 174 w 231"/>
                  <a:gd name="T15" fmla="*/ 167 h 265"/>
                  <a:gd name="T16" fmla="*/ 18 w 231"/>
                  <a:gd name="T17" fmla="*/ 34 h 265"/>
                  <a:gd name="T18" fmla="*/ 16 w 231"/>
                  <a:gd name="T19" fmla="*/ 8 h 265"/>
                  <a:gd name="T20" fmla="*/ 42 w 231"/>
                  <a:gd name="T21" fmla="*/ 6 h 265"/>
                  <a:gd name="T22" fmla="*/ 197 w 231"/>
                  <a:gd name="T23" fmla="*/ 139 h 265"/>
                  <a:gd name="T24" fmla="*/ 205 w 231"/>
                  <a:gd name="T25" fmla="*/ 240 h 265"/>
                  <a:gd name="T26" fmla="*/ 151 w 231"/>
                  <a:gd name="T27"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 h="265">
                    <a:moveTo>
                      <a:pt x="151" y="265"/>
                    </a:moveTo>
                    <a:cubicBezTo>
                      <a:pt x="134" y="265"/>
                      <a:pt x="118" y="259"/>
                      <a:pt x="104" y="248"/>
                    </a:cubicBezTo>
                    <a:cubicBezTo>
                      <a:pt x="9" y="166"/>
                      <a:pt x="9" y="166"/>
                      <a:pt x="9" y="166"/>
                    </a:cubicBezTo>
                    <a:cubicBezTo>
                      <a:pt x="1" y="160"/>
                      <a:pt x="0" y="149"/>
                      <a:pt x="7" y="141"/>
                    </a:cubicBezTo>
                    <a:cubicBezTo>
                      <a:pt x="13" y="133"/>
                      <a:pt x="24" y="133"/>
                      <a:pt x="32" y="139"/>
                    </a:cubicBezTo>
                    <a:cubicBezTo>
                      <a:pt x="128" y="221"/>
                      <a:pt x="128" y="221"/>
                      <a:pt x="128" y="221"/>
                    </a:cubicBezTo>
                    <a:cubicBezTo>
                      <a:pt x="142" y="233"/>
                      <a:pt x="165" y="232"/>
                      <a:pt x="178" y="217"/>
                    </a:cubicBezTo>
                    <a:cubicBezTo>
                      <a:pt x="190" y="202"/>
                      <a:pt x="189" y="179"/>
                      <a:pt x="174" y="167"/>
                    </a:cubicBezTo>
                    <a:cubicBezTo>
                      <a:pt x="18" y="34"/>
                      <a:pt x="18" y="34"/>
                      <a:pt x="18" y="34"/>
                    </a:cubicBezTo>
                    <a:cubicBezTo>
                      <a:pt x="11" y="27"/>
                      <a:pt x="10" y="16"/>
                      <a:pt x="16" y="8"/>
                    </a:cubicBezTo>
                    <a:cubicBezTo>
                      <a:pt x="23" y="1"/>
                      <a:pt x="34" y="0"/>
                      <a:pt x="42" y="6"/>
                    </a:cubicBezTo>
                    <a:cubicBezTo>
                      <a:pt x="197" y="139"/>
                      <a:pt x="197" y="139"/>
                      <a:pt x="197" y="139"/>
                    </a:cubicBezTo>
                    <a:cubicBezTo>
                      <a:pt x="227" y="165"/>
                      <a:pt x="231" y="210"/>
                      <a:pt x="205" y="240"/>
                    </a:cubicBezTo>
                    <a:cubicBezTo>
                      <a:pt x="191" y="257"/>
                      <a:pt x="171" y="265"/>
                      <a:pt x="151" y="265"/>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355" name="Freeform 31">
                <a:extLst>
                  <a:ext uri="{FF2B5EF4-FFF2-40B4-BE49-F238E27FC236}">
                    <a16:creationId xmlns:a16="http://schemas.microsoft.com/office/drawing/2014/main" id="{A9493D0A-BE23-4A06-8440-118920D7DF08}"/>
                  </a:ext>
                </a:extLst>
              </p:cNvPr>
              <p:cNvSpPr>
                <a:spLocks/>
              </p:cNvSpPr>
              <p:nvPr/>
            </p:nvSpPr>
            <p:spPr bwMode="auto">
              <a:xfrm>
                <a:off x="6845747" y="5713980"/>
                <a:ext cx="78243" cy="64753"/>
              </a:xfrm>
              <a:custGeom>
                <a:avLst/>
                <a:gdLst>
                  <a:gd name="T0" fmla="*/ 65 w 136"/>
                  <a:gd name="T1" fmla="*/ 112 h 112"/>
                  <a:gd name="T2" fmla="*/ 33 w 136"/>
                  <a:gd name="T3" fmla="*/ 99 h 112"/>
                  <a:gd name="T4" fmla="*/ 9 w 136"/>
                  <a:gd name="T5" fmla="*/ 79 h 112"/>
                  <a:gd name="T6" fmla="*/ 7 w 136"/>
                  <a:gd name="T7" fmla="*/ 54 h 112"/>
                  <a:gd name="T8" fmla="*/ 32 w 136"/>
                  <a:gd name="T9" fmla="*/ 52 h 112"/>
                  <a:gd name="T10" fmla="*/ 56 w 136"/>
                  <a:gd name="T11" fmla="*/ 72 h 112"/>
                  <a:gd name="T12" fmla="*/ 67 w 136"/>
                  <a:gd name="T13" fmla="*/ 75 h 112"/>
                  <a:gd name="T14" fmla="*/ 77 w 136"/>
                  <a:gd name="T15" fmla="*/ 70 h 112"/>
                  <a:gd name="T16" fmla="*/ 90 w 136"/>
                  <a:gd name="T17" fmla="*/ 55 h 112"/>
                  <a:gd name="T18" fmla="*/ 94 w 136"/>
                  <a:gd name="T19" fmla="*/ 44 h 112"/>
                  <a:gd name="T20" fmla="*/ 89 w 136"/>
                  <a:gd name="T21" fmla="*/ 34 h 112"/>
                  <a:gd name="T22" fmla="*/ 87 w 136"/>
                  <a:gd name="T23" fmla="*/ 8 h 112"/>
                  <a:gd name="T24" fmla="*/ 112 w 136"/>
                  <a:gd name="T25" fmla="*/ 6 h 112"/>
                  <a:gd name="T26" fmla="*/ 118 w 136"/>
                  <a:gd name="T27" fmla="*/ 78 h 112"/>
                  <a:gd name="T28" fmla="*/ 104 w 136"/>
                  <a:gd name="T29" fmla="*/ 94 h 112"/>
                  <a:gd name="T30" fmla="*/ 70 w 136"/>
                  <a:gd name="T31" fmla="*/ 111 h 112"/>
                  <a:gd name="T32" fmla="*/ 65 w 136"/>
                  <a:gd name="T3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12">
                    <a:moveTo>
                      <a:pt x="65" y="112"/>
                    </a:moveTo>
                    <a:cubicBezTo>
                      <a:pt x="53" y="112"/>
                      <a:pt x="42" y="107"/>
                      <a:pt x="33" y="99"/>
                    </a:cubicBezTo>
                    <a:cubicBezTo>
                      <a:pt x="9" y="79"/>
                      <a:pt x="9" y="79"/>
                      <a:pt x="9" y="79"/>
                    </a:cubicBezTo>
                    <a:cubicBezTo>
                      <a:pt x="1" y="73"/>
                      <a:pt x="0" y="61"/>
                      <a:pt x="7" y="54"/>
                    </a:cubicBezTo>
                    <a:cubicBezTo>
                      <a:pt x="13" y="46"/>
                      <a:pt x="25" y="45"/>
                      <a:pt x="32" y="52"/>
                    </a:cubicBezTo>
                    <a:cubicBezTo>
                      <a:pt x="56" y="72"/>
                      <a:pt x="56" y="72"/>
                      <a:pt x="56" y="72"/>
                    </a:cubicBezTo>
                    <a:cubicBezTo>
                      <a:pt x="59" y="75"/>
                      <a:pt x="63" y="76"/>
                      <a:pt x="67" y="75"/>
                    </a:cubicBezTo>
                    <a:cubicBezTo>
                      <a:pt x="71" y="75"/>
                      <a:pt x="74" y="73"/>
                      <a:pt x="77" y="70"/>
                    </a:cubicBezTo>
                    <a:cubicBezTo>
                      <a:pt x="90" y="55"/>
                      <a:pt x="90" y="55"/>
                      <a:pt x="90" y="55"/>
                    </a:cubicBezTo>
                    <a:cubicBezTo>
                      <a:pt x="93" y="52"/>
                      <a:pt x="94" y="48"/>
                      <a:pt x="94" y="44"/>
                    </a:cubicBezTo>
                    <a:cubicBezTo>
                      <a:pt x="93" y="40"/>
                      <a:pt x="92" y="36"/>
                      <a:pt x="89" y="34"/>
                    </a:cubicBezTo>
                    <a:cubicBezTo>
                      <a:pt x="81" y="27"/>
                      <a:pt x="80" y="16"/>
                      <a:pt x="87" y="8"/>
                    </a:cubicBezTo>
                    <a:cubicBezTo>
                      <a:pt x="93" y="1"/>
                      <a:pt x="104" y="0"/>
                      <a:pt x="112" y="6"/>
                    </a:cubicBezTo>
                    <a:cubicBezTo>
                      <a:pt x="133" y="25"/>
                      <a:pt x="136" y="57"/>
                      <a:pt x="118" y="78"/>
                    </a:cubicBezTo>
                    <a:cubicBezTo>
                      <a:pt x="104" y="94"/>
                      <a:pt x="104" y="94"/>
                      <a:pt x="104" y="94"/>
                    </a:cubicBezTo>
                    <a:cubicBezTo>
                      <a:pt x="95" y="104"/>
                      <a:pt x="83" y="110"/>
                      <a:pt x="70" y="111"/>
                    </a:cubicBezTo>
                    <a:cubicBezTo>
                      <a:pt x="68" y="111"/>
                      <a:pt x="67" y="112"/>
                      <a:pt x="65" y="112"/>
                    </a:cubicBezTo>
                    <a:close/>
                  </a:path>
                </a:pathLst>
              </a:custGeom>
              <a:grp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grpSp>
        <p:sp>
          <p:nvSpPr>
            <p:cNvPr id="402" name="Rectangle 401">
              <a:extLst>
                <a:ext uri="{FF2B5EF4-FFF2-40B4-BE49-F238E27FC236}">
                  <a16:creationId xmlns:a16="http://schemas.microsoft.com/office/drawing/2014/main" id="{1472C5F9-82C4-44C9-99F9-A8479B3E71C8}"/>
                </a:ext>
              </a:extLst>
            </p:cNvPr>
            <p:cNvSpPr/>
            <p:nvPr/>
          </p:nvSpPr>
          <p:spPr>
            <a:xfrm>
              <a:off x="5912138" y="5015483"/>
              <a:ext cx="594736" cy="111368"/>
            </a:xfrm>
            <a:prstGeom prst="rect">
              <a:avLst/>
            </a:prstGeom>
            <a:noFill/>
            <a:ln w="25400" cap="flat" cmpd="sng" algn="ctr">
              <a:noFill/>
              <a:prstDash val="solid"/>
            </a:ln>
            <a:effectLst/>
          </p:spPr>
          <p:txBody>
            <a:bodyPr rot="0" spcFirstLastPara="0" vertOverflow="overflow" horzOverflow="overflow" vert="horz" wrap="square" lIns="89629" tIns="89629" rIns="89629" bIns="89629" numCol="1" spcCol="0" rtlCol="0" fromWordArt="0" anchor="ctr" anchorCtr="0" forceAA="0" compatLnSpc="1">
              <a:prstTxWarp prst="textNoShape">
                <a:avLst/>
              </a:prstTxWarp>
              <a:noAutofit/>
            </a:bodyPr>
            <a:lstStyle/>
            <a:p>
              <a:pPr algn="ctr" defTabSz="896214">
                <a:defRPr/>
              </a:pPr>
              <a:r>
                <a:rPr lang="en-US" sz="900" kern="0">
                  <a:gradFill>
                    <a:gsLst>
                      <a:gs pos="66667">
                        <a:schemeClr val="tx1"/>
                      </a:gs>
                      <a:gs pos="37000">
                        <a:schemeClr val="tx1"/>
                      </a:gs>
                    </a:gsLst>
                    <a:lin ang="0" scaled="1"/>
                  </a:gradFill>
                  <a:latin typeface="Segoe UI Semilight"/>
                </a:rPr>
                <a:t>Sales</a:t>
              </a:r>
            </a:p>
          </p:txBody>
        </p:sp>
      </p:grpSp>
      <p:grpSp>
        <p:nvGrpSpPr>
          <p:cNvPr id="9" name="Group 8">
            <a:extLst>
              <a:ext uri="{FF2B5EF4-FFF2-40B4-BE49-F238E27FC236}">
                <a16:creationId xmlns:a16="http://schemas.microsoft.com/office/drawing/2014/main" id="{16D93D3D-9F93-4DB0-A4A8-12CFD8B9D1A2}"/>
              </a:ext>
            </a:extLst>
          </p:cNvPr>
          <p:cNvGrpSpPr/>
          <p:nvPr/>
        </p:nvGrpSpPr>
        <p:grpSpPr>
          <a:xfrm>
            <a:off x="5858473" y="4758013"/>
            <a:ext cx="719529" cy="550501"/>
            <a:chOff x="4896427" y="4143049"/>
            <a:chExt cx="719631" cy="550580"/>
          </a:xfrm>
        </p:grpSpPr>
        <p:sp>
          <p:nvSpPr>
            <p:cNvPr id="356" name="Freeform 12">
              <a:extLst>
                <a:ext uri="{FF2B5EF4-FFF2-40B4-BE49-F238E27FC236}">
                  <a16:creationId xmlns:a16="http://schemas.microsoft.com/office/drawing/2014/main" id="{9A469F15-3BB4-4012-8834-A971EE583C0B}"/>
                </a:ext>
              </a:extLst>
            </p:cNvPr>
            <p:cNvSpPr>
              <a:spLocks noEditPoints="1"/>
            </p:cNvSpPr>
            <p:nvPr/>
          </p:nvSpPr>
          <p:spPr bwMode="auto">
            <a:xfrm>
              <a:off x="5039653" y="4143049"/>
              <a:ext cx="404257" cy="378434"/>
            </a:xfrm>
            <a:custGeom>
              <a:avLst/>
              <a:gdLst>
                <a:gd name="T0" fmla="*/ 1548 w 2065"/>
                <a:gd name="T1" fmla="*/ 808 h 1934"/>
                <a:gd name="T2" fmla="*/ 1668 w 2065"/>
                <a:gd name="T3" fmla="*/ 819 h 1934"/>
                <a:gd name="T4" fmla="*/ 2024 w 2065"/>
                <a:gd name="T5" fmla="*/ 667 h 1934"/>
                <a:gd name="T6" fmla="*/ 1968 w 2065"/>
                <a:gd name="T7" fmla="*/ 284 h 1934"/>
                <a:gd name="T8" fmla="*/ 1569 w 2065"/>
                <a:gd name="T9" fmla="*/ 370 h 1934"/>
                <a:gd name="T10" fmla="*/ 1715 w 2065"/>
                <a:gd name="T11" fmla="*/ 33 h 1934"/>
                <a:gd name="T12" fmla="*/ 1415 w 2065"/>
                <a:gd name="T13" fmla="*/ 81 h 1934"/>
                <a:gd name="T14" fmla="*/ 1281 w 2065"/>
                <a:gd name="T15" fmla="*/ 556 h 1934"/>
                <a:gd name="T16" fmla="*/ 800 w 2065"/>
                <a:gd name="T17" fmla="*/ 368 h 1934"/>
                <a:gd name="T18" fmla="*/ 957 w 2065"/>
                <a:gd name="T19" fmla="*/ 118 h 1934"/>
                <a:gd name="T20" fmla="*/ 671 w 2065"/>
                <a:gd name="T21" fmla="*/ 0 h 1934"/>
                <a:gd name="T22" fmla="*/ 0 w 2065"/>
                <a:gd name="T23" fmla="*/ 500 h 1934"/>
                <a:gd name="T24" fmla="*/ 536 w 2065"/>
                <a:gd name="T25" fmla="*/ 628 h 1934"/>
                <a:gd name="T26" fmla="*/ 667 w 2065"/>
                <a:gd name="T27" fmla="*/ 1159 h 1934"/>
                <a:gd name="T28" fmla="*/ 547 w 2065"/>
                <a:gd name="T29" fmla="*/ 1151 h 1934"/>
                <a:gd name="T30" fmla="*/ 191 w 2065"/>
                <a:gd name="T31" fmla="*/ 1302 h 1934"/>
                <a:gd name="T32" fmla="*/ 245 w 2065"/>
                <a:gd name="T33" fmla="*/ 1683 h 1934"/>
                <a:gd name="T34" fmla="*/ 643 w 2065"/>
                <a:gd name="T35" fmla="*/ 1597 h 1934"/>
                <a:gd name="T36" fmla="*/ 495 w 2065"/>
                <a:gd name="T37" fmla="*/ 1934 h 1934"/>
                <a:gd name="T38" fmla="*/ 796 w 2065"/>
                <a:gd name="T39" fmla="*/ 1883 h 1934"/>
                <a:gd name="T40" fmla="*/ 930 w 2065"/>
                <a:gd name="T41" fmla="*/ 1409 h 1934"/>
                <a:gd name="T42" fmla="*/ 1716 w 2065"/>
                <a:gd name="T43" fmla="*/ 1812 h 1934"/>
                <a:gd name="T44" fmla="*/ 1975 w 2065"/>
                <a:gd name="T45" fmla="*/ 1812 h 1934"/>
                <a:gd name="T46" fmla="*/ 1975 w 2065"/>
                <a:gd name="T47" fmla="*/ 1553 h 1934"/>
                <a:gd name="T48" fmla="*/ 538 w 2065"/>
                <a:gd name="T49" fmla="*/ 524 h 1934"/>
                <a:gd name="T50" fmla="*/ 105 w 2065"/>
                <a:gd name="T51" fmla="*/ 500 h 1934"/>
                <a:gd name="T52" fmla="*/ 671 w 2065"/>
                <a:gd name="T53" fmla="*/ 75 h 1934"/>
                <a:gd name="T54" fmla="*/ 897 w 2065"/>
                <a:gd name="T55" fmla="*/ 166 h 1934"/>
                <a:gd name="T56" fmla="*/ 1077 w 2065"/>
                <a:gd name="T57" fmla="*/ 752 h 1934"/>
                <a:gd name="T58" fmla="*/ 538 w 2065"/>
                <a:gd name="T59" fmla="*/ 524 h 1934"/>
                <a:gd name="T60" fmla="*/ 859 w 2065"/>
                <a:gd name="T61" fmla="*/ 1386 h 1934"/>
                <a:gd name="T62" fmla="*/ 759 w 2065"/>
                <a:gd name="T63" fmla="*/ 1822 h 1934"/>
                <a:gd name="T64" fmla="*/ 486 w 2065"/>
                <a:gd name="T65" fmla="*/ 1862 h 1934"/>
                <a:gd name="T66" fmla="*/ 489 w 2065"/>
                <a:gd name="T67" fmla="*/ 1337 h 1934"/>
                <a:gd name="T68" fmla="*/ 264 w 2065"/>
                <a:gd name="T69" fmla="*/ 1338 h 1934"/>
                <a:gd name="T70" fmla="*/ 552 w 2065"/>
                <a:gd name="T71" fmla="*/ 1224 h 1934"/>
                <a:gd name="T72" fmla="*/ 696 w 2065"/>
                <a:gd name="T73" fmla="*/ 1236 h 1934"/>
                <a:gd name="T74" fmla="*/ 1114 w 2065"/>
                <a:gd name="T75" fmla="*/ 821 h 1934"/>
                <a:gd name="T76" fmla="*/ 1347 w 2065"/>
                <a:gd name="T77" fmla="*/ 460 h 1934"/>
                <a:gd name="T78" fmla="*/ 1462 w 2065"/>
                <a:gd name="T79" fmla="*/ 140 h 1934"/>
                <a:gd name="T80" fmla="*/ 1463 w 2065"/>
                <a:gd name="T81" fmla="*/ 370 h 1934"/>
                <a:gd name="T82" fmla="*/ 1990 w 2065"/>
                <a:gd name="T83" fmla="*/ 368 h 1934"/>
                <a:gd name="T84" fmla="*/ 1945 w 2065"/>
                <a:gd name="T85" fmla="*/ 638 h 1934"/>
                <a:gd name="T86" fmla="*/ 1626 w 2065"/>
                <a:gd name="T87" fmla="*/ 744 h 1934"/>
                <a:gd name="T88" fmla="*/ 1104 w 2065"/>
                <a:gd name="T89" fmla="*/ 1144 h 1934"/>
                <a:gd name="T90" fmla="*/ 1848 w 2065"/>
                <a:gd name="T91" fmla="*/ 1792 h 1934"/>
                <a:gd name="T92" fmla="*/ 1770 w 2065"/>
                <a:gd name="T93" fmla="*/ 1761 h 1934"/>
                <a:gd name="T94" fmla="*/ 1339 w 2065"/>
                <a:gd name="T95" fmla="*/ 1014 h 1934"/>
                <a:gd name="T96" fmla="*/ 1959 w 2065"/>
                <a:gd name="T97" fmla="*/ 1683 h 19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65" h="1934">
                  <a:moveTo>
                    <a:pt x="1393" y="963"/>
                  </a:moveTo>
                  <a:cubicBezTo>
                    <a:pt x="1548" y="808"/>
                    <a:pt x="1548" y="808"/>
                    <a:pt x="1548" y="808"/>
                  </a:cubicBezTo>
                  <a:cubicBezTo>
                    <a:pt x="1620" y="817"/>
                    <a:pt x="1620" y="817"/>
                    <a:pt x="1620" y="817"/>
                  </a:cubicBezTo>
                  <a:cubicBezTo>
                    <a:pt x="1636" y="818"/>
                    <a:pt x="1652" y="819"/>
                    <a:pt x="1668" y="819"/>
                  </a:cubicBezTo>
                  <a:cubicBezTo>
                    <a:pt x="1798" y="819"/>
                    <a:pt x="1921" y="768"/>
                    <a:pt x="2015" y="676"/>
                  </a:cubicBezTo>
                  <a:cubicBezTo>
                    <a:pt x="2024" y="667"/>
                    <a:pt x="2024" y="667"/>
                    <a:pt x="2024" y="667"/>
                  </a:cubicBezTo>
                  <a:cubicBezTo>
                    <a:pt x="2065" y="381"/>
                    <a:pt x="2065" y="381"/>
                    <a:pt x="2065" y="381"/>
                  </a:cubicBezTo>
                  <a:cubicBezTo>
                    <a:pt x="1968" y="284"/>
                    <a:pt x="1968" y="284"/>
                    <a:pt x="1968" y="284"/>
                  </a:cubicBezTo>
                  <a:cubicBezTo>
                    <a:pt x="1726" y="527"/>
                    <a:pt x="1726" y="527"/>
                    <a:pt x="1726" y="527"/>
                  </a:cubicBezTo>
                  <a:cubicBezTo>
                    <a:pt x="1569" y="370"/>
                    <a:pt x="1569" y="370"/>
                    <a:pt x="1569" y="370"/>
                  </a:cubicBezTo>
                  <a:cubicBezTo>
                    <a:pt x="1811" y="128"/>
                    <a:pt x="1811" y="128"/>
                    <a:pt x="1811" y="128"/>
                  </a:cubicBezTo>
                  <a:cubicBezTo>
                    <a:pt x="1715" y="33"/>
                    <a:pt x="1715" y="33"/>
                    <a:pt x="1715" y="33"/>
                  </a:cubicBezTo>
                  <a:cubicBezTo>
                    <a:pt x="1426" y="70"/>
                    <a:pt x="1426" y="70"/>
                    <a:pt x="1426" y="70"/>
                  </a:cubicBezTo>
                  <a:cubicBezTo>
                    <a:pt x="1415" y="81"/>
                    <a:pt x="1415" y="81"/>
                    <a:pt x="1415" y="81"/>
                  </a:cubicBezTo>
                  <a:cubicBezTo>
                    <a:pt x="1312" y="183"/>
                    <a:pt x="1261" y="325"/>
                    <a:pt x="1272" y="469"/>
                  </a:cubicBezTo>
                  <a:cubicBezTo>
                    <a:pt x="1281" y="556"/>
                    <a:pt x="1281" y="556"/>
                    <a:pt x="1281" y="556"/>
                  </a:cubicBezTo>
                  <a:cubicBezTo>
                    <a:pt x="1133" y="703"/>
                    <a:pt x="1133" y="703"/>
                    <a:pt x="1133" y="703"/>
                  </a:cubicBezTo>
                  <a:cubicBezTo>
                    <a:pt x="800" y="368"/>
                    <a:pt x="800" y="368"/>
                    <a:pt x="800" y="368"/>
                  </a:cubicBezTo>
                  <a:cubicBezTo>
                    <a:pt x="1006" y="167"/>
                    <a:pt x="1006" y="167"/>
                    <a:pt x="1006" y="167"/>
                  </a:cubicBezTo>
                  <a:cubicBezTo>
                    <a:pt x="957" y="118"/>
                    <a:pt x="957" y="118"/>
                    <a:pt x="957" y="118"/>
                  </a:cubicBezTo>
                  <a:cubicBezTo>
                    <a:pt x="880" y="41"/>
                    <a:pt x="782" y="0"/>
                    <a:pt x="673" y="0"/>
                  </a:cubicBezTo>
                  <a:cubicBezTo>
                    <a:pt x="671" y="0"/>
                    <a:pt x="671" y="0"/>
                    <a:pt x="671" y="0"/>
                  </a:cubicBezTo>
                  <a:cubicBezTo>
                    <a:pt x="565" y="0"/>
                    <a:pt x="462" y="42"/>
                    <a:pt x="389" y="116"/>
                  </a:cubicBezTo>
                  <a:cubicBezTo>
                    <a:pt x="0" y="500"/>
                    <a:pt x="0" y="500"/>
                    <a:pt x="0" y="500"/>
                  </a:cubicBezTo>
                  <a:cubicBezTo>
                    <a:pt x="330" y="831"/>
                    <a:pt x="330" y="831"/>
                    <a:pt x="330" y="831"/>
                  </a:cubicBezTo>
                  <a:cubicBezTo>
                    <a:pt x="536" y="628"/>
                    <a:pt x="536" y="628"/>
                    <a:pt x="536" y="628"/>
                  </a:cubicBezTo>
                  <a:cubicBezTo>
                    <a:pt x="869" y="960"/>
                    <a:pt x="869" y="960"/>
                    <a:pt x="869" y="960"/>
                  </a:cubicBezTo>
                  <a:cubicBezTo>
                    <a:pt x="667" y="1159"/>
                    <a:pt x="667" y="1159"/>
                    <a:pt x="667" y="1159"/>
                  </a:cubicBezTo>
                  <a:cubicBezTo>
                    <a:pt x="595" y="1153"/>
                    <a:pt x="595" y="1153"/>
                    <a:pt x="595" y="1153"/>
                  </a:cubicBezTo>
                  <a:cubicBezTo>
                    <a:pt x="579" y="1152"/>
                    <a:pt x="563" y="1151"/>
                    <a:pt x="547" y="1151"/>
                  </a:cubicBezTo>
                  <a:cubicBezTo>
                    <a:pt x="417" y="1151"/>
                    <a:pt x="294" y="1201"/>
                    <a:pt x="200" y="1293"/>
                  </a:cubicBezTo>
                  <a:cubicBezTo>
                    <a:pt x="191" y="1302"/>
                    <a:pt x="191" y="1302"/>
                    <a:pt x="191" y="1302"/>
                  </a:cubicBezTo>
                  <a:cubicBezTo>
                    <a:pt x="148" y="1586"/>
                    <a:pt x="148" y="1586"/>
                    <a:pt x="148" y="1586"/>
                  </a:cubicBezTo>
                  <a:cubicBezTo>
                    <a:pt x="245" y="1683"/>
                    <a:pt x="245" y="1683"/>
                    <a:pt x="245" y="1683"/>
                  </a:cubicBezTo>
                  <a:cubicBezTo>
                    <a:pt x="487" y="1440"/>
                    <a:pt x="487" y="1440"/>
                    <a:pt x="487" y="1440"/>
                  </a:cubicBezTo>
                  <a:cubicBezTo>
                    <a:pt x="643" y="1597"/>
                    <a:pt x="643" y="1597"/>
                    <a:pt x="643" y="1597"/>
                  </a:cubicBezTo>
                  <a:cubicBezTo>
                    <a:pt x="401" y="1839"/>
                    <a:pt x="401" y="1839"/>
                    <a:pt x="401" y="1839"/>
                  </a:cubicBezTo>
                  <a:cubicBezTo>
                    <a:pt x="495" y="1934"/>
                    <a:pt x="495" y="1934"/>
                    <a:pt x="495" y="1934"/>
                  </a:cubicBezTo>
                  <a:cubicBezTo>
                    <a:pt x="784" y="1895"/>
                    <a:pt x="784" y="1895"/>
                    <a:pt x="784" y="1895"/>
                  </a:cubicBezTo>
                  <a:cubicBezTo>
                    <a:pt x="796" y="1883"/>
                    <a:pt x="796" y="1883"/>
                    <a:pt x="796" y="1883"/>
                  </a:cubicBezTo>
                  <a:cubicBezTo>
                    <a:pt x="898" y="1781"/>
                    <a:pt x="950" y="1640"/>
                    <a:pt x="938" y="1496"/>
                  </a:cubicBezTo>
                  <a:cubicBezTo>
                    <a:pt x="930" y="1409"/>
                    <a:pt x="930" y="1409"/>
                    <a:pt x="930" y="1409"/>
                  </a:cubicBezTo>
                  <a:cubicBezTo>
                    <a:pt x="1124" y="1218"/>
                    <a:pt x="1124" y="1218"/>
                    <a:pt x="1124" y="1218"/>
                  </a:cubicBezTo>
                  <a:cubicBezTo>
                    <a:pt x="1716" y="1812"/>
                    <a:pt x="1716" y="1812"/>
                    <a:pt x="1716" y="1812"/>
                  </a:cubicBezTo>
                  <a:cubicBezTo>
                    <a:pt x="1751" y="1848"/>
                    <a:pt x="1796" y="1867"/>
                    <a:pt x="1846" y="1867"/>
                  </a:cubicBezTo>
                  <a:cubicBezTo>
                    <a:pt x="1895" y="1867"/>
                    <a:pt x="1940" y="1848"/>
                    <a:pt x="1975" y="1812"/>
                  </a:cubicBezTo>
                  <a:cubicBezTo>
                    <a:pt x="2010" y="1778"/>
                    <a:pt x="2029" y="1732"/>
                    <a:pt x="2029" y="1683"/>
                  </a:cubicBezTo>
                  <a:cubicBezTo>
                    <a:pt x="2029" y="1633"/>
                    <a:pt x="2010" y="1587"/>
                    <a:pt x="1975" y="1553"/>
                  </a:cubicBezTo>
                  <a:lnTo>
                    <a:pt x="1393" y="963"/>
                  </a:lnTo>
                  <a:close/>
                  <a:moveTo>
                    <a:pt x="538" y="524"/>
                  </a:moveTo>
                  <a:cubicBezTo>
                    <a:pt x="333" y="727"/>
                    <a:pt x="333" y="727"/>
                    <a:pt x="333" y="727"/>
                  </a:cubicBezTo>
                  <a:cubicBezTo>
                    <a:pt x="105" y="500"/>
                    <a:pt x="105" y="500"/>
                    <a:pt x="105" y="500"/>
                  </a:cubicBezTo>
                  <a:cubicBezTo>
                    <a:pt x="441" y="170"/>
                    <a:pt x="441" y="170"/>
                    <a:pt x="441" y="170"/>
                  </a:cubicBezTo>
                  <a:cubicBezTo>
                    <a:pt x="502" y="108"/>
                    <a:pt x="584" y="75"/>
                    <a:pt x="671" y="75"/>
                  </a:cubicBezTo>
                  <a:cubicBezTo>
                    <a:pt x="746" y="75"/>
                    <a:pt x="818" y="100"/>
                    <a:pt x="877" y="149"/>
                  </a:cubicBezTo>
                  <a:cubicBezTo>
                    <a:pt x="897" y="166"/>
                    <a:pt x="897" y="166"/>
                    <a:pt x="897" y="166"/>
                  </a:cubicBezTo>
                  <a:cubicBezTo>
                    <a:pt x="692" y="368"/>
                    <a:pt x="692" y="368"/>
                    <a:pt x="692" y="368"/>
                  </a:cubicBezTo>
                  <a:cubicBezTo>
                    <a:pt x="1077" y="752"/>
                    <a:pt x="1077" y="752"/>
                    <a:pt x="1077" y="752"/>
                  </a:cubicBezTo>
                  <a:cubicBezTo>
                    <a:pt x="920" y="909"/>
                    <a:pt x="920" y="909"/>
                    <a:pt x="920" y="909"/>
                  </a:cubicBezTo>
                  <a:lnTo>
                    <a:pt x="538" y="524"/>
                  </a:lnTo>
                  <a:close/>
                  <a:moveTo>
                    <a:pt x="1104" y="1144"/>
                  </a:moveTo>
                  <a:cubicBezTo>
                    <a:pt x="859" y="1386"/>
                    <a:pt x="859" y="1386"/>
                    <a:pt x="859" y="1386"/>
                  </a:cubicBezTo>
                  <a:cubicBezTo>
                    <a:pt x="868" y="1507"/>
                    <a:pt x="868" y="1507"/>
                    <a:pt x="868" y="1507"/>
                  </a:cubicBezTo>
                  <a:cubicBezTo>
                    <a:pt x="879" y="1624"/>
                    <a:pt x="839" y="1739"/>
                    <a:pt x="759" y="1822"/>
                  </a:cubicBezTo>
                  <a:cubicBezTo>
                    <a:pt x="753" y="1828"/>
                    <a:pt x="753" y="1828"/>
                    <a:pt x="753" y="1828"/>
                  </a:cubicBezTo>
                  <a:cubicBezTo>
                    <a:pt x="486" y="1862"/>
                    <a:pt x="486" y="1862"/>
                    <a:pt x="486" y="1862"/>
                  </a:cubicBezTo>
                  <a:cubicBezTo>
                    <a:pt x="749" y="1599"/>
                    <a:pt x="749" y="1599"/>
                    <a:pt x="749" y="1599"/>
                  </a:cubicBezTo>
                  <a:cubicBezTo>
                    <a:pt x="489" y="1337"/>
                    <a:pt x="489" y="1337"/>
                    <a:pt x="489" y="1337"/>
                  </a:cubicBezTo>
                  <a:cubicBezTo>
                    <a:pt x="225" y="1601"/>
                    <a:pt x="225" y="1601"/>
                    <a:pt x="225" y="1601"/>
                  </a:cubicBezTo>
                  <a:cubicBezTo>
                    <a:pt x="264" y="1338"/>
                    <a:pt x="264" y="1338"/>
                    <a:pt x="264" y="1338"/>
                  </a:cubicBezTo>
                  <a:cubicBezTo>
                    <a:pt x="270" y="1332"/>
                    <a:pt x="270" y="1332"/>
                    <a:pt x="270" y="1332"/>
                  </a:cubicBezTo>
                  <a:cubicBezTo>
                    <a:pt x="347" y="1262"/>
                    <a:pt x="447" y="1224"/>
                    <a:pt x="552" y="1224"/>
                  </a:cubicBezTo>
                  <a:cubicBezTo>
                    <a:pt x="565" y="1224"/>
                    <a:pt x="577" y="1224"/>
                    <a:pt x="589" y="1225"/>
                  </a:cubicBezTo>
                  <a:cubicBezTo>
                    <a:pt x="696" y="1236"/>
                    <a:pt x="696" y="1236"/>
                    <a:pt x="696" y="1236"/>
                  </a:cubicBezTo>
                  <a:cubicBezTo>
                    <a:pt x="991" y="943"/>
                    <a:pt x="991" y="943"/>
                    <a:pt x="991" y="943"/>
                  </a:cubicBezTo>
                  <a:cubicBezTo>
                    <a:pt x="1114" y="821"/>
                    <a:pt x="1114" y="821"/>
                    <a:pt x="1114" y="821"/>
                  </a:cubicBezTo>
                  <a:cubicBezTo>
                    <a:pt x="1356" y="581"/>
                    <a:pt x="1356" y="581"/>
                    <a:pt x="1356" y="581"/>
                  </a:cubicBezTo>
                  <a:cubicBezTo>
                    <a:pt x="1347" y="460"/>
                    <a:pt x="1347" y="460"/>
                    <a:pt x="1347" y="460"/>
                  </a:cubicBezTo>
                  <a:cubicBezTo>
                    <a:pt x="1336" y="343"/>
                    <a:pt x="1376" y="228"/>
                    <a:pt x="1456" y="146"/>
                  </a:cubicBezTo>
                  <a:cubicBezTo>
                    <a:pt x="1462" y="140"/>
                    <a:pt x="1462" y="140"/>
                    <a:pt x="1462" y="140"/>
                  </a:cubicBezTo>
                  <a:cubicBezTo>
                    <a:pt x="1729" y="105"/>
                    <a:pt x="1729" y="105"/>
                    <a:pt x="1729" y="105"/>
                  </a:cubicBezTo>
                  <a:cubicBezTo>
                    <a:pt x="1463" y="370"/>
                    <a:pt x="1463" y="370"/>
                    <a:pt x="1463" y="370"/>
                  </a:cubicBezTo>
                  <a:cubicBezTo>
                    <a:pt x="1726" y="633"/>
                    <a:pt x="1726" y="633"/>
                    <a:pt x="1726" y="633"/>
                  </a:cubicBezTo>
                  <a:cubicBezTo>
                    <a:pt x="1990" y="368"/>
                    <a:pt x="1990" y="368"/>
                    <a:pt x="1990" y="368"/>
                  </a:cubicBezTo>
                  <a:cubicBezTo>
                    <a:pt x="1951" y="632"/>
                    <a:pt x="1951" y="632"/>
                    <a:pt x="1951" y="632"/>
                  </a:cubicBezTo>
                  <a:cubicBezTo>
                    <a:pt x="1945" y="638"/>
                    <a:pt x="1945" y="638"/>
                    <a:pt x="1945" y="638"/>
                  </a:cubicBezTo>
                  <a:cubicBezTo>
                    <a:pt x="1868" y="708"/>
                    <a:pt x="1768" y="746"/>
                    <a:pt x="1663" y="746"/>
                  </a:cubicBezTo>
                  <a:cubicBezTo>
                    <a:pt x="1650" y="746"/>
                    <a:pt x="1638" y="745"/>
                    <a:pt x="1626" y="744"/>
                  </a:cubicBezTo>
                  <a:cubicBezTo>
                    <a:pt x="1519" y="733"/>
                    <a:pt x="1519" y="733"/>
                    <a:pt x="1519" y="733"/>
                  </a:cubicBezTo>
                  <a:lnTo>
                    <a:pt x="1104" y="1144"/>
                  </a:lnTo>
                  <a:close/>
                  <a:moveTo>
                    <a:pt x="1926" y="1761"/>
                  </a:moveTo>
                  <a:cubicBezTo>
                    <a:pt x="1905" y="1782"/>
                    <a:pt x="1879" y="1792"/>
                    <a:pt x="1848" y="1792"/>
                  </a:cubicBezTo>
                  <a:cubicBezTo>
                    <a:pt x="1822" y="1792"/>
                    <a:pt x="1794" y="1781"/>
                    <a:pt x="1771" y="1762"/>
                  </a:cubicBezTo>
                  <a:cubicBezTo>
                    <a:pt x="1770" y="1761"/>
                    <a:pt x="1770" y="1761"/>
                    <a:pt x="1770" y="1761"/>
                  </a:cubicBezTo>
                  <a:cubicBezTo>
                    <a:pt x="1183" y="1171"/>
                    <a:pt x="1183" y="1171"/>
                    <a:pt x="1183" y="1171"/>
                  </a:cubicBezTo>
                  <a:cubicBezTo>
                    <a:pt x="1339" y="1014"/>
                    <a:pt x="1339" y="1014"/>
                    <a:pt x="1339" y="1014"/>
                  </a:cubicBezTo>
                  <a:cubicBezTo>
                    <a:pt x="1926" y="1604"/>
                    <a:pt x="1926" y="1604"/>
                    <a:pt x="1926" y="1604"/>
                  </a:cubicBezTo>
                  <a:cubicBezTo>
                    <a:pt x="1947" y="1625"/>
                    <a:pt x="1959" y="1653"/>
                    <a:pt x="1959" y="1683"/>
                  </a:cubicBezTo>
                  <a:cubicBezTo>
                    <a:pt x="1959" y="1712"/>
                    <a:pt x="1947" y="1740"/>
                    <a:pt x="1926" y="1761"/>
                  </a:cubicBezTo>
                  <a:close/>
                </a:path>
              </a:pathLst>
            </a:custGeom>
            <a:solidFill>
              <a:schemeClr val="tx2"/>
            </a:solidFill>
            <a:ln>
              <a:noFill/>
            </a:ln>
          </p:spPr>
          <p:txBody>
            <a:bodyPr vert="horz" wrap="square" lIns="89629" tIns="44815" rIns="89629" bIns="44815" numCol="1" anchor="t" anchorCtr="0" compatLnSpc="1">
              <a:prstTxWarp prst="textNoShape">
                <a:avLst/>
              </a:prstTxWarp>
            </a:bodyPr>
            <a:lstStyle/>
            <a:p>
              <a:pPr algn="ctr" defTabSz="914191">
                <a:defRPr/>
              </a:pPr>
              <a:endParaRPr lang="en-US" sz="1764">
                <a:solidFill>
                  <a:srgbClr val="353535"/>
                </a:solidFill>
                <a:latin typeface="Segoe UI Semilight"/>
              </a:endParaRPr>
            </a:p>
          </p:txBody>
        </p:sp>
        <p:sp>
          <p:nvSpPr>
            <p:cNvPr id="403" name="Rectangle 402">
              <a:extLst>
                <a:ext uri="{FF2B5EF4-FFF2-40B4-BE49-F238E27FC236}">
                  <a16:creationId xmlns:a16="http://schemas.microsoft.com/office/drawing/2014/main" id="{B91BD330-18A3-4AB2-96A6-EF97B90AFDD9}"/>
                </a:ext>
              </a:extLst>
            </p:cNvPr>
            <p:cNvSpPr/>
            <p:nvPr/>
          </p:nvSpPr>
          <p:spPr>
            <a:xfrm>
              <a:off x="4896427" y="4582261"/>
              <a:ext cx="719631" cy="111368"/>
            </a:xfrm>
            <a:prstGeom prst="rect">
              <a:avLst/>
            </a:prstGeom>
            <a:noFill/>
            <a:ln w="25400" cap="flat" cmpd="sng" algn="ctr">
              <a:noFill/>
              <a:prstDash val="solid"/>
            </a:ln>
            <a:effectLst/>
          </p:spPr>
          <p:txBody>
            <a:bodyPr rot="0" spcFirstLastPara="0" vertOverflow="overflow" horzOverflow="overflow" vert="horz" wrap="square" lIns="89629" tIns="89629" rIns="89629" bIns="89629" numCol="1" spcCol="0" rtlCol="0" fromWordArt="0" anchor="ctr" anchorCtr="0" forceAA="0" compatLnSpc="1">
              <a:prstTxWarp prst="textNoShape">
                <a:avLst/>
              </a:prstTxWarp>
              <a:noAutofit/>
            </a:bodyPr>
            <a:lstStyle/>
            <a:p>
              <a:pPr algn="ctr" defTabSz="896214">
                <a:defRPr/>
              </a:pPr>
              <a:r>
                <a:rPr lang="en-US" sz="900" kern="0">
                  <a:gradFill>
                    <a:gsLst>
                      <a:gs pos="66667">
                        <a:schemeClr val="tx1"/>
                      </a:gs>
                      <a:gs pos="37000">
                        <a:schemeClr val="tx1"/>
                      </a:gs>
                    </a:gsLst>
                    <a:lin ang="0" scaled="1"/>
                  </a:gradFill>
                  <a:latin typeface="Segoe UI Semilight"/>
                </a:rPr>
                <a:t>Services</a:t>
              </a:r>
            </a:p>
          </p:txBody>
        </p:sp>
      </p:grpSp>
      <p:grpSp>
        <p:nvGrpSpPr>
          <p:cNvPr id="17" name="Group 16">
            <a:extLst>
              <a:ext uri="{FF2B5EF4-FFF2-40B4-BE49-F238E27FC236}">
                <a16:creationId xmlns:a16="http://schemas.microsoft.com/office/drawing/2014/main" id="{5460A761-44F3-4647-B09A-7E7E68C053BD}"/>
              </a:ext>
            </a:extLst>
          </p:cNvPr>
          <p:cNvGrpSpPr/>
          <p:nvPr/>
        </p:nvGrpSpPr>
        <p:grpSpPr>
          <a:xfrm>
            <a:off x="5419436" y="3309489"/>
            <a:ext cx="313381" cy="192850"/>
            <a:chOff x="5391150" y="3265170"/>
            <a:chExt cx="445770" cy="285750"/>
          </a:xfrm>
        </p:grpSpPr>
        <p:sp>
          <p:nvSpPr>
            <p:cNvPr id="16" name="Freeform: Shape 15">
              <a:extLst>
                <a:ext uri="{FF2B5EF4-FFF2-40B4-BE49-F238E27FC236}">
                  <a16:creationId xmlns:a16="http://schemas.microsoft.com/office/drawing/2014/main" id="{D2B065F3-E669-478A-B469-24370DA89879}"/>
                </a:ext>
              </a:extLst>
            </p:cNvPr>
            <p:cNvSpPr/>
            <p:nvPr/>
          </p:nvSpPr>
          <p:spPr bwMode="auto">
            <a:xfrm>
              <a:off x="5406390" y="326517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sp>
          <p:nvSpPr>
            <p:cNvPr id="151" name="Freeform: Shape 150">
              <a:extLst>
                <a:ext uri="{FF2B5EF4-FFF2-40B4-BE49-F238E27FC236}">
                  <a16:creationId xmlns:a16="http://schemas.microsoft.com/office/drawing/2014/main" id="{98F94F87-2288-4691-9790-C5F9BBBE81E9}"/>
                </a:ext>
              </a:extLst>
            </p:cNvPr>
            <p:cNvSpPr/>
            <p:nvPr/>
          </p:nvSpPr>
          <p:spPr bwMode="auto">
            <a:xfrm flipH="1" flipV="1">
              <a:off x="5391150" y="329565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grpSp>
      <p:grpSp>
        <p:nvGrpSpPr>
          <p:cNvPr id="153" name="Group 152">
            <a:extLst>
              <a:ext uri="{FF2B5EF4-FFF2-40B4-BE49-F238E27FC236}">
                <a16:creationId xmlns:a16="http://schemas.microsoft.com/office/drawing/2014/main" id="{EB04B214-620D-47F8-A12B-810D541EA086}"/>
              </a:ext>
            </a:extLst>
          </p:cNvPr>
          <p:cNvGrpSpPr/>
          <p:nvPr/>
        </p:nvGrpSpPr>
        <p:grpSpPr>
          <a:xfrm rot="3581051">
            <a:off x="6055388" y="2938297"/>
            <a:ext cx="325699" cy="200430"/>
            <a:chOff x="5391150" y="3265170"/>
            <a:chExt cx="445770" cy="285750"/>
          </a:xfrm>
        </p:grpSpPr>
        <p:sp>
          <p:nvSpPr>
            <p:cNvPr id="154" name="Freeform: Shape 153">
              <a:extLst>
                <a:ext uri="{FF2B5EF4-FFF2-40B4-BE49-F238E27FC236}">
                  <a16:creationId xmlns:a16="http://schemas.microsoft.com/office/drawing/2014/main" id="{07126F65-4B87-442F-822C-16D513585A5F}"/>
                </a:ext>
              </a:extLst>
            </p:cNvPr>
            <p:cNvSpPr/>
            <p:nvPr/>
          </p:nvSpPr>
          <p:spPr bwMode="auto">
            <a:xfrm>
              <a:off x="5406390" y="326517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sp>
          <p:nvSpPr>
            <p:cNvPr id="155" name="Freeform: Shape 154">
              <a:extLst>
                <a:ext uri="{FF2B5EF4-FFF2-40B4-BE49-F238E27FC236}">
                  <a16:creationId xmlns:a16="http://schemas.microsoft.com/office/drawing/2014/main" id="{33C1FFCA-6129-4346-9A3F-DA90C2E29EFB}"/>
                </a:ext>
              </a:extLst>
            </p:cNvPr>
            <p:cNvSpPr/>
            <p:nvPr/>
          </p:nvSpPr>
          <p:spPr bwMode="auto">
            <a:xfrm flipH="1" flipV="1">
              <a:off x="5391150" y="329565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grpSp>
      <p:grpSp>
        <p:nvGrpSpPr>
          <p:cNvPr id="156" name="Group 155">
            <a:extLst>
              <a:ext uri="{FF2B5EF4-FFF2-40B4-BE49-F238E27FC236}">
                <a16:creationId xmlns:a16="http://schemas.microsoft.com/office/drawing/2014/main" id="{58BE626A-802A-4EBB-8C40-2043B9C4B7A3}"/>
              </a:ext>
            </a:extLst>
          </p:cNvPr>
          <p:cNvGrpSpPr/>
          <p:nvPr/>
        </p:nvGrpSpPr>
        <p:grpSpPr>
          <a:xfrm rot="3581051">
            <a:off x="6033163" y="4363316"/>
            <a:ext cx="370148" cy="227783"/>
            <a:chOff x="5391150" y="3265170"/>
            <a:chExt cx="445770" cy="285750"/>
          </a:xfrm>
        </p:grpSpPr>
        <p:sp>
          <p:nvSpPr>
            <p:cNvPr id="157" name="Freeform: Shape 156">
              <a:extLst>
                <a:ext uri="{FF2B5EF4-FFF2-40B4-BE49-F238E27FC236}">
                  <a16:creationId xmlns:a16="http://schemas.microsoft.com/office/drawing/2014/main" id="{D148459E-040B-45FD-A504-78DC2AE4671C}"/>
                </a:ext>
              </a:extLst>
            </p:cNvPr>
            <p:cNvSpPr/>
            <p:nvPr/>
          </p:nvSpPr>
          <p:spPr bwMode="auto">
            <a:xfrm>
              <a:off x="5406390" y="326517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sp>
          <p:nvSpPr>
            <p:cNvPr id="158" name="Freeform: Shape 157">
              <a:extLst>
                <a:ext uri="{FF2B5EF4-FFF2-40B4-BE49-F238E27FC236}">
                  <a16:creationId xmlns:a16="http://schemas.microsoft.com/office/drawing/2014/main" id="{B7AC0999-5E28-4E3A-B156-2EED2ABA67DB}"/>
                </a:ext>
              </a:extLst>
            </p:cNvPr>
            <p:cNvSpPr/>
            <p:nvPr/>
          </p:nvSpPr>
          <p:spPr bwMode="auto">
            <a:xfrm flipH="1" flipV="1">
              <a:off x="5391150" y="329565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grpSp>
      <p:grpSp>
        <p:nvGrpSpPr>
          <p:cNvPr id="159" name="Group 158">
            <a:extLst>
              <a:ext uri="{FF2B5EF4-FFF2-40B4-BE49-F238E27FC236}">
                <a16:creationId xmlns:a16="http://schemas.microsoft.com/office/drawing/2014/main" id="{840F559C-8AAE-448E-8A26-44F86D659A29}"/>
              </a:ext>
            </a:extLst>
          </p:cNvPr>
          <p:cNvGrpSpPr/>
          <p:nvPr/>
        </p:nvGrpSpPr>
        <p:grpSpPr>
          <a:xfrm rot="18183302">
            <a:off x="5382261" y="3962728"/>
            <a:ext cx="330229" cy="203217"/>
            <a:chOff x="5391150" y="3265170"/>
            <a:chExt cx="445770" cy="285750"/>
          </a:xfrm>
        </p:grpSpPr>
        <p:sp>
          <p:nvSpPr>
            <p:cNvPr id="160" name="Freeform: Shape 159">
              <a:extLst>
                <a:ext uri="{FF2B5EF4-FFF2-40B4-BE49-F238E27FC236}">
                  <a16:creationId xmlns:a16="http://schemas.microsoft.com/office/drawing/2014/main" id="{59D31FD9-2DC4-4936-9D29-1B26287EFBFB}"/>
                </a:ext>
              </a:extLst>
            </p:cNvPr>
            <p:cNvSpPr/>
            <p:nvPr/>
          </p:nvSpPr>
          <p:spPr bwMode="auto">
            <a:xfrm>
              <a:off x="5406390" y="326517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sp>
          <p:nvSpPr>
            <p:cNvPr id="161" name="Freeform: Shape 160">
              <a:extLst>
                <a:ext uri="{FF2B5EF4-FFF2-40B4-BE49-F238E27FC236}">
                  <a16:creationId xmlns:a16="http://schemas.microsoft.com/office/drawing/2014/main" id="{D5E0D961-41C0-4012-A029-5F5B12BE5FB9}"/>
                </a:ext>
              </a:extLst>
            </p:cNvPr>
            <p:cNvSpPr/>
            <p:nvPr/>
          </p:nvSpPr>
          <p:spPr bwMode="auto">
            <a:xfrm flipH="1" flipV="1">
              <a:off x="5391150" y="329565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grpSp>
      <p:grpSp>
        <p:nvGrpSpPr>
          <p:cNvPr id="162" name="Group 161">
            <a:extLst>
              <a:ext uri="{FF2B5EF4-FFF2-40B4-BE49-F238E27FC236}">
                <a16:creationId xmlns:a16="http://schemas.microsoft.com/office/drawing/2014/main" id="{D5A89DB7-F0BE-4DDE-B759-F5739AE00C7D}"/>
              </a:ext>
            </a:extLst>
          </p:cNvPr>
          <p:cNvGrpSpPr/>
          <p:nvPr/>
        </p:nvGrpSpPr>
        <p:grpSpPr>
          <a:xfrm flipH="1">
            <a:off x="6736636" y="3286174"/>
            <a:ext cx="351270" cy="216166"/>
            <a:chOff x="5391150" y="3265170"/>
            <a:chExt cx="445770" cy="285750"/>
          </a:xfrm>
        </p:grpSpPr>
        <p:sp>
          <p:nvSpPr>
            <p:cNvPr id="163" name="Freeform: Shape 162">
              <a:extLst>
                <a:ext uri="{FF2B5EF4-FFF2-40B4-BE49-F238E27FC236}">
                  <a16:creationId xmlns:a16="http://schemas.microsoft.com/office/drawing/2014/main" id="{D0A88B4A-C475-4E10-8988-E85F1300AAB5}"/>
                </a:ext>
              </a:extLst>
            </p:cNvPr>
            <p:cNvSpPr/>
            <p:nvPr/>
          </p:nvSpPr>
          <p:spPr bwMode="auto">
            <a:xfrm>
              <a:off x="5406390" y="326517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sp>
          <p:nvSpPr>
            <p:cNvPr id="164" name="Freeform: Shape 163">
              <a:extLst>
                <a:ext uri="{FF2B5EF4-FFF2-40B4-BE49-F238E27FC236}">
                  <a16:creationId xmlns:a16="http://schemas.microsoft.com/office/drawing/2014/main" id="{37FC9B8B-FD38-4724-8E4B-F9B484DFB798}"/>
                </a:ext>
              </a:extLst>
            </p:cNvPr>
            <p:cNvSpPr/>
            <p:nvPr/>
          </p:nvSpPr>
          <p:spPr bwMode="auto">
            <a:xfrm flipH="1" flipV="1">
              <a:off x="5391150" y="329565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grpSp>
      <p:grpSp>
        <p:nvGrpSpPr>
          <p:cNvPr id="165" name="Group 164">
            <a:extLst>
              <a:ext uri="{FF2B5EF4-FFF2-40B4-BE49-F238E27FC236}">
                <a16:creationId xmlns:a16="http://schemas.microsoft.com/office/drawing/2014/main" id="{E319DE73-4CF1-4D9D-B008-404E919E03A4}"/>
              </a:ext>
            </a:extLst>
          </p:cNvPr>
          <p:cNvGrpSpPr/>
          <p:nvPr/>
        </p:nvGrpSpPr>
        <p:grpSpPr>
          <a:xfrm rot="3416698" flipH="1">
            <a:off x="6723701" y="4006816"/>
            <a:ext cx="296330" cy="182357"/>
            <a:chOff x="5391150" y="3265170"/>
            <a:chExt cx="445770" cy="285750"/>
          </a:xfrm>
        </p:grpSpPr>
        <p:sp>
          <p:nvSpPr>
            <p:cNvPr id="166" name="Freeform: Shape 165">
              <a:extLst>
                <a:ext uri="{FF2B5EF4-FFF2-40B4-BE49-F238E27FC236}">
                  <a16:creationId xmlns:a16="http://schemas.microsoft.com/office/drawing/2014/main" id="{4185B37D-5B74-4D9B-9A42-0907B623AC5A}"/>
                </a:ext>
              </a:extLst>
            </p:cNvPr>
            <p:cNvSpPr/>
            <p:nvPr/>
          </p:nvSpPr>
          <p:spPr bwMode="auto">
            <a:xfrm>
              <a:off x="5406390" y="326517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sp>
          <p:nvSpPr>
            <p:cNvPr id="167" name="Freeform: Shape 166">
              <a:extLst>
                <a:ext uri="{FF2B5EF4-FFF2-40B4-BE49-F238E27FC236}">
                  <a16:creationId xmlns:a16="http://schemas.microsoft.com/office/drawing/2014/main" id="{2F33DD73-C14F-4789-BAA4-BF28494C74E9}"/>
                </a:ext>
              </a:extLst>
            </p:cNvPr>
            <p:cNvSpPr/>
            <p:nvPr/>
          </p:nvSpPr>
          <p:spPr bwMode="auto">
            <a:xfrm flipH="1" flipV="1">
              <a:off x="5391150" y="3295650"/>
              <a:ext cx="430530" cy="255270"/>
            </a:xfrm>
            <a:custGeom>
              <a:avLst/>
              <a:gdLst>
                <a:gd name="connsiteX0" fmla="*/ 0 w 430530"/>
                <a:gd name="connsiteY0" fmla="*/ 0 h 255270"/>
                <a:gd name="connsiteX1" fmla="*/ 430530 w 430530"/>
                <a:gd name="connsiteY1" fmla="*/ 255270 h 255270"/>
                <a:gd name="connsiteX2" fmla="*/ 392430 w 430530"/>
                <a:gd name="connsiteY2" fmla="*/ 186690 h 255270"/>
              </a:gdLst>
              <a:ahLst/>
              <a:cxnLst>
                <a:cxn ang="0">
                  <a:pos x="connsiteX0" y="connsiteY0"/>
                </a:cxn>
                <a:cxn ang="0">
                  <a:pos x="connsiteX1" y="connsiteY1"/>
                </a:cxn>
                <a:cxn ang="0">
                  <a:pos x="connsiteX2" y="connsiteY2"/>
                </a:cxn>
              </a:cxnLst>
              <a:rect l="l" t="t" r="r" b="b"/>
              <a:pathLst>
                <a:path w="430530" h="255270">
                  <a:moveTo>
                    <a:pt x="0" y="0"/>
                  </a:moveTo>
                  <a:lnTo>
                    <a:pt x="430530" y="255270"/>
                  </a:lnTo>
                  <a:lnTo>
                    <a:pt x="392430" y="186690"/>
                  </a:lnTo>
                </a:path>
              </a:pathLst>
            </a:custGeom>
            <a:noFill/>
            <a:ln>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97"/>
              <a:endParaRPr lang="en-IN" sz="1836">
                <a:solidFill>
                  <a:srgbClr val="FFFFFF"/>
                </a:solidFill>
                <a:latin typeface="Segoe UI Semilight"/>
              </a:endParaRPr>
            </a:p>
          </p:txBody>
        </p:sp>
      </p:grpSp>
      <p:grpSp>
        <p:nvGrpSpPr>
          <p:cNvPr id="5" name="Group 4"/>
          <p:cNvGrpSpPr/>
          <p:nvPr/>
        </p:nvGrpSpPr>
        <p:grpSpPr>
          <a:xfrm>
            <a:off x="5781206" y="3265858"/>
            <a:ext cx="889592" cy="733144"/>
            <a:chOff x="5872208" y="3303595"/>
            <a:chExt cx="889592" cy="733144"/>
          </a:xfrm>
        </p:grpSpPr>
        <p:grpSp>
          <p:nvGrpSpPr>
            <p:cNvPr id="136" name="Group 5">
              <a:extLst/>
            </p:cNvPr>
            <p:cNvGrpSpPr>
              <a:grpSpLocks noChangeAspect="1"/>
            </p:cNvGrpSpPr>
            <p:nvPr/>
          </p:nvGrpSpPr>
          <p:grpSpPr bwMode="auto">
            <a:xfrm>
              <a:off x="5872208" y="3303595"/>
              <a:ext cx="650095" cy="668411"/>
              <a:chOff x="5287" y="1866"/>
              <a:chExt cx="284" cy="292"/>
            </a:xfrm>
            <a:solidFill>
              <a:schemeClr val="tx2"/>
            </a:solidFill>
          </p:grpSpPr>
          <p:sp>
            <p:nvSpPr>
              <p:cNvPr id="139" name="Freeform 6">
                <a:extLst/>
              </p:cNvPr>
              <p:cNvSpPr>
                <a:spLocks/>
              </p:cNvSpPr>
              <p:nvPr/>
            </p:nvSpPr>
            <p:spPr bwMode="auto">
              <a:xfrm>
                <a:off x="5466" y="2040"/>
                <a:ext cx="1" cy="1"/>
              </a:xfrm>
              <a:custGeom>
                <a:avLst/>
                <a:gdLst>
                  <a:gd name="T0" fmla="*/ 10 w 20"/>
                  <a:gd name="T1" fmla="*/ 2 h 8"/>
                  <a:gd name="T2" fmla="*/ 10 w 20"/>
                  <a:gd name="T3" fmla="*/ 2 h 8"/>
                  <a:gd name="T4" fmla="*/ 10 w 20"/>
                  <a:gd name="T5" fmla="*/ 2 h 8"/>
                </a:gdLst>
                <a:ahLst/>
                <a:cxnLst>
                  <a:cxn ang="0">
                    <a:pos x="T0" y="T1"/>
                  </a:cxn>
                  <a:cxn ang="0">
                    <a:pos x="T2" y="T3"/>
                  </a:cxn>
                  <a:cxn ang="0">
                    <a:pos x="T4" y="T5"/>
                  </a:cxn>
                </a:cxnLst>
                <a:rect l="0" t="0" r="r" b="b"/>
                <a:pathLst>
                  <a:path w="20" h="8">
                    <a:moveTo>
                      <a:pt x="10" y="2"/>
                    </a:moveTo>
                    <a:lnTo>
                      <a:pt x="10" y="2"/>
                    </a:lnTo>
                    <a:cubicBezTo>
                      <a:pt x="0" y="0"/>
                      <a:pt x="20" y="8"/>
                      <a:pt x="10" y="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lgn="ctr" defTabSz="932563"/>
                <a:endParaRPr lang="en-US">
                  <a:solidFill>
                    <a:srgbClr val="353535"/>
                  </a:solidFill>
                  <a:latin typeface="Segoe UI Semilight"/>
                </a:endParaRPr>
              </a:p>
            </p:txBody>
          </p:sp>
          <p:sp>
            <p:nvSpPr>
              <p:cNvPr id="140" name="Freeform 7">
                <a:extLst/>
              </p:cNvPr>
              <p:cNvSpPr>
                <a:spLocks/>
              </p:cNvSpPr>
              <p:nvPr/>
            </p:nvSpPr>
            <p:spPr bwMode="auto">
              <a:xfrm>
                <a:off x="5391" y="2040"/>
                <a:ext cx="1" cy="0"/>
              </a:xfrm>
              <a:custGeom>
                <a:avLst/>
                <a:gdLst>
                  <a:gd name="T0" fmla="*/ 10 w 20"/>
                  <a:gd name="T1" fmla="*/ 2 h 6"/>
                  <a:gd name="T2" fmla="*/ 10 w 20"/>
                  <a:gd name="T3" fmla="*/ 2 h 6"/>
                  <a:gd name="T4" fmla="*/ 10 w 20"/>
                  <a:gd name="T5" fmla="*/ 2 h 6"/>
                </a:gdLst>
                <a:ahLst/>
                <a:cxnLst>
                  <a:cxn ang="0">
                    <a:pos x="T0" y="T1"/>
                  </a:cxn>
                  <a:cxn ang="0">
                    <a:pos x="T2" y="T3"/>
                  </a:cxn>
                  <a:cxn ang="0">
                    <a:pos x="T4" y="T5"/>
                  </a:cxn>
                </a:cxnLst>
                <a:rect l="0" t="0" r="r" b="b"/>
                <a:pathLst>
                  <a:path w="20" h="6">
                    <a:moveTo>
                      <a:pt x="10" y="2"/>
                    </a:moveTo>
                    <a:lnTo>
                      <a:pt x="10" y="2"/>
                    </a:lnTo>
                    <a:cubicBezTo>
                      <a:pt x="0" y="6"/>
                      <a:pt x="20" y="0"/>
                      <a:pt x="10" y="2"/>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lgn="ctr" defTabSz="932563"/>
                <a:endParaRPr lang="en-US">
                  <a:solidFill>
                    <a:srgbClr val="353535"/>
                  </a:solidFill>
                  <a:latin typeface="Segoe UI Semilight"/>
                </a:endParaRPr>
              </a:p>
            </p:txBody>
          </p:sp>
          <p:sp>
            <p:nvSpPr>
              <p:cNvPr id="141" name="Freeform 8">
                <a:extLst/>
              </p:cNvPr>
              <p:cNvSpPr>
                <a:spLocks noEditPoints="1"/>
              </p:cNvSpPr>
              <p:nvPr/>
            </p:nvSpPr>
            <p:spPr bwMode="auto">
              <a:xfrm>
                <a:off x="5287" y="2032"/>
                <a:ext cx="284" cy="126"/>
              </a:xfrm>
              <a:custGeom>
                <a:avLst/>
                <a:gdLst>
                  <a:gd name="T0" fmla="*/ 4396 w 4576"/>
                  <a:gd name="T1" fmla="*/ 1825 h 2008"/>
                  <a:gd name="T2" fmla="*/ 4396 w 4576"/>
                  <a:gd name="T3" fmla="*/ 1825 h 2008"/>
                  <a:gd name="T4" fmla="*/ 4286 w 4576"/>
                  <a:gd name="T5" fmla="*/ 1858 h 2008"/>
                  <a:gd name="T6" fmla="*/ 290 w 4576"/>
                  <a:gd name="T7" fmla="*/ 1858 h 2008"/>
                  <a:gd name="T8" fmla="*/ 179 w 4576"/>
                  <a:gd name="T9" fmla="*/ 1825 h 2008"/>
                  <a:gd name="T10" fmla="*/ 160 w 4576"/>
                  <a:gd name="T11" fmla="*/ 1714 h 2008"/>
                  <a:gd name="T12" fmla="*/ 336 w 4576"/>
                  <a:gd name="T13" fmla="*/ 629 h 2008"/>
                  <a:gd name="T14" fmla="*/ 529 w 4576"/>
                  <a:gd name="T15" fmla="*/ 375 h 2008"/>
                  <a:gd name="T16" fmla="*/ 1314 w 4576"/>
                  <a:gd name="T17" fmla="*/ 171 h 2008"/>
                  <a:gd name="T18" fmla="*/ 1900 w 4576"/>
                  <a:gd name="T19" fmla="*/ 1499 h 2008"/>
                  <a:gd name="T20" fmla="*/ 1977 w 4576"/>
                  <a:gd name="T21" fmla="*/ 1543 h 2008"/>
                  <a:gd name="T22" fmla="*/ 2043 w 4576"/>
                  <a:gd name="T23" fmla="*/ 1483 h 2008"/>
                  <a:gd name="T24" fmla="*/ 2175 w 4576"/>
                  <a:gd name="T25" fmla="*/ 813 h 2008"/>
                  <a:gd name="T26" fmla="*/ 2400 w 4576"/>
                  <a:gd name="T27" fmla="*/ 813 h 2008"/>
                  <a:gd name="T28" fmla="*/ 2532 w 4576"/>
                  <a:gd name="T29" fmla="*/ 1483 h 2008"/>
                  <a:gd name="T30" fmla="*/ 2598 w 4576"/>
                  <a:gd name="T31" fmla="*/ 1543 h 2008"/>
                  <a:gd name="T32" fmla="*/ 2675 w 4576"/>
                  <a:gd name="T33" fmla="*/ 1499 h 2008"/>
                  <a:gd name="T34" fmla="*/ 3261 w 4576"/>
                  <a:gd name="T35" fmla="*/ 171 h 2008"/>
                  <a:gd name="T36" fmla="*/ 4046 w 4576"/>
                  <a:gd name="T37" fmla="*/ 375 h 2008"/>
                  <a:gd name="T38" fmla="*/ 4240 w 4576"/>
                  <a:gd name="T39" fmla="*/ 632 h 2008"/>
                  <a:gd name="T40" fmla="*/ 4414 w 4576"/>
                  <a:gd name="T41" fmla="*/ 1712 h 2008"/>
                  <a:gd name="T42" fmla="*/ 4396 w 4576"/>
                  <a:gd name="T43" fmla="*/ 1825 h 2008"/>
                  <a:gd name="T44" fmla="*/ 2030 w 4576"/>
                  <a:gd name="T45" fmla="*/ 404 h 2008"/>
                  <a:gd name="T46" fmla="*/ 2030 w 4576"/>
                  <a:gd name="T47" fmla="*/ 404 h 2008"/>
                  <a:gd name="T48" fmla="*/ 2144 w 4576"/>
                  <a:gd name="T49" fmla="*/ 290 h 2008"/>
                  <a:gd name="T50" fmla="*/ 2431 w 4576"/>
                  <a:gd name="T51" fmla="*/ 290 h 2008"/>
                  <a:gd name="T52" fmla="*/ 2544 w 4576"/>
                  <a:gd name="T53" fmla="*/ 404 h 2008"/>
                  <a:gd name="T54" fmla="*/ 2415 w 4576"/>
                  <a:gd name="T55" fmla="*/ 662 h 2008"/>
                  <a:gd name="T56" fmla="*/ 2160 w 4576"/>
                  <a:gd name="T57" fmla="*/ 662 h 2008"/>
                  <a:gd name="T58" fmla="*/ 2030 w 4576"/>
                  <a:gd name="T59" fmla="*/ 404 h 2008"/>
                  <a:gd name="T60" fmla="*/ 4389 w 4576"/>
                  <a:gd name="T61" fmla="*/ 611 h 2008"/>
                  <a:gd name="T62" fmla="*/ 4389 w 4576"/>
                  <a:gd name="T63" fmla="*/ 611 h 2008"/>
                  <a:gd name="T64" fmla="*/ 4097 w 4576"/>
                  <a:gd name="T65" fmla="*/ 233 h 2008"/>
                  <a:gd name="T66" fmla="*/ 4088 w 4576"/>
                  <a:gd name="T67" fmla="*/ 230 h 2008"/>
                  <a:gd name="T68" fmla="*/ 3236 w 4576"/>
                  <a:gd name="T69" fmla="*/ 9 h 2008"/>
                  <a:gd name="T70" fmla="*/ 3149 w 4576"/>
                  <a:gd name="T71" fmla="*/ 52 h 2008"/>
                  <a:gd name="T72" fmla="*/ 2634 w 4576"/>
                  <a:gd name="T73" fmla="*/ 1219 h 2008"/>
                  <a:gd name="T74" fmla="*/ 2541 w 4576"/>
                  <a:gd name="T75" fmla="*/ 749 h 2008"/>
                  <a:gd name="T76" fmla="*/ 2704 w 4576"/>
                  <a:gd name="T77" fmla="*/ 423 h 2008"/>
                  <a:gd name="T78" fmla="*/ 2690 w 4576"/>
                  <a:gd name="T79" fmla="*/ 336 h 2008"/>
                  <a:gd name="T80" fmla="*/ 2515 w 4576"/>
                  <a:gd name="T81" fmla="*/ 161 h 2008"/>
                  <a:gd name="T82" fmla="*/ 2462 w 4576"/>
                  <a:gd name="T83" fmla="*/ 139 h 2008"/>
                  <a:gd name="T84" fmla="*/ 2113 w 4576"/>
                  <a:gd name="T85" fmla="*/ 139 h 2008"/>
                  <a:gd name="T86" fmla="*/ 2060 w 4576"/>
                  <a:gd name="T87" fmla="*/ 161 h 2008"/>
                  <a:gd name="T88" fmla="*/ 1885 w 4576"/>
                  <a:gd name="T89" fmla="*/ 336 h 2008"/>
                  <a:gd name="T90" fmla="*/ 1871 w 4576"/>
                  <a:gd name="T91" fmla="*/ 423 h 2008"/>
                  <a:gd name="T92" fmla="*/ 2034 w 4576"/>
                  <a:gd name="T93" fmla="*/ 749 h 2008"/>
                  <a:gd name="T94" fmla="*/ 1941 w 4576"/>
                  <a:gd name="T95" fmla="*/ 1219 h 2008"/>
                  <a:gd name="T96" fmla="*/ 1427 w 4576"/>
                  <a:gd name="T97" fmla="*/ 52 h 2008"/>
                  <a:gd name="T98" fmla="*/ 1339 w 4576"/>
                  <a:gd name="T99" fmla="*/ 9 h 2008"/>
                  <a:gd name="T100" fmla="*/ 487 w 4576"/>
                  <a:gd name="T101" fmla="*/ 230 h 2008"/>
                  <a:gd name="T102" fmla="*/ 478 w 4576"/>
                  <a:gd name="T103" fmla="*/ 233 h 2008"/>
                  <a:gd name="T104" fmla="*/ 186 w 4576"/>
                  <a:gd name="T105" fmla="*/ 608 h 2008"/>
                  <a:gd name="T106" fmla="*/ 11 w 4576"/>
                  <a:gd name="T107" fmla="*/ 1693 h 2008"/>
                  <a:gd name="T108" fmla="*/ 66 w 4576"/>
                  <a:gd name="T109" fmla="*/ 1925 h 2008"/>
                  <a:gd name="T110" fmla="*/ 290 w 4576"/>
                  <a:gd name="T111" fmla="*/ 2008 h 2008"/>
                  <a:gd name="T112" fmla="*/ 4286 w 4576"/>
                  <a:gd name="T113" fmla="*/ 2008 h 2008"/>
                  <a:gd name="T114" fmla="*/ 4509 w 4576"/>
                  <a:gd name="T115" fmla="*/ 1925 h 2008"/>
                  <a:gd name="T116" fmla="*/ 4564 w 4576"/>
                  <a:gd name="T117" fmla="*/ 1690 h 2008"/>
                  <a:gd name="T118" fmla="*/ 4389 w 4576"/>
                  <a:gd name="T119" fmla="*/ 611 h 2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76" h="2008">
                    <a:moveTo>
                      <a:pt x="4396" y="1825"/>
                    </a:moveTo>
                    <a:lnTo>
                      <a:pt x="4396" y="1825"/>
                    </a:lnTo>
                    <a:cubicBezTo>
                      <a:pt x="4372" y="1852"/>
                      <a:pt x="4323" y="1858"/>
                      <a:pt x="4286" y="1858"/>
                    </a:cubicBezTo>
                    <a:lnTo>
                      <a:pt x="290" y="1858"/>
                    </a:lnTo>
                    <a:cubicBezTo>
                      <a:pt x="252" y="1858"/>
                      <a:pt x="203" y="1852"/>
                      <a:pt x="179" y="1825"/>
                    </a:cubicBezTo>
                    <a:cubicBezTo>
                      <a:pt x="156" y="1798"/>
                      <a:pt x="156" y="1749"/>
                      <a:pt x="160" y="1714"/>
                    </a:cubicBezTo>
                    <a:lnTo>
                      <a:pt x="336" y="629"/>
                    </a:lnTo>
                    <a:cubicBezTo>
                      <a:pt x="354" y="479"/>
                      <a:pt x="391" y="430"/>
                      <a:pt x="529" y="375"/>
                    </a:cubicBezTo>
                    <a:lnTo>
                      <a:pt x="1314" y="171"/>
                    </a:lnTo>
                    <a:lnTo>
                      <a:pt x="1900" y="1499"/>
                    </a:lnTo>
                    <a:cubicBezTo>
                      <a:pt x="1913" y="1529"/>
                      <a:pt x="1944" y="1546"/>
                      <a:pt x="1977" y="1543"/>
                    </a:cubicBezTo>
                    <a:cubicBezTo>
                      <a:pt x="2010" y="1539"/>
                      <a:pt x="2036" y="1515"/>
                      <a:pt x="2043" y="1483"/>
                    </a:cubicBezTo>
                    <a:lnTo>
                      <a:pt x="2175" y="813"/>
                    </a:lnTo>
                    <a:lnTo>
                      <a:pt x="2400" y="813"/>
                    </a:lnTo>
                    <a:lnTo>
                      <a:pt x="2532" y="1483"/>
                    </a:lnTo>
                    <a:cubicBezTo>
                      <a:pt x="2539" y="1515"/>
                      <a:pt x="2565" y="1539"/>
                      <a:pt x="2598" y="1543"/>
                    </a:cubicBezTo>
                    <a:cubicBezTo>
                      <a:pt x="2630" y="1546"/>
                      <a:pt x="2662" y="1529"/>
                      <a:pt x="2675" y="1499"/>
                    </a:cubicBezTo>
                    <a:lnTo>
                      <a:pt x="3261" y="171"/>
                    </a:lnTo>
                    <a:lnTo>
                      <a:pt x="4046" y="375"/>
                    </a:lnTo>
                    <a:cubicBezTo>
                      <a:pt x="4184" y="430"/>
                      <a:pt x="4221" y="479"/>
                      <a:pt x="4240" y="632"/>
                    </a:cubicBezTo>
                    <a:lnTo>
                      <a:pt x="4414" y="1712"/>
                    </a:lnTo>
                    <a:cubicBezTo>
                      <a:pt x="4419" y="1749"/>
                      <a:pt x="4419" y="1798"/>
                      <a:pt x="4396" y="1825"/>
                    </a:cubicBezTo>
                    <a:close/>
                    <a:moveTo>
                      <a:pt x="2030" y="404"/>
                    </a:moveTo>
                    <a:lnTo>
                      <a:pt x="2030" y="404"/>
                    </a:lnTo>
                    <a:lnTo>
                      <a:pt x="2144" y="290"/>
                    </a:lnTo>
                    <a:lnTo>
                      <a:pt x="2431" y="290"/>
                    </a:lnTo>
                    <a:lnTo>
                      <a:pt x="2544" y="404"/>
                    </a:lnTo>
                    <a:lnTo>
                      <a:pt x="2415" y="662"/>
                    </a:lnTo>
                    <a:lnTo>
                      <a:pt x="2160" y="662"/>
                    </a:lnTo>
                    <a:lnTo>
                      <a:pt x="2030" y="404"/>
                    </a:lnTo>
                    <a:close/>
                    <a:moveTo>
                      <a:pt x="4389" y="611"/>
                    </a:moveTo>
                    <a:lnTo>
                      <a:pt x="4389" y="611"/>
                    </a:lnTo>
                    <a:cubicBezTo>
                      <a:pt x="4364" y="405"/>
                      <a:pt x="4290" y="309"/>
                      <a:pt x="4097" y="233"/>
                    </a:cubicBezTo>
                    <a:cubicBezTo>
                      <a:pt x="4094" y="232"/>
                      <a:pt x="4091" y="231"/>
                      <a:pt x="4088" y="230"/>
                    </a:cubicBezTo>
                    <a:lnTo>
                      <a:pt x="3236" y="9"/>
                    </a:lnTo>
                    <a:cubicBezTo>
                      <a:pt x="3201" y="0"/>
                      <a:pt x="3163" y="18"/>
                      <a:pt x="3149" y="52"/>
                    </a:cubicBezTo>
                    <a:lnTo>
                      <a:pt x="2634" y="1219"/>
                    </a:lnTo>
                    <a:lnTo>
                      <a:pt x="2541" y="749"/>
                    </a:lnTo>
                    <a:lnTo>
                      <a:pt x="2704" y="423"/>
                    </a:lnTo>
                    <a:cubicBezTo>
                      <a:pt x="2718" y="394"/>
                      <a:pt x="2713" y="359"/>
                      <a:pt x="2690" y="336"/>
                    </a:cubicBezTo>
                    <a:lnTo>
                      <a:pt x="2515" y="161"/>
                    </a:lnTo>
                    <a:cubicBezTo>
                      <a:pt x="2501" y="147"/>
                      <a:pt x="2482" y="139"/>
                      <a:pt x="2462" y="139"/>
                    </a:cubicBezTo>
                    <a:lnTo>
                      <a:pt x="2113" y="139"/>
                    </a:lnTo>
                    <a:cubicBezTo>
                      <a:pt x="2093" y="139"/>
                      <a:pt x="2074" y="147"/>
                      <a:pt x="2060" y="161"/>
                    </a:cubicBezTo>
                    <a:lnTo>
                      <a:pt x="1885" y="336"/>
                    </a:lnTo>
                    <a:cubicBezTo>
                      <a:pt x="1863" y="359"/>
                      <a:pt x="1857" y="394"/>
                      <a:pt x="1871" y="423"/>
                    </a:cubicBezTo>
                    <a:lnTo>
                      <a:pt x="2034" y="749"/>
                    </a:lnTo>
                    <a:lnTo>
                      <a:pt x="1941" y="1219"/>
                    </a:lnTo>
                    <a:lnTo>
                      <a:pt x="1427" y="52"/>
                    </a:lnTo>
                    <a:cubicBezTo>
                      <a:pt x="1412" y="18"/>
                      <a:pt x="1374" y="0"/>
                      <a:pt x="1339" y="9"/>
                    </a:cubicBezTo>
                    <a:lnTo>
                      <a:pt x="487" y="230"/>
                    </a:lnTo>
                    <a:cubicBezTo>
                      <a:pt x="484" y="231"/>
                      <a:pt x="481" y="232"/>
                      <a:pt x="478" y="233"/>
                    </a:cubicBezTo>
                    <a:cubicBezTo>
                      <a:pt x="285" y="310"/>
                      <a:pt x="212" y="405"/>
                      <a:pt x="186" y="608"/>
                    </a:cubicBezTo>
                    <a:lnTo>
                      <a:pt x="11" y="1693"/>
                    </a:lnTo>
                    <a:cubicBezTo>
                      <a:pt x="0" y="1792"/>
                      <a:pt x="17" y="1870"/>
                      <a:pt x="66" y="1925"/>
                    </a:cubicBezTo>
                    <a:cubicBezTo>
                      <a:pt x="115" y="1980"/>
                      <a:pt x="190" y="2008"/>
                      <a:pt x="290" y="2008"/>
                    </a:cubicBezTo>
                    <a:lnTo>
                      <a:pt x="4286" y="2008"/>
                    </a:lnTo>
                    <a:cubicBezTo>
                      <a:pt x="4385" y="2008"/>
                      <a:pt x="4460" y="1980"/>
                      <a:pt x="4509" y="1925"/>
                    </a:cubicBezTo>
                    <a:cubicBezTo>
                      <a:pt x="4558" y="1870"/>
                      <a:pt x="4576" y="1792"/>
                      <a:pt x="4564" y="1690"/>
                    </a:cubicBezTo>
                    <a:lnTo>
                      <a:pt x="4389" y="611"/>
                    </a:ln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lgn="ctr" defTabSz="932563"/>
                <a:endParaRPr lang="en-US">
                  <a:solidFill>
                    <a:srgbClr val="353535"/>
                  </a:solidFill>
                  <a:latin typeface="Segoe UI Semilight"/>
                </a:endParaRPr>
              </a:p>
            </p:txBody>
          </p:sp>
          <p:sp>
            <p:nvSpPr>
              <p:cNvPr id="142" name="Freeform 9">
                <a:extLst/>
              </p:cNvPr>
              <p:cNvSpPr>
                <a:spLocks noEditPoints="1"/>
              </p:cNvSpPr>
              <p:nvPr/>
            </p:nvSpPr>
            <p:spPr bwMode="auto">
              <a:xfrm>
                <a:off x="5356" y="1866"/>
                <a:ext cx="145" cy="163"/>
              </a:xfrm>
              <a:custGeom>
                <a:avLst/>
                <a:gdLst>
                  <a:gd name="T0" fmla="*/ 177 w 2336"/>
                  <a:gd name="T1" fmla="*/ 1356 h 2615"/>
                  <a:gd name="T2" fmla="*/ 177 w 2336"/>
                  <a:gd name="T3" fmla="*/ 1356 h 2615"/>
                  <a:gd name="T4" fmla="*/ 249 w 2336"/>
                  <a:gd name="T5" fmla="*/ 1296 h 2615"/>
                  <a:gd name="T6" fmla="*/ 262 w 2336"/>
                  <a:gd name="T7" fmla="*/ 1297 h 2615"/>
                  <a:gd name="T8" fmla="*/ 352 w 2336"/>
                  <a:gd name="T9" fmla="*/ 1303 h 2615"/>
                  <a:gd name="T10" fmla="*/ 342 w 2336"/>
                  <a:gd name="T11" fmla="*/ 1214 h 2615"/>
                  <a:gd name="T12" fmla="*/ 338 w 2336"/>
                  <a:gd name="T13" fmla="*/ 1150 h 2615"/>
                  <a:gd name="T14" fmla="*/ 579 w 2336"/>
                  <a:gd name="T15" fmla="*/ 1167 h 2615"/>
                  <a:gd name="T16" fmla="*/ 1464 w 2336"/>
                  <a:gd name="T17" fmla="*/ 752 h 2615"/>
                  <a:gd name="T18" fmla="*/ 1998 w 2336"/>
                  <a:gd name="T19" fmla="*/ 1136 h 2615"/>
                  <a:gd name="T20" fmla="*/ 1993 w 2336"/>
                  <a:gd name="T21" fmla="*/ 1214 h 2615"/>
                  <a:gd name="T22" fmla="*/ 1983 w 2336"/>
                  <a:gd name="T23" fmla="*/ 1303 h 2615"/>
                  <a:gd name="T24" fmla="*/ 2073 w 2336"/>
                  <a:gd name="T25" fmla="*/ 1297 h 2615"/>
                  <a:gd name="T26" fmla="*/ 2159 w 2336"/>
                  <a:gd name="T27" fmla="*/ 1357 h 2615"/>
                  <a:gd name="T28" fmla="*/ 1918 w 2336"/>
                  <a:gd name="T29" fmla="*/ 1736 h 2615"/>
                  <a:gd name="T30" fmla="*/ 1882 w 2336"/>
                  <a:gd name="T31" fmla="*/ 1748 h 2615"/>
                  <a:gd name="T32" fmla="*/ 1870 w 2336"/>
                  <a:gd name="T33" fmla="*/ 1785 h 2615"/>
                  <a:gd name="T34" fmla="*/ 1167 w 2336"/>
                  <a:gd name="T35" fmla="*/ 2465 h 2615"/>
                  <a:gd name="T36" fmla="*/ 465 w 2336"/>
                  <a:gd name="T37" fmla="*/ 1785 h 2615"/>
                  <a:gd name="T38" fmla="*/ 453 w 2336"/>
                  <a:gd name="T39" fmla="*/ 1748 h 2615"/>
                  <a:gd name="T40" fmla="*/ 416 w 2336"/>
                  <a:gd name="T41" fmla="*/ 1736 h 2615"/>
                  <a:gd name="T42" fmla="*/ 177 w 2336"/>
                  <a:gd name="T43" fmla="*/ 1356 h 2615"/>
                  <a:gd name="T44" fmla="*/ 531 w 2336"/>
                  <a:gd name="T45" fmla="*/ 387 h 2615"/>
                  <a:gd name="T46" fmla="*/ 531 w 2336"/>
                  <a:gd name="T47" fmla="*/ 387 h 2615"/>
                  <a:gd name="T48" fmla="*/ 1168 w 2336"/>
                  <a:gd name="T49" fmla="*/ 150 h 2615"/>
                  <a:gd name="T50" fmla="*/ 1804 w 2336"/>
                  <a:gd name="T51" fmla="*/ 387 h 2615"/>
                  <a:gd name="T52" fmla="*/ 2002 w 2336"/>
                  <a:gd name="T53" fmla="*/ 986 h 2615"/>
                  <a:gd name="T54" fmla="*/ 1560 w 2336"/>
                  <a:gd name="T55" fmla="*/ 547 h 2615"/>
                  <a:gd name="T56" fmla="*/ 1492 w 2336"/>
                  <a:gd name="T57" fmla="*/ 486 h 2615"/>
                  <a:gd name="T58" fmla="*/ 1415 w 2336"/>
                  <a:gd name="T59" fmla="*/ 536 h 2615"/>
                  <a:gd name="T60" fmla="*/ 333 w 2336"/>
                  <a:gd name="T61" fmla="*/ 996 h 2615"/>
                  <a:gd name="T62" fmla="*/ 531 w 2336"/>
                  <a:gd name="T63" fmla="*/ 387 h 2615"/>
                  <a:gd name="T64" fmla="*/ 333 w 2336"/>
                  <a:gd name="T65" fmla="*/ 1865 h 2615"/>
                  <a:gd name="T66" fmla="*/ 333 w 2336"/>
                  <a:gd name="T67" fmla="*/ 1865 h 2615"/>
                  <a:gd name="T68" fmla="*/ 1167 w 2336"/>
                  <a:gd name="T69" fmla="*/ 2615 h 2615"/>
                  <a:gd name="T70" fmla="*/ 2002 w 2336"/>
                  <a:gd name="T71" fmla="*/ 1865 h 2615"/>
                  <a:gd name="T72" fmla="*/ 2308 w 2336"/>
                  <a:gd name="T73" fmla="*/ 1333 h 2615"/>
                  <a:gd name="T74" fmla="*/ 2149 w 2336"/>
                  <a:gd name="T75" fmla="*/ 1153 h 2615"/>
                  <a:gd name="T76" fmla="*/ 1916 w 2336"/>
                  <a:gd name="T77" fmla="*/ 286 h 2615"/>
                  <a:gd name="T78" fmla="*/ 1167 w 2336"/>
                  <a:gd name="T79" fmla="*/ 0 h 2615"/>
                  <a:gd name="T80" fmla="*/ 419 w 2336"/>
                  <a:gd name="T81" fmla="*/ 286 h 2615"/>
                  <a:gd name="T82" fmla="*/ 185 w 2336"/>
                  <a:gd name="T83" fmla="*/ 1153 h 2615"/>
                  <a:gd name="T84" fmla="*/ 28 w 2336"/>
                  <a:gd name="T85" fmla="*/ 1333 h 2615"/>
                  <a:gd name="T86" fmla="*/ 333 w 2336"/>
                  <a:gd name="T87" fmla="*/ 1865 h 2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36" h="2615">
                    <a:moveTo>
                      <a:pt x="177" y="1356"/>
                    </a:moveTo>
                    <a:lnTo>
                      <a:pt x="177" y="1356"/>
                    </a:lnTo>
                    <a:cubicBezTo>
                      <a:pt x="184" y="1313"/>
                      <a:pt x="204" y="1296"/>
                      <a:pt x="249" y="1296"/>
                    </a:cubicBezTo>
                    <a:cubicBezTo>
                      <a:pt x="253" y="1296"/>
                      <a:pt x="258" y="1297"/>
                      <a:pt x="262" y="1297"/>
                    </a:cubicBezTo>
                    <a:lnTo>
                      <a:pt x="352" y="1303"/>
                    </a:lnTo>
                    <a:lnTo>
                      <a:pt x="342" y="1214"/>
                    </a:lnTo>
                    <a:cubicBezTo>
                      <a:pt x="340" y="1192"/>
                      <a:pt x="339" y="1171"/>
                      <a:pt x="338" y="1150"/>
                    </a:cubicBezTo>
                    <a:cubicBezTo>
                      <a:pt x="423" y="1162"/>
                      <a:pt x="504" y="1167"/>
                      <a:pt x="579" y="1167"/>
                    </a:cubicBezTo>
                    <a:cubicBezTo>
                      <a:pt x="1077" y="1167"/>
                      <a:pt x="1341" y="923"/>
                      <a:pt x="1464" y="752"/>
                    </a:cubicBezTo>
                    <a:cubicBezTo>
                      <a:pt x="1595" y="1064"/>
                      <a:pt x="1865" y="1125"/>
                      <a:pt x="1998" y="1136"/>
                    </a:cubicBezTo>
                    <a:cubicBezTo>
                      <a:pt x="1996" y="1161"/>
                      <a:pt x="1995" y="1187"/>
                      <a:pt x="1993" y="1214"/>
                    </a:cubicBezTo>
                    <a:lnTo>
                      <a:pt x="1983" y="1303"/>
                    </a:lnTo>
                    <a:lnTo>
                      <a:pt x="2073" y="1297"/>
                    </a:lnTo>
                    <a:cubicBezTo>
                      <a:pt x="2127" y="1293"/>
                      <a:pt x="2151" y="1309"/>
                      <a:pt x="2159" y="1357"/>
                    </a:cubicBezTo>
                    <a:cubicBezTo>
                      <a:pt x="2178" y="1479"/>
                      <a:pt x="2063" y="1689"/>
                      <a:pt x="1918" y="1736"/>
                    </a:cubicBezTo>
                    <a:lnTo>
                      <a:pt x="1882" y="1748"/>
                    </a:lnTo>
                    <a:lnTo>
                      <a:pt x="1870" y="1785"/>
                    </a:lnTo>
                    <a:cubicBezTo>
                      <a:pt x="1652" y="2465"/>
                      <a:pt x="1312" y="2465"/>
                      <a:pt x="1167" y="2465"/>
                    </a:cubicBezTo>
                    <a:cubicBezTo>
                      <a:pt x="1022" y="2465"/>
                      <a:pt x="683" y="2465"/>
                      <a:pt x="465" y="1785"/>
                    </a:cubicBezTo>
                    <a:lnTo>
                      <a:pt x="453" y="1748"/>
                    </a:lnTo>
                    <a:lnTo>
                      <a:pt x="416" y="1736"/>
                    </a:lnTo>
                    <a:cubicBezTo>
                      <a:pt x="272" y="1689"/>
                      <a:pt x="157" y="1479"/>
                      <a:pt x="177" y="1356"/>
                    </a:cubicBezTo>
                    <a:close/>
                    <a:moveTo>
                      <a:pt x="531" y="387"/>
                    </a:moveTo>
                    <a:lnTo>
                      <a:pt x="531" y="387"/>
                    </a:lnTo>
                    <a:cubicBezTo>
                      <a:pt x="673" y="230"/>
                      <a:pt x="887" y="150"/>
                      <a:pt x="1168" y="150"/>
                    </a:cubicBezTo>
                    <a:cubicBezTo>
                      <a:pt x="1448" y="150"/>
                      <a:pt x="1662" y="230"/>
                      <a:pt x="1804" y="387"/>
                    </a:cubicBezTo>
                    <a:cubicBezTo>
                      <a:pt x="1930" y="527"/>
                      <a:pt x="1996" y="732"/>
                      <a:pt x="2002" y="986"/>
                    </a:cubicBezTo>
                    <a:cubicBezTo>
                      <a:pt x="1885" y="976"/>
                      <a:pt x="1630" y="912"/>
                      <a:pt x="1560" y="547"/>
                    </a:cubicBezTo>
                    <a:cubicBezTo>
                      <a:pt x="1554" y="513"/>
                      <a:pt x="1526" y="488"/>
                      <a:pt x="1492" y="486"/>
                    </a:cubicBezTo>
                    <a:cubicBezTo>
                      <a:pt x="1459" y="483"/>
                      <a:pt x="1427" y="504"/>
                      <a:pt x="1415" y="536"/>
                    </a:cubicBezTo>
                    <a:cubicBezTo>
                      <a:pt x="1406" y="560"/>
                      <a:pt x="1191" y="1129"/>
                      <a:pt x="333" y="996"/>
                    </a:cubicBezTo>
                    <a:cubicBezTo>
                      <a:pt x="337" y="737"/>
                      <a:pt x="403" y="529"/>
                      <a:pt x="531" y="387"/>
                    </a:cubicBezTo>
                    <a:close/>
                    <a:moveTo>
                      <a:pt x="333" y="1865"/>
                    </a:moveTo>
                    <a:lnTo>
                      <a:pt x="333" y="1865"/>
                    </a:lnTo>
                    <a:cubicBezTo>
                      <a:pt x="559" y="2537"/>
                      <a:pt x="916" y="2615"/>
                      <a:pt x="1167" y="2615"/>
                    </a:cubicBezTo>
                    <a:cubicBezTo>
                      <a:pt x="1418" y="2615"/>
                      <a:pt x="1776" y="2537"/>
                      <a:pt x="2002" y="1865"/>
                    </a:cubicBezTo>
                    <a:cubicBezTo>
                      <a:pt x="2207" y="1774"/>
                      <a:pt x="2336" y="1510"/>
                      <a:pt x="2308" y="1333"/>
                    </a:cubicBezTo>
                    <a:cubicBezTo>
                      <a:pt x="2293" y="1237"/>
                      <a:pt x="2235" y="1173"/>
                      <a:pt x="2149" y="1153"/>
                    </a:cubicBezTo>
                    <a:cubicBezTo>
                      <a:pt x="2176" y="779"/>
                      <a:pt x="2097" y="488"/>
                      <a:pt x="1916" y="286"/>
                    </a:cubicBezTo>
                    <a:cubicBezTo>
                      <a:pt x="1745" y="96"/>
                      <a:pt x="1493" y="0"/>
                      <a:pt x="1167" y="0"/>
                    </a:cubicBezTo>
                    <a:cubicBezTo>
                      <a:pt x="842" y="0"/>
                      <a:pt x="590" y="96"/>
                      <a:pt x="419" y="286"/>
                    </a:cubicBezTo>
                    <a:cubicBezTo>
                      <a:pt x="237" y="488"/>
                      <a:pt x="159" y="779"/>
                      <a:pt x="185" y="1153"/>
                    </a:cubicBezTo>
                    <a:cubicBezTo>
                      <a:pt x="100" y="1174"/>
                      <a:pt x="43" y="1238"/>
                      <a:pt x="28" y="1333"/>
                    </a:cubicBezTo>
                    <a:cubicBezTo>
                      <a:pt x="0" y="1509"/>
                      <a:pt x="128" y="1774"/>
                      <a:pt x="333" y="1865"/>
                    </a:cubicBezTo>
                    <a:close/>
                  </a:path>
                </a:pathLst>
              </a:custGeom>
              <a:grpFill/>
              <a:ln w="0">
                <a:noFill/>
                <a:prstDash val="solid"/>
                <a:round/>
                <a:headEnd/>
                <a:tailEnd/>
              </a:ln>
            </p:spPr>
            <p:txBody>
              <a:bodyPr vert="horz" wrap="square" lIns="91427" tIns="45713" rIns="91427" bIns="45713" numCol="1" anchor="t" anchorCtr="0" compatLnSpc="1">
                <a:prstTxWarp prst="textNoShape">
                  <a:avLst/>
                </a:prstTxWarp>
              </a:bodyPr>
              <a:lstStyle/>
              <a:p>
                <a:pPr algn="ctr" defTabSz="932563"/>
                <a:endParaRPr lang="en-US">
                  <a:solidFill>
                    <a:srgbClr val="353535"/>
                  </a:solidFill>
                  <a:latin typeface="Segoe UI Semilight"/>
                </a:endParaRPr>
              </a:p>
            </p:txBody>
          </p:sp>
        </p:grpSp>
        <p:grpSp>
          <p:nvGrpSpPr>
            <p:cNvPr id="3" name="Group 2"/>
            <p:cNvGrpSpPr/>
            <p:nvPr/>
          </p:nvGrpSpPr>
          <p:grpSpPr>
            <a:xfrm>
              <a:off x="6316605" y="3591542"/>
              <a:ext cx="445195" cy="445197"/>
              <a:chOff x="6373278" y="3591542"/>
              <a:chExt cx="445195" cy="445197"/>
            </a:xfrm>
          </p:grpSpPr>
          <p:sp>
            <p:nvSpPr>
              <p:cNvPr id="137" name="Oval 136">
                <a:extLst/>
              </p:cNvPr>
              <p:cNvSpPr/>
              <p:nvPr/>
            </p:nvSpPr>
            <p:spPr bwMode="auto">
              <a:xfrm>
                <a:off x="6373278" y="3591542"/>
                <a:ext cx="445195" cy="445197"/>
              </a:xfrm>
              <a:prstGeom prst="ellipse">
                <a:avLst/>
              </a:prstGeom>
              <a:solidFill>
                <a:schemeClr val="bg1"/>
              </a:solidFill>
              <a:ln w="952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IN" sz="2400">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138" name="Freeform: Shape 137">
                <a:extLst/>
              </p:cNvPr>
              <p:cNvSpPr>
                <a:spLocks/>
              </p:cNvSpPr>
              <p:nvPr/>
            </p:nvSpPr>
            <p:spPr bwMode="auto">
              <a:xfrm>
                <a:off x="6486381" y="3703416"/>
                <a:ext cx="269247" cy="234019"/>
              </a:xfrm>
              <a:custGeom>
                <a:avLst/>
                <a:gdLst>
                  <a:gd name="connsiteX0" fmla="*/ 633413 w 4743363"/>
                  <a:gd name="connsiteY0" fmla="*/ 3487738 h 4122738"/>
                  <a:gd name="connsiteX1" fmla="*/ 633413 w 4743363"/>
                  <a:gd name="connsiteY1" fmla="*/ 3805238 h 4122738"/>
                  <a:gd name="connsiteX2" fmla="*/ 3162301 w 4743363"/>
                  <a:gd name="connsiteY2" fmla="*/ 3805238 h 4122738"/>
                  <a:gd name="connsiteX3" fmla="*/ 3162301 w 4743363"/>
                  <a:gd name="connsiteY3" fmla="*/ 3487738 h 4122738"/>
                  <a:gd name="connsiteX4" fmla="*/ 1433400 w 4743363"/>
                  <a:gd name="connsiteY4" fmla="*/ 1614488 h 4122738"/>
                  <a:gd name="connsiteX5" fmla="*/ 896938 w 4743363"/>
                  <a:gd name="connsiteY5" fmla="*/ 1797898 h 4122738"/>
                  <a:gd name="connsiteX6" fmla="*/ 836613 w 4743363"/>
                  <a:gd name="connsiteY6" fmla="*/ 1793583 h 4122738"/>
                  <a:gd name="connsiteX7" fmla="*/ 1088686 w 4743363"/>
                  <a:gd name="connsiteY7" fmla="*/ 3170238 h 4122738"/>
                  <a:gd name="connsiteX8" fmla="*/ 2043113 w 4743363"/>
                  <a:gd name="connsiteY8" fmla="*/ 3170238 h 4122738"/>
                  <a:gd name="connsiteX9" fmla="*/ 1433400 w 4743363"/>
                  <a:gd name="connsiteY9" fmla="*/ 1614488 h 4122738"/>
                  <a:gd name="connsiteX10" fmla="*/ 1746250 w 4743363"/>
                  <a:gd name="connsiteY10" fmla="*/ 612775 h 4122738"/>
                  <a:gd name="connsiteX11" fmla="*/ 1793583 w 4743363"/>
                  <a:gd name="connsiteY11" fmla="*/ 897592 h 4122738"/>
                  <a:gd name="connsiteX12" fmla="*/ 1759159 w 4743363"/>
                  <a:gd name="connsiteY12" fmla="*/ 1141413 h 4122738"/>
                  <a:gd name="connsiteX13" fmla="*/ 3478213 w 4743363"/>
                  <a:gd name="connsiteY13" fmla="*/ 966639 h 4122738"/>
                  <a:gd name="connsiteX14" fmla="*/ 3478213 w 4743363"/>
                  <a:gd name="connsiteY14" fmla="*/ 778919 h 4122738"/>
                  <a:gd name="connsiteX15" fmla="*/ 1746250 w 4743363"/>
                  <a:gd name="connsiteY15" fmla="*/ 612775 h 4122738"/>
                  <a:gd name="connsiteX16" fmla="*/ 896145 w 4743363"/>
                  <a:gd name="connsiteY16" fmla="*/ 317500 h 4122738"/>
                  <a:gd name="connsiteX17" fmla="*/ 315913 w 4743363"/>
                  <a:gd name="connsiteY17" fmla="*/ 899319 h 4122738"/>
                  <a:gd name="connsiteX18" fmla="*/ 896145 w 4743363"/>
                  <a:gd name="connsiteY18" fmla="*/ 1481138 h 4122738"/>
                  <a:gd name="connsiteX19" fmla="*/ 1476377 w 4743363"/>
                  <a:gd name="connsiteY19" fmla="*/ 899319 h 4122738"/>
                  <a:gd name="connsiteX20" fmla="*/ 896145 w 4743363"/>
                  <a:gd name="connsiteY20" fmla="*/ 317500 h 4122738"/>
                  <a:gd name="connsiteX21" fmla="*/ 897600 w 4743363"/>
                  <a:gd name="connsiteY21" fmla="*/ 0 h 4122738"/>
                  <a:gd name="connsiteX22" fmla="*/ 1539051 w 4743363"/>
                  <a:gd name="connsiteY22" fmla="*/ 274130 h 4122738"/>
                  <a:gd name="connsiteX23" fmla="*/ 3588248 w 4743363"/>
                  <a:gd name="connsiteY23" fmla="*/ 470553 h 4122738"/>
                  <a:gd name="connsiteX24" fmla="*/ 4014446 w 4743363"/>
                  <a:gd name="connsiteY24" fmla="*/ 140303 h 4122738"/>
                  <a:gd name="connsiteX25" fmla="*/ 4096242 w 4743363"/>
                  <a:gd name="connsiteY25" fmla="*/ 105767 h 4122738"/>
                  <a:gd name="connsiteX26" fmla="*/ 4188800 w 4743363"/>
                  <a:gd name="connsiteY26" fmla="*/ 125193 h 4122738"/>
                  <a:gd name="connsiteX27" fmla="*/ 4662354 w 4743363"/>
                  <a:gd name="connsiteY27" fmla="*/ 390689 h 4122738"/>
                  <a:gd name="connsiteX28" fmla="*/ 4722624 w 4743363"/>
                  <a:gd name="connsiteY28" fmla="*/ 606539 h 4122738"/>
                  <a:gd name="connsiteX29" fmla="*/ 4507373 w 4743363"/>
                  <a:gd name="connsiteY29" fmla="*/ 666977 h 4122738"/>
                  <a:gd name="connsiteX30" fmla="*/ 4126377 w 4743363"/>
                  <a:gd name="connsiteY30" fmla="*/ 455444 h 4122738"/>
                  <a:gd name="connsiteX31" fmla="*/ 3794889 w 4743363"/>
                  <a:gd name="connsiteY31" fmla="*/ 712306 h 4122738"/>
                  <a:gd name="connsiteX32" fmla="*/ 3794889 w 4743363"/>
                  <a:gd name="connsiteY32" fmla="*/ 1031764 h 4122738"/>
                  <a:gd name="connsiteX33" fmla="*/ 4126377 w 4743363"/>
                  <a:gd name="connsiteY33" fmla="*/ 1290784 h 4122738"/>
                  <a:gd name="connsiteX34" fmla="*/ 4507373 w 4743363"/>
                  <a:gd name="connsiteY34" fmla="*/ 1077092 h 4122738"/>
                  <a:gd name="connsiteX35" fmla="*/ 4722624 w 4743363"/>
                  <a:gd name="connsiteY35" fmla="*/ 1137531 h 4122738"/>
                  <a:gd name="connsiteX36" fmla="*/ 4662354 w 4743363"/>
                  <a:gd name="connsiteY36" fmla="*/ 1355539 h 4122738"/>
                  <a:gd name="connsiteX37" fmla="*/ 4188800 w 4743363"/>
                  <a:gd name="connsiteY37" fmla="*/ 1618876 h 4122738"/>
                  <a:gd name="connsiteX38" fmla="*/ 4014446 w 4743363"/>
                  <a:gd name="connsiteY38" fmla="*/ 1605925 h 4122738"/>
                  <a:gd name="connsiteX39" fmla="*/ 3590400 w 4743363"/>
                  <a:gd name="connsiteY39" fmla="*/ 1275675 h 4122738"/>
                  <a:gd name="connsiteX40" fmla="*/ 1711252 w 4743363"/>
                  <a:gd name="connsiteY40" fmla="*/ 1465623 h 4122738"/>
                  <a:gd name="connsiteX41" fmla="*/ 2382838 w 4743363"/>
                  <a:gd name="connsiteY41" fmla="*/ 3170839 h 4122738"/>
                  <a:gd name="connsiteX42" fmla="*/ 3321336 w 4743363"/>
                  <a:gd name="connsiteY42" fmla="*/ 3170839 h 4122738"/>
                  <a:gd name="connsiteX43" fmla="*/ 3478469 w 4743363"/>
                  <a:gd name="connsiteY43" fmla="*/ 3330568 h 4122738"/>
                  <a:gd name="connsiteX44" fmla="*/ 3478469 w 4743363"/>
                  <a:gd name="connsiteY44" fmla="*/ 3963009 h 4122738"/>
                  <a:gd name="connsiteX45" fmla="*/ 3321336 w 4743363"/>
                  <a:gd name="connsiteY45" fmla="*/ 4122738 h 4122738"/>
                  <a:gd name="connsiteX46" fmla="*/ 475707 w 4743363"/>
                  <a:gd name="connsiteY46" fmla="*/ 4122738 h 4122738"/>
                  <a:gd name="connsiteX47" fmla="*/ 316420 w 4743363"/>
                  <a:gd name="connsiteY47" fmla="*/ 3963009 h 4122738"/>
                  <a:gd name="connsiteX48" fmla="*/ 316420 w 4743363"/>
                  <a:gd name="connsiteY48" fmla="*/ 3330568 h 4122738"/>
                  <a:gd name="connsiteX49" fmla="*/ 458486 w 4743363"/>
                  <a:gd name="connsiteY49" fmla="*/ 3170839 h 4122738"/>
                  <a:gd name="connsiteX50" fmla="*/ 475707 w 4743363"/>
                  <a:gd name="connsiteY50" fmla="*/ 3170839 h 4122738"/>
                  <a:gd name="connsiteX51" fmla="*/ 770602 w 4743363"/>
                  <a:gd name="connsiteY51" fmla="*/ 3170839 h 4122738"/>
                  <a:gd name="connsiteX52" fmla="*/ 499384 w 4743363"/>
                  <a:gd name="connsiteY52" fmla="*/ 1700899 h 4122738"/>
                  <a:gd name="connsiteX53" fmla="*/ 0 w 4743363"/>
                  <a:gd name="connsiteY53" fmla="*/ 897937 h 4122738"/>
                  <a:gd name="connsiteX54" fmla="*/ 897600 w 4743363"/>
                  <a:gd name="connsiteY54" fmla="*/ 0 h 412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743363" h="4122738">
                    <a:moveTo>
                      <a:pt x="633413" y="3487738"/>
                    </a:moveTo>
                    <a:lnTo>
                      <a:pt x="633413" y="3805238"/>
                    </a:lnTo>
                    <a:lnTo>
                      <a:pt x="3162301" y="3805238"/>
                    </a:lnTo>
                    <a:lnTo>
                      <a:pt x="3162301" y="3487738"/>
                    </a:lnTo>
                    <a:close/>
                    <a:moveTo>
                      <a:pt x="1433400" y="1614488"/>
                    </a:moveTo>
                    <a:cubicBezTo>
                      <a:pt x="1282587" y="1728850"/>
                      <a:pt x="1097303" y="1797898"/>
                      <a:pt x="896938" y="1797898"/>
                    </a:cubicBezTo>
                    <a:cubicBezTo>
                      <a:pt x="875394" y="1797898"/>
                      <a:pt x="856003" y="1795741"/>
                      <a:pt x="836613" y="1793583"/>
                    </a:cubicBezTo>
                    <a:cubicBezTo>
                      <a:pt x="836613" y="1793583"/>
                      <a:pt x="836613" y="1793583"/>
                      <a:pt x="1088686" y="3170238"/>
                    </a:cubicBezTo>
                    <a:cubicBezTo>
                      <a:pt x="1088686" y="3170238"/>
                      <a:pt x="1088686" y="3170238"/>
                      <a:pt x="2043113" y="3170238"/>
                    </a:cubicBezTo>
                    <a:cubicBezTo>
                      <a:pt x="2043113" y="3170238"/>
                      <a:pt x="2043113" y="3170238"/>
                      <a:pt x="1433400" y="1614488"/>
                    </a:cubicBezTo>
                    <a:close/>
                    <a:moveTo>
                      <a:pt x="1746250" y="612775"/>
                    </a:moveTo>
                    <a:cubicBezTo>
                      <a:pt x="1776371" y="703399"/>
                      <a:pt x="1793583" y="798338"/>
                      <a:pt x="1793583" y="897592"/>
                    </a:cubicBezTo>
                    <a:cubicBezTo>
                      <a:pt x="1793583" y="983901"/>
                      <a:pt x="1780674" y="1063736"/>
                      <a:pt x="1759159" y="1141413"/>
                    </a:cubicBezTo>
                    <a:cubicBezTo>
                      <a:pt x="1759159" y="1141413"/>
                      <a:pt x="1759159" y="1141413"/>
                      <a:pt x="3478213" y="966639"/>
                    </a:cubicBezTo>
                    <a:cubicBezTo>
                      <a:pt x="3478213" y="966639"/>
                      <a:pt x="3478213" y="966639"/>
                      <a:pt x="3478213" y="778919"/>
                    </a:cubicBezTo>
                    <a:cubicBezTo>
                      <a:pt x="3478213" y="778919"/>
                      <a:pt x="3478213" y="778919"/>
                      <a:pt x="1746250" y="612775"/>
                    </a:cubicBezTo>
                    <a:close/>
                    <a:moveTo>
                      <a:pt x="896145" y="317500"/>
                    </a:moveTo>
                    <a:cubicBezTo>
                      <a:pt x="575692" y="317500"/>
                      <a:pt x="315913" y="577989"/>
                      <a:pt x="315913" y="899319"/>
                    </a:cubicBezTo>
                    <a:cubicBezTo>
                      <a:pt x="315913" y="1220649"/>
                      <a:pt x="575692" y="1481138"/>
                      <a:pt x="896145" y="1481138"/>
                    </a:cubicBezTo>
                    <a:cubicBezTo>
                      <a:pt x="1216598" y="1481138"/>
                      <a:pt x="1476377" y="1220649"/>
                      <a:pt x="1476377" y="899319"/>
                    </a:cubicBezTo>
                    <a:cubicBezTo>
                      <a:pt x="1476377" y="577989"/>
                      <a:pt x="1216598" y="317500"/>
                      <a:pt x="896145" y="317500"/>
                    </a:cubicBezTo>
                    <a:close/>
                    <a:moveTo>
                      <a:pt x="897600" y="0"/>
                    </a:moveTo>
                    <a:cubicBezTo>
                      <a:pt x="1147292" y="0"/>
                      <a:pt x="1375459" y="105767"/>
                      <a:pt x="1539051" y="274130"/>
                    </a:cubicBezTo>
                    <a:cubicBezTo>
                      <a:pt x="1539051" y="274130"/>
                      <a:pt x="1539051" y="274130"/>
                      <a:pt x="3588248" y="470553"/>
                    </a:cubicBezTo>
                    <a:cubicBezTo>
                      <a:pt x="3588248" y="470553"/>
                      <a:pt x="3588248" y="470553"/>
                      <a:pt x="4014446" y="140303"/>
                    </a:cubicBezTo>
                    <a:cubicBezTo>
                      <a:pt x="4038124" y="120876"/>
                      <a:pt x="4066107" y="110084"/>
                      <a:pt x="4096242" y="105767"/>
                    </a:cubicBezTo>
                    <a:cubicBezTo>
                      <a:pt x="4128530" y="103608"/>
                      <a:pt x="4160818" y="110084"/>
                      <a:pt x="4188800" y="125193"/>
                    </a:cubicBezTo>
                    <a:cubicBezTo>
                      <a:pt x="4188800" y="125193"/>
                      <a:pt x="4188800" y="125193"/>
                      <a:pt x="4662354" y="390689"/>
                    </a:cubicBezTo>
                    <a:cubicBezTo>
                      <a:pt x="4739845" y="433859"/>
                      <a:pt x="4765675" y="530991"/>
                      <a:pt x="4722624" y="606539"/>
                    </a:cubicBezTo>
                    <a:cubicBezTo>
                      <a:pt x="4681727" y="684245"/>
                      <a:pt x="4584864" y="710147"/>
                      <a:pt x="4507373" y="666977"/>
                    </a:cubicBezTo>
                    <a:cubicBezTo>
                      <a:pt x="4507373" y="666977"/>
                      <a:pt x="4507373" y="666977"/>
                      <a:pt x="4126377" y="455444"/>
                    </a:cubicBezTo>
                    <a:cubicBezTo>
                      <a:pt x="4126377" y="455444"/>
                      <a:pt x="4126377" y="455444"/>
                      <a:pt x="3794889" y="712306"/>
                    </a:cubicBezTo>
                    <a:cubicBezTo>
                      <a:pt x="3794889" y="712306"/>
                      <a:pt x="3794889" y="712306"/>
                      <a:pt x="3794889" y="1031764"/>
                    </a:cubicBezTo>
                    <a:cubicBezTo>
                      <a:pt x="3794889" y="1031764"/>
                      <a:pt x="3794889" y="1031764"/>
                      <a:pt x="4126377" y="1290784"/>
                    </a:cubicBezTo>
                    <a:cubicBezTo>
                      <a:pt x="4126377" y="1290784"/>
                      <a:pt x="4126377" y="1290784"/>
                      <a:pt x="4507373" y="1077092"/>
                    </a:cubicBezTo>
                    <a:cubicBezTo>
                      <a:pt x="4584864" y="1033922"/>
                      <a:pt x="4681727" y="1061983"/>
                      <a:pt x="4722624" y="1137531"/>
                    </a:cubicBezTo>
                    <a:cubicBezTo>
                      <a:pt x="4765675" y="1215237"/>
                      <a:pt x="4739845" y="1312369"/>
                      <a:pt x="4662354" y="1355539"/>
                    </a:cubicBezTo>
                    <a:cubicBezTo>
                      <a:pt x="4662354" y="1355539"/>
                      <a:pt x="4662354" y="1355539"/>
                      <a:pt x="4188800" y="1618876"/>
                    </a:cubicBezTo>
                    <a:cubicBezTo>
                      <a:pt x="4132835" y="1649095"/>
                      <a:pt x="4063954" y="1644778"/>
                      <a:pt x="4014446" y="1605925"/>
                    </a:cubicBezTo>
                    <a:cubicBezTo>
                      <a:pt x="4014446" y="1605925"/>
                      <a:pt x="4014446" y="1605925"/>
                      <a:pt x="3590400" y="1275675"/>
                    </a:cubicBezTo>
                    <a:cubicBezTo>
                      <a:pt x="3590400" y="1275675"/>
                      <a:pt x="3590400" y="1275675"/>
                      <a:pt x="1711252" y="1465623"/>
                    </a:cubicBezTo>
                    <a:cubicBezTo>
                      <a:pt x="1711252" y="1465623"/>
                      <a:pt x="1711252" y="1465623"/>
                      <a:pt x="2382838" y="3170839"/>
                    </a:cubicBezTo>
                    <a:cubicBezTo>
                      <a:pt x="2382838" y="3170839"/>
                      <a:pt x="2382838" y="3170839"/>
                      <a:pt x="3321336" y="3170839"/>
                    </a:cubicBezTo>
                    <a:cubicBezTo>
                      <a:pt x="3407436" y="3170839"/>
                      <a:pt x="3478469" y="3242069"/>
                      <a:pt x="3478469" y="3330568"/>
                    </a:cubicBezTo>
                    <a:cubicBezTo>
                      <a:pt x="3478469" y="3330568"/>
                      <a:pt x="3478469" y="3330568"/>
                      <a:pt x="3478469" y="3963009"/>
                    </a:cubicBezTo>
                    <a:cubicBezTo>
                      <a:pt x="3478469" y="4051508"/>
                      <a:pt x="3407436" y="4122738"/>
                      <a:pt x="3321336" y="4122738"/>
                    </a:cubicBezTo>
                    <a:cubicBezTo>
                      <a:pt x="3321336" y="4122738"/>
                      <a:pt x="3321336" y="4122738"/>
                      <a:pt x="475707" y="4122738"/>
                    </a:cubicBezTo>
                    <a:cubicBezTo>
                      <a:pt x="387453" y="4122738"/>
                      <a:pt x="316420" y="4051508"/>
                      <a:pt x="316420" y="3963009"/>
                    </a:cubicBezTo>
                    <a:cubicBezTo>
                      <a:pt x="316420" y="3963009"/>
                      <a:pt x="316420" y="3963009"/>
                      <a:pt x="316420" y="3330568"/>
                    </a:cubicBezTo>
                    <a:cubicBezTo>
                      <a:pt x="316420" y="3248545"/>
                      <a:pt x="378843" y="3179473"/>
                      <a:pt x="458486" y="3170839"/>
                    </a:cubicBezTo>
                    <a:cubicBezTo>
                      <a:pt x="464944" y="3170839"/>
                      <a:pt x="469249" y="3170839"/>
                      <a:pt x="475707" y="3170839"/>
                    </a:cubicBezTo>
                    <a:cubicBezTo>
                      <a:pt x="475707" y="3170839"/>
                      <a:pt x="475707" y="3170839"/>
                      <a:pt x="770602" y="3170839"/>
                    </a:cubicBezTo>
                    <a:cubicBezTo>
                      <a:pt x="770602" y="3170839"/>
                      <a:pt x="770602" y="3170839"/>
                      <a:pt x="499384" y="1700899"/>
                    </a:cubicBezTo>
                    <a:cubicBezTo>
                      <a:pt x="204489" y="1554121"/>
                      <a:pt x="0" y="1249773"/>
                      <a:pt x="0" y="897937"/>
                    </a:cubicBezTo>
                    <a:cubicBezTo>
                      <a:pt x="0" y="403640"/>
                      <a:pt x="404674" y="0"/>
                      <a:pt x="897600" y="0"/>
                    </a:cubicBezTo>
                    <a:close/>
                  </a:path>
                </a:pathLst>
              </a:custGeom>
              <a:solidFill>
                <a:schemeClr val="accent1"/>
              </a:solidFill>
              <a:ln>
                <a:noFill/>
              </a:ln>
            </p:spPr>
            <p:txBody>
              <a:bodyPr vert="horz" wrap="square" lIns="93260" tIns="46630" rIns="93260" bIns="46630" numCol="1" anchor="t" anchorCtr="0" compatLnSpc="1">
                <a:prstTxWarp prst="textNoShape">
                  <a:avLst/>
                </a:prstTxWarp>
                <a:noAutofit/>
              </a:bodyPr>
              <a:lstStyle/>
              <a:p>
                <a:pPr defTabSz="932597"/>
                <a:endParaRPr lang="en-IN" sz="1836">
                  <a:solidFill>
                    <a:srgbClr val="353535"/>
                  </a:solidFill>
                  <a:latin typeface="Segoe UI Semilight"/>
                </a:endParaRPr>
              </a:p>
            </p:txBody>
          </p:sp>
        </p:grpSp>
      </p:grpSp>
    </p:spTree>
    <p:extLst>
      <p:ext uri="{BB962C8B-B14F-4D97-AF65-F5344CB8AC3E}">
        <p14:creationId xmlns:p14="http://schemas.microsoft.com/office/powerpoint/2010/main" val="3340082959"/>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4087BA77-9E2B-40D5-9761-DDD90CC3DC6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1625600"/>
            <a:ext cx="12434711" cy="5368925"/>
          </a:xfrm>
          <a:prstGeom prst="rect">
            <a:avLst/>
          </a:prstGeom>
        </p:spPr>
      </p:pic>
      <p:sp>
        <p:nvSpPr>
          <p:cNvPr id="121" name="black overlay">
            <a:extLst/>
          </p:cNvPr>
          <p:cNvSpPr/>
          <p:nvPr/>
        </p:nvSpPr>
        <p:spPr bwMode="auto">
          <a:xfrm>
            <a:off x="0" y="1625600"/>
            <a:ext cx="12434711" cy="5368924"/>
          </a:xfrm>
          <a:prstGeom prst="rect">
            <a:avLst/>
          </a:prstGeom>
          <a:solidFill>
            <a:schemeClr val="bg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68" name="Straight Arrow Connector 67">
            <a:extLst>
              <a:ext uri="{FF2B5EF4-FFF2-40B4-BE49-F238E27FC236}">
                <a16:creationId xmlns:a16="http://schemas.microsoft.com/office/drawing/2014/main" id="{B9C09E67-657F-4DDD-AD77-4028584FEE65}"/>
              </a:ext>
            </a:extLst>
          </p:cNvPr>
          <p:cNvCxnSpPr>
            <a:cxnSpLocks/>
          </p:cNvCxnSpPr>
          <p:nvPr/>
        </p:nvCxnSpPr>
        <p:spPr>
          <a:xfrm>
            <a:off x="9223293" y="4254338"/>
            <a:ext cx="895580" cy="0"/>
          </a:xfrm>
          <a:prstGeom prst="straightConnector1">
            <a:avLst/>
          </a:prstGeom>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C2FBCD61-1DB1-4999-82D5-FFB9C4112921}"/>
              </a:ext>
            </a:extLst>
          </p:cNvPr>
          <p:cNvSpPr/>
          <p:nvPr/>
        </p:nvSpPr>
        <p:spPr>
          <a:xfrm>
            <a:off x="5095362" y="1977433"/>
            <a:ext cx="4127930" cy="4553811"/>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defTabSz="932597">
              <a:defRPr/>
            </a:pPr>
            <a:endParaRPr lang="en-US" sz="1632">
              <a:solidFill>
                <a:schemeClr val="tx1"/>
              </a:solidFill>
              <a:latin typeface="+mj-lt"/>
            </a:endParaRPr>
          </a:p>
        </p:txBody>
      </p:sp>
      <p:sp>
        <p:nvSpPr>
          <p:cNvPr id="2" name="Title 1"/>
          <p:cNvSpPr>
            <a:spLocks noGrp="1"/>
          </p:cNvSpPr>
          <p:nvPr>
            <p:ph type="title"/>
          </p:nvPr>
        </p:nvSpPr>
        <p:spPr/>
        <p:txBody>
          <a:bodyPr/>
          <a:lstStyle/>
          <a:p>
            <a:r>
              <a:rPr lang="en-US"/>
              <a:t>Technologies driving the Factory of the Future</a:t>
            </a:r>
          </a:p>
        </p:txBody>
      </p:sp>
      <p:grpSp>
        <p:nvGrpSpPr>
          <p:cNvPr id="5" name="Group 4">
            <a:extLst>
              <a:ext uri="{FF2B5EF4-FFF2-40B4-BE49-F238E27FC236}">
                <a16:creationId xmlns:a16="http://schemas.microsoft.com/office/drawing/2014/main" id="{081FCCC0-50F1-468C-A422-E7A1B248DBAC}"/>
              </a:ext>
            </a:extLst>
          </p:cNvPr>
          <p:cNvGrpSpPr/>
          <p:nvPr/>
        </p:nvGrpSpPr>
        <p:grpSpPr>
          <a:xfrm>
            <a:off x="5254453" y="2136096"/>
            <a:ext cx="3807004" cy="4236485"/>
            <a:chOff x="5997772" y="2379300"/>
            <a:chExt cx="3383280" cy="3764959"/>
          </a:xfrm>
        </p:grpSpPr>
        <p:sp>
          <p:nvSpPr>
            <p:cNvPr id="61" name="Rectangle 60">
              <a:extLst>
                <a:ext uri="{FF2B5EF4-FFF2-40B4-BE49-F238E27FC236}">
                  <a16:creationId xmlns:a16="http://schemas.microsoft.com/office/drawing/2014/main" id="{62996958-0CBE-4768-958C-3850925CF0AC}"/>
                </a:ext>
              </a:extLst>
            </p:cNvPr>
            <p:cNvSpPr/>
            <p:nvPr/>
          </p:nvSpPr>
          <p:spPr bwMode="auto">
            <a:xfrm>
              <a:off x="5997772" y="2379300"/>
              <a:ext cx="3383280" cy="640080"/>
            </a:xfrm>
            <a:prstGeom prst="rect">
              <a:avLst/>
            </a:prstGeom>
            <a:solidFill>
              <a:schemeClr val="bg1">
                <a:alpha val="65000"/>
              </a:schemeClr>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39871" tIns="93247" rIns="139871" bIns="91414"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a:gradFill>
                    <a:gsLst>
                      <a:gs pos="86275">
                        <a:schemeClr val="tx1"/>
                      </a:gs>
                      <a:gs pos="72549">
                        <a:schemeClr val="tx1"/>
                      </a:gs>
                    </a:gsLst>
                    <a:lin ang="0" scaled="1"/>
                  </a:gradFill>
                </a:rPr>
                <a:t>Connectivity and Interoperability</a:t>
              </a:r>
              <a:endParaRPr lang="en-US" kern="0">
                <a:gradFill>
                  <a:gsLst>
                    <a:gs pos="86275">
                      <a:schemeClr val="tx1"/>
                    </a:gs>
                    <a:gs pos="72549">
                      <a:schemeClr val="tx1"/>
                    </a:gs>
                  </a:gsLst>
                  <a:lin ang="0" scaled="1"/>
                </a:gradFill>
                <a:latin typeface="+mj-lt"/>
                <a:ea typeface="Segoe UI" pitchFamily="34" charset="0"/>
                <a:cs typeface="Segoe UI Semibold" panose="020B0702040204020203" pitchFamily="34" charset="0"/>
              </a:endParaRPr>
            </a:p>
          </p:txBody>
        </p:sp>
        <p:sp>
          <p:nvSpPr>
            <p:cNvPr id="62" name="Rectangle 61">
              <a:extLst>
                <a:ext uri="{FF2B5EF4-FFF2-40B4-BE49-F238E27FC236}">
                  <a16:creationId xmlns:a16="http://schemas.microsoft.com/office/drawing/2014/main" id="{70F227AD-1C98-49BF-B9E9-03A91DC698D2}"/>
                </a:ext>
              </a:extLst>
            </p:cNvPr>
            <p:cNvSpPr/>
            <p:nvPr/>
          </p:nvSpPr>
          <p:spPr bwMode="auto">
            <a:xfrm>
              <a:off x="5997772" y="3160520"/>
              <a:ext cx="3383280" cy="640080"/>
            </a:xfrm>
            <a:prstGeom prst="rect">
              <a:avLst/>
            </a:prstGeom>
            <a:solidFill>
              <a:schemeClr val="bg1">
                <a:alpha val="65000"/>
              </a:schemeClr>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39871" tIns="93247" rIns="139871" bIns="91414"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defRPr/>
              </a:pPr>
              <a:r>
                <a:rPr lang="en-US">
                  <a:gradFill>
                    <a:gsLst>
                      <a:gs pos="86275">
                        <a:schemeClr val="tx1"/>
                      </a:gs>
                      <a:gs pos="72549">
                        <a:schemeClr val="tx1"/>
                      </a:gs>
                    </a:gsLst>
                    <a:lin ang="0" scaled="1"/>
                  </a:gradFill>
                </a:rPr>
                <a:t>Seamless System Integration</a:t>
              </a:r>
              <a:endParaRPr lang="en-US" kern="0">
                <a:gradFill>
                  <a:gsLst>
                    <a:gs pos="86275">
                      <a:schemeClr val="tx1"/>
                    </a:gs>
                    <a:gs pos="72549">
                      <a:schemeClr val="tx1"/>
                    </a:gs>
                  </a:gsLst>
                  <a:lin ang="0" scaled="1"/>
                </a:gradFill>
                <a:cs typeface="Segoe UI Semibold" panose="020B0702040204020203" pitchFamily="34" charset="0"/>
              </a:endParaRPr>
            </a:p>
          </p:txBody>
        </p:sp>
        <p:sp>
          <p:nvSpPr>
            <p:cNvPr id="63" name="Rectangle 62">
              <a:extLst>
                <a:ext uri="{FF2B5EF4-FFF2-40B4-BE49-F238E27FC236}">
                  <a16:creationId xmlns:a16="http://schemas.microsoft.com/office/drawing/2014/main" id="{4CDEC442-3656-4649-889D-10CE0C750050}"/>
                </a:ext>
              </a:extLst>
            </p:cNvPr>
            <p:cNvSpPr/>
            <p:nvPr/>
          </p:nvSpPr>
          <p:spPr bwMode="auto">
            <a:xfrm>
              <a:off x="5997772" y="3941740"/>
              <a:ext cx="3383280" cy="640080"/>
            </a:xfrm>
            <a:prstGeom prst="rect">
              <a:avLst/>
            </a:prstGeom>
            <a:solidFill>
              <a:schemeClr val="bg1">
                <a:alpha val="65000"/>
              </a:schemeClr>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39871" tIns="93247" rIns="139871" bIns="91414" numCol="1" spcCol="0" rtlCol="0" fromWordArt="0" anchor="ctr" anchorCtr="0" forceAA="0" compatLnSpc="1">
              <a:prstTxWarp prst="textNoShape">
                <a:avLst/>
              </a:prstTxWarp>
              <a:noAutofit/>
            </a:bodyPr>
            <a:lstStyle/>
            <a:p>
              <a:pPr algn="ctr">
                <a:lnSpc>
                  <a:spcPct val="90000"/>
                </a:lnSpc>
              </a:pPr>
              <a:r>
                <a:rPr lang="en-US">
                  <a:gradFill>
                    <a:gsLst>
                      <a:gs pos="86275">
                        <a:schemeClr val="tx1"/>
                      </a:gs>
                      <a:gs pos="72549">
                        <a:schemeClr val="tx1"/>
                      </a:gs>
                    </a:gsLst>
                    <a:lin ang="0" scaled="1"/>
                  </a:gradFill>
                </a:rPr>
                <a:t>Architecture to accommodate existing systems</a:t>
              </a:r>
            </a:p>
          </p:txBody>
        </p:sp>
        <p:sp>
          <p:nvSpPr>
            <p:cNvPr id="64" name="Rectangle 63">
              <a:extLst>
                <a:ext uri="{FF2B5EF4-FFF2-40B4-BE49-F238E27FC236}">
                  <a16:creationId xmlns:a16="http://schemas.microsoft.com/office/drawing/2014/main" id="{54FB6852-F261-4B01-BEF3-EDC4AB431DC1}"/>
                </a:ext>
              </a:extLst>
            </p:cNvPr>
            <p:cNvSpPr/>
            <p:nvPr/>
          </p:nvSpPr>
          <p:spPr bwMode="auto">
            <a:xfrm>
              <a:off x="5997772" y="4722960"/>
              <a:ext cx="3383280" cy="640080"/>
            </a:xfrm>
            <a:prstGeom prst="rect">
              <a:avLst/>
            </a:prstGeom>
            <a:solidFill>
              <a:schemeClr val="bg1">
                <a:alpha val="65000"/>
              </a:schemeClr>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39871" tIns="93247" rIns="139871" bIns="91414" numCol="1" spcCol="0" rtlCol="0" fromWordArt="0" anchor="ctr" anchorCtr="0" forceAA="0" compatLnSpc="1">
              <a:prstTxWarp prst="textNoShape">
                <a:avLst/>
              </a:prstTxWarp>
              <a:noAutofit/>
            </a:bodyPr>
            <a:lstStyle/>
            <a:p>
              <a:pPr algn="ctr">
                <a:lnSpc>
                  <a:spcPct val="90000"/>
                </a:lnSpc>
              </a:pPr>
              <a:r>
                <a:rPr lang="en-US">
                  <a:gradFill>
                    <a:gsLst>
                      <a:gs pos="86275">
                        <a:schemeClr val="tx1"/>
                      </a:gs>
                      <a:gs pos="72549">
                        <a:schemeClr val="tx1"/>
                      </a:gs>
                    </a:gsLst>
                    <a:lin ang="0" scaled="1"/>
                  </a:gradFill>
                </a:rPr>
                <a:t>Modeling and Simulation</a:t>
              </a:r>
            </a:p>
          </p:txBody>
        </p:sp>
        <p:sp>
          <p:nvSpPr>
            <p:cNvPr id="65" name="Rectangle 64">
              <a:extLst>
                <a:ext uri="{FF2B5EF4-FFF2-40B4-BE49-F238E27FC236}">
                  <a16:creationId xmlns:a16="http://schemas.microsoft.com/office/drawing/2014/main" id="{94F62AB2-88FF-42AF-B148-FE0FF502DF77}"/>
                </a:ext>
              </a:extLst>
            </p:cNvPr>
            <p:cNvSpPr/>
            <p:nvPr/>
          </p:nvSpPr>
          <p:spPr bwMode="auto">
            <a:xfrm>
              <a:off x="5997772" y="5504179"/>
              <a:ext cx="3383280" cy="640080"/>
            </a:xfrm>
            <a:prstGeom prst="rect">
              <a:avLst/>
            </a:prstGeom>
            <a:solidFill>
              <a:schemeClr val="bg1">
                <a:alpha val="65000"/>
              </a:schemeClr>
            </a:solidFill>
            <a:ln w="12700" cap="flat" cmpd="sng" algn="ctr">
              <a:solidFill>
                <a:schemeClr val="accent1"/>
              </a:solidFill>
              <a:prstDash val="solid"/>
              <a:headEnd type="none" w="med" len="med"/>
              <a:tailEnd type="none" w="med" len="med"/>
            </a:ln>
            <a:effectLst/>
          </p:spPr>
          <p:txBody>
            <a:bodyPr rot="0" spcFirstLastPara="0" vertOverflow="overflow" horzOverflow="overflow" vert="horz" wrap="square" lIns="139871" tIns="93247" rIns="139871" bIns="91414" numCol="1" spcCol="0" rtlCol="0" fromWordArt="0" anchor="ctr" anchorCtr="0" forceAA="0" compatLnSpc="1">
              <a:prstTxWarp prst="textNoShape">
                <a:avLst/>
              </a:prstTxWarp>
              <a:noAutofit/>
            </a:bodyPr>
            <a:lstStyle/>
            <a:p>
              <a:pPr algn="ctr">
                <a:lnSpc>
                  <a:spcPct val="90000"/>
                </a:lnSpc>
              </a:pPr>
              <a:r>
                <a:rPr lang="en-US">
                  <a:gradFill>
                    <a:gsLst>
                      <a:gs pos="86275">
                        <a:schemeClr val="tx1"/>
                      </a:gs>
                      <a:gs pos="72549">
                        <a:schemeClr val="tx1"/>
                      </a:gs>
                    </a:gsLst>
                    <a:lin ang="0" scaled="1"/>
                  </a:gradFill>
                </a:rPr>
                <a:t>Safety and Security</a:t>
              </a:r>
            </a:p>
          </p:txBody>
        </p:sp>
      </p:grpSp>
      <p:grpSp>
        <p:nvGrpSpPr>
          <p:cNvPr id="7" name="Group 6">
            <a:extLst>
              <a:ext uri="{FF2B5EF4-FFF2-40B4-BE49-F238E27FC236}">
                <a16:creationId xmlns:a16="http://schemas.microsoft.com/office/drawing/2014/main" id="{699C5216-25F6-41FC-AB8D-3E736B034BB2}"/>
              </a:ext>
            </a:extLst>
          </p:cNvPr>
          <p:cNvGrpSpPr/>
          <p:nvPr/>
        </p:nvGrpSpPr>
        <p:grpSpPr>
          <a:xfrm>
            <a:off x="10279134" y="4371867"/>
            <a:ext cx="1005840" cy="1005840"/>
            <a:chOff x="10305091" y="4209671"/>
            <a:chExt cx="1005840" cy="1005840"/>
          </a:xfrm>
        </p:grpSpPr>
        <p:sp>
          <p:nvSpPr>
            <p:cNvPr id="59" name="Oval 58">
              <a:extLst>
                <a:ext uri="{FF2B5EF4-FFF2-40B4-BE49-F238E27FC236}">
                  <a16:creationId xmlns:a16="http://schemas.microsoft.com/office/drawing/2014/main" id="{4F144F5A-1F88-4DE4-83AB-C876F589123C}"/>
                </a:ext>
              </a:extLst>
            </p:cNvPr>
            <p:cNvSpPr/>
            <p:nvPr/>
          </p:nvSpPr>
          <p:spPr>
            <a:xfrm>
              <a:off x="10305091" y="4209671"/>
              <a:ext cx="1005840" cy="1005840"/>
            </a:xfrm>
            <a:prstGeom prst="ellipse">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lIns="0" tIns="0" rIns="0" bIns="0" rtlCol="0" anchor="b"/>
            <a:lstStyle/>
            <a:p>
              <a:pPr algn="ctr" defTabSz="932597">
                <a:lnSpc>
                  <a:spcPct val="90000"/>
                </a:lnSpc>
              </a:pPr>
              <a:r>
                <a:rPr lang="en-US" sz="800">
                  <a:ln w="0"/>
                  <a:gradFill>
                    <a:gsLst>
                      <a:gs pos="86275">
                        <a:schemeClr val="tx1"/>
                      </a:gs>
                      <a:gs pos="72549">
                        <a:schemeClr val="tx1"/>
                      </a:gs>
                    </a:gsLst>
                    <a:lin ang="0" scaled="1"/>
                  </a:gradFill>
                </a:rPr>
                <a:t>Customer Product</a:t>
              </a:r>
            </a:p>
          </p:txBody>
        </p:sp>
        <p:grpSp>
          <p:nvGrpSpPr>
            <p:cNvPr id="122" name="Group 121">
              <a:extLst>
                <a:ext uri="{FF2B5EF4-FFF2-40B4-BE49-F238E27FC236}">
                  <a16:creationId xmlns:a16="http://schemas.microsoft.com/office/drawing/2014/main" id="{EAF8BEA9-FB5D-4DD5-8718-4D0411EE8FE3}"/>
                </a:ext>
              </a:extLst>
            </p:cNvPr>
            <p:cNvGrpSpPr/>
            <p:nvPr/>
          </p:nvGrpSpPr>
          <p:grpSpPr>
            <a:xfrm>
              <a:off x="10636606" y="4379830"/>
              <a:ext cx="289874" cy="383152"/>
              <a:chOff x="9304160" y="5064035"/>
              <a:chExt cx="858284" cy="1134474"/>
            </a:xfrm>
            <a:solidFill>
              <a:schemeClr val="bg1">
                <a:lumMod val="65000"/>
              </a:schemeClr>
            </a:solidFill>
          </p:grpSpPr>
          <p:sp>
            <p:nvSpPr>
              <p:cNvPr id="123" name="Freeform 63">
                <a:extLst>
                  <a:ext uri="{FF2B5EF4-FFF2-40B4-BE49-F238E27FC236}">
                    <a16:creationId xmlns:a16="http://schemas.microsoft.com/office/drawing/2014/main" id="{98D8FF5E-7EDB-48C2-9177-A26D5700C6BB}"/>
                  </a:ext>
                </a:extLst>
              </p:cNvPr>
              <p:cNvSpPr>
                <a:spLocks noEditPoints="1"/>
              </p:cNvSpPr>
              <p:nvPr/>
            </p:nvSpPr>
            <p:spPr bwMode="auto">
              <a:xfrm>
                <a:off x="9734176" y="5064035"/>
                <a:ext cx="208890" cy="197528"/>
              </a:xfrm>
              <a:custGeom>
                <a:avLst/>
                <a:gdLst>
                  <a:gd name="T0" fmla="*/ 239 w 239"/>
                  <a:gd name="T1" fmla="*/ 226 h 226"/>
                  <a:gd name="T2" fmla="*/ 0 w 239"/>
                  <a:gd name="T3" fmla="*/ 226 h 226"/>
                  <a:gd name="T4" fmla="*/ 0 w 239"/>
                  <a:gd name="T5" fmla="*/ 0 h 226"/>
                  <a:gd name="T6" fmla="*/ 239 w 239"/>
                  <a:gd name="T7" fmla="*/ 0 h 226"/>
                  <a:gd name="T8" fmla="*/ 239 w 239"/>
                  <a:gd name="T9" fmla="*/ 226 h 226"/>
                  <a:gd name="T10" fmla="*/ 44 w 239"/>
                  <a:gd name="T11" fmla="*/ 182 h 226"/>
                  <a:gd name="T12" fmla="*/ 195 w 239"/>
                  <a:gd name="T13" fmla="*/ 182 h 226"/>
                  <a:gd name="T14" fmla="*/ 195 w 239"/>
                  <a:gd name="T15" fmla="*/ 44 h 226"/>
                  <a:gd name="T16" fmla="*/ 44 w 239"/>
                  <a:gd name="T17" fmla="*/ 44 h 226"/>
                  <a:gd name="T18" fmla="*/ 44 w 239"/>
                  <a:gd name="T19" fmla="*/ 18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226">
                    <a:moveTo>
                      <a:pt x="239" y="226"/>
                    </a:moveTo>
                    <a:lnTo>
                      <a:pt x="0" y="226"/>
                    </a:lnTo>
                    <a:lnTo>
                      <a:pt x="0" y="0"/>
                    </a:lnTo>
                    <a:lnTo>
                      <a:pt x="239" y="0"/>
                    </a:lnTo>
                    <a:lnTo>
                      <a:pt x="239" y="226"/>
                    </a:lnTo>
                    <a:close/>
                    <a:moveTo>
                      <a:pt x="44" y="182"/>
                    </a:moveTo>
                    <a:lnTo>
                      <a:pt x="195" y="182"/>
                    </a:lnTo>
                    <a:lnTo>
                      <a:pt x="195" y="44"/>
                    </a:lnTo>
                    <a:lnTo>
                      <a:pt x="44" y="44"/>
                    </a:lnTo>
                    <a:lnTo>
                      <a:pt x="44" y="182"/>
                    </a:ln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24" name="Freeform 72">
                <a:extLst>
                  <a:ext uri="{FF2B5EF4-FFF2-40B4-BE49-F238E27FC236}">
                    <a16:creationId xmlns:a16="http://schemas.microsoft.com/office/drawing/2014/main" id="{06AA698D-BA04-4722-BD49-C912E1A05634}"/>
                  </a:ext>
                </a:extLst>
              </p:cNvPr>
              <p:cNvSpPr>
                <a:spLocks noEditPoints="1"/>
              </p:cNvSpPr>
              <p:nvPr/>
            </p:nvSpPr>
            <p:spPr bwMode="auto">
              <a:xfrm>
                <a:off x="9383696" y="5512406"/>
                <a:ext cx="778748" cy="548882"/>
              </a:xfrm>
              <a:custGeom>
                <a:avLst/>
                <a:gdLst>
                  <a:gd name="T0" fmla="*/ 753 w 813"/>
                  <a:gd name="T1" fmla="*/ 576 h 576"/>
                  <a:gd name="T2" fmla="*/ 60 w 813"/>
                  <a:gd name="T3" fmla="*/ 576 h 576"/>
                  <a:gd name="T4" fmla="*/ 0 w 813"/>
                  <a:gd name="T5" fmla="*/ 516 h 576"/>
                  <a:gd name="T6" fmla="*/ 0 w 813"/>
                  <a:gd name="T7" fmla="*/ 60 h 576"/>
                  <a:gd name="T8" fmla="*/ 60 w 813"/>
                  <a:gd name="T9" fmla="*/ 0 h 576"/>
                  <a:gd name="T10" fmla="*/ 753 w 813"/>
                  <a:gd name="T11" fmla="*/ 0 h 576"/>
                  <a:gd name="T12" fmla="*/ 813 w 813"/>
                  <a:gd name="T13" fmla="*/ 60 h 576"/>
                  <a:gd name="T14" fmla="*/ 813 w 813"/>
                  <a:gd name="T15" fmla="*/ 516 h 576"/>
                  <a:gd name="T16" fmla="*/ 753 w 813"/>
                  <a:gd name="T17" fmla="*/ 576 h 576"/>
                  <a:gd name="T18" fmla="*/ 60 w 813"/>
                  <a:gd name="T19" fmla="*/ 40 h 576"/>
                  <a:gd name="T20" fmla="*/ 40 w 813"/>
                  <a:gd name="T21" fmla="*/ 60 h 576"/>
                  <a:gd name="T22" fmla="*/ 40 w 813"/>
                  <a:gd name="T23" fmla="*/ 516 h 576"/>
                  <a:gd name="T24" fmla="*/ 60 w 813"/>
                  <a:gd name="T25" fmla="*/ 536 h 576"/>
                  <a:gd name="T26" fmla="*/ 753 w 813"/>
                  <a:gd name="T27" fmla="*/ 536 h 576"/>
                  <a:gd name="T28" fmla="*/ 773 w 813"/>
                  <a:gd name="T29" fmla="*/ 516 h 576"/>
                  <a:gd name="T30" fmla="*/ 773 w 813"/>
                  <a:gd name="T31" fmla="*/ 60 h 576"/>
                  <a:gd name="T32" fmla="*/ 753 w 813"/>
                  <a:gd name="T33" fmla="*/ 40 h 576"/>
                  <a:gd name="T34" fmla="*/ 60 w 813"/>
                  <a:gd name="T35" fmla="*/ 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3" h="576">
                    <a:moveTo>
                      <a:pt x="753" y="576"/>
                    </a:moveTo>
                    <a:cubicBezTo>
                      <a:pt x="60" y="576"/>
                      <a:pt x="60" y="576"/>
                      <a:pt x="60" y="576"/>
                    </a:cubicBezTo>
                    <a:cubicBezTo>
                      <a:pt x="27" y="576"/>
                      <a:pt x="0" y="549"/>
                      <a:pt x="0" y="516"/>
                    </a:cubicBezTo>
                    <a:cubicBezTo>
                      <a:pt x="0" y="60"/>
                      <a:pt x="0" y="60"/>
                      <a:pt x="0" y="60"/>
                    </a:cubicBezTo>
                    <a:cubicBezTo>
                      <a:pt x="0" y="27"/>
                      <a:pt x="27" y="0"/>
                      <a:pt x="60" y="0"/>
                    </a:cubicBezTo>
                    <a:cubicBezTo>
                      <a:pt x="753" y="0"/>
                      <a:pt x="753" y="0"/>
                      <a:pt x="753" y="0"/>
                    </a:cubicBezTo>
                    <a:cubicBezTo>
                      <a:pt x="786" y="0"/>
                      <a:pt x="813" y="27"/>
                      <a:pt x="813" y="60"/>
                    </a:cubicBezTo>
                    <a:cubicBezTo>
                      <a:pt x="813" y="516"/>
                      <a:pt x="813" y="516"/>
                      <a:pt x="813" y="516"/>
                    </a:cubicBezTo>
                    <a:cubicBezTo>
                      <a:pt x="813" y="549"/>
                      <a:pt x="786" y="576"/>
                      <a:pt x="753" y="576"/>
                    </a:cubicBezTo>
                    <a:close/>
                    <a:moveTo>
                      <a:pt x="60" y="40"/>
                    </a:moveTo>
                    <a:cubicBezTo>
                      <a:pt x="49" y="40"/>
                      <a:pt x="40" y="49"/>
                      <a:pt x="40" y="60"/>
                    </a:cubicBezTo>
                    <a:cubicBezTo>
                      <a:pt x="40" y="516"/>
                      <a:pt x="40" y="516"/>
                      <a:pt x="40" y="516"/>
                    </a:cubicBezTo>
                    <a:cubicBezTo>
                      <a:pt x="40" y="527"/>
                      <a:pt x="49" y="536"/>
                      <a:pt x="60" y="536"/>
                    </a:cubicBezTo>
                    <a:cubicBezTo>
                      <a:pt x="753" y="536"/>
                      <a:pt x="753" y="536"/>
                      <a:pt x="753" y="536"/>
                    </a:cubicBezTo>
                    <a:cubicBezTo>
                      <a:pt x="764" y="536"/>
                      <a:pt x="773" y="527"/>
                      <a:pt x="773" y="516"/>
                    </a:cubicBezTo>
                    <a:cubicBezTo>
                      <a:pt x="773" y="60"/>
                      <a:pt x="773" y="60"/>
                      <a:pt x="773" y="60"/>
                    </a:cubicBezTo>
                    <a:cubicBezTo>
                      <a:pt x="773" y="49"/>
                      <a:pt x="764" y="40"/>
                      <a:pt x="753" y="40"/>
                    </a:cubicBezTo>
                    <a:lnTo>
                      <a:pt x="60" y="40"/>
                    </a:ln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25" name="Freeform 73">
                <a:extLst>
                  <a:ext uri="{FF2B5EF4-FFF2-40B4-BE49-F238E27FC236}">
                    <a16:creationId xmlns:a16="http://schemas.microsoft.com/office/drawing/2014/main" id="{92AA2249-E257-4706-A1CF-254619543C56}"/>
                  </a:ext>
                </a:extLst>
              </p:cNvPr>
              <p:cNvSpPr>
                <a:spLocks/>
              </p:cNvSpPr>
              <p:nvPr/>
            </p:nvSpPr>
            <p:spPr bwMode="auto">
              <a:xfrm>
                <a:off x="9304160" y="5569217"/>
                <a:ext cx="101386" cy="443127"/>
              </a:xfrm>
              <a:custGeom>
                <a:avLst/>
                <a:gdLst>
                  <a:gd name="T0" fmla="*/ 106 w 106"/>
                  <a:gd name="T1" fmla="*/ 465 h 465"/>
                  <a:gd name="T2" fmla="*/ 57 w 106"/>
                  <a:gd name="T3" fmla="*/ 465 h 465"/>
                  <a:gd name="T4" fmla="*/ 0 w 106"/>
                  <a:gd name="T5" fmla="*/ 409 h 465"/>
                  <a:gd name="T6" fmla="*/ 0 w 106"/>
                  <a:gd name="T7" fmla="*/ 56 h 465"/>
                  <a:gd name="T8" fmla="*/ 57 w 106"/>
                  <a:gd name="T9" fmla="*/ 0 h 465"/>
                  <a:gd name="T10" fmla="*/ 106 w 106"/>
                  <a:gd name="T11" fmla="*/ 0 h 465"/>
                  <a:gd name="T12" fmla="*/ 106 w 106"/>
                  <a:gd name="T13" fmla="*/ 40 h 465"/>
                  <a:gd name="T14" fmla="*/ 57 w 106"/>
                  <a:gd name="T15" fmla="*/ 40 h 465"/>
                  <a:gd name="T16" fmla="*/ 40 w 106"/>
                  <a:gd name="T17" fmla="*/ 56 h 465"/>
                  <a:gd name="T18" fmla="*/ 40 w 106"/>
                  <a:gd name="T19" fmla="*/ 409 h 465"/>
                  <a:gd name="T20" fmla="*/ 57 w 106"/>
                  <a:gd name="T21" fmla="*/ 425 h 465"/>
                  <a:gd name="T22" fmla="*/ 106 w 106"/>
                  <a:gd name="T23" fmla="*/ 425 h 465"/>
                  <a:gd name="T24" fmla="*/ 106 w 106"/>
                  <a:gd name="T25"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465">
                    <a:moveTo>
                      <a:pt x="106" y="465"/>
                    </a:moveTo>
                    <a:cubicBezTo>
                      <a:pt x="57" y="465"/>
                      <a:pt x="57" y="465"/>
                      <a:pt x="57" y="465"/>
                    </a:cubicBezTo>
                    <a:cubicBezTo>
                      <a:pt x="26" y="465"/>
                      <a:pt x="0" y="440"/>
                      <a:pt x="0" y="409"/>
                    </a:cubicBezTo>
                    <a:cubicBezTo>
                      <a:pt x="0" y="56"/>
                      <a:pt x="0" y="56"/>
                      <a:pt x="0" y="56"/>
                    </a:cubicBezTo>
                    <a:cubicBezTo>
                      <a:pt x="0" y="25"/>
                      <a:pt x="26" y="0"/>
                      <a:pt x="57" y="0"/>
                    </a:cubicBezTo>
                    <a:cubicBezTo>
                      <a:pt x="106" y="0"/>
                      <a:pt x="106" y="0"/>
                      <a:pt x="106" y="0"/>
                    </a:cubicBezTo>
                    <a:cubicBezTo>
                      <a:pt x="106" y="40"/>
                      <a:pt x="106" y="40"/>
                      <a:pt x="106" y="40"/>
                    </a:cubicBezTo>
                    <a:cubicBezTo>
                      <a:pt x="57" y="40"/>
                      <a:pt x="57" y="40"/>
                      <a:pt x="57" y="40"/>
                    </a:cubicBezTo>
                    <a:cubicBezTo>
                      <a:pt x="48" y="40"/>
                      <a:pt x="40" y="47"/>
                      <a:pt x="40" y="56"/>
                    </a:cubicBezTo>
                    <a:cubicBezTo>
                      <a:pt x="40" y="409"/>
                      <a:pt x="40" y="409"/>
                      <a:pt x="40" y="409"/>
                    </a:cubicBezTo>
                    <a:cubicBezTo>
                      <a:pt x="40" y="418"/>
                      <a:pt x="48" y="425"/>
                      <a:pt x="57" y="425"/>
                    </a:cubicBezTo>
                    <a:cubicBezTo>
                      <a:pt x="106" y="425"/>
                      <a:pt x="106" y="425"/>
                      <a:pt x="106" y="425"/>
                    </a:cubicBezTo>
                    <a:lnTo>
                      <a:pt x="106" y="465"/>
                    </a:ln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26" name="Freeform 74">
                <a:extLst>
                  <a:ext uri="{FF2B5EF4-FFF2-40B4-BE49-F238E27FC236}">
                    <a16:creationId xmlns:a16="http://schemas.microsoft.com/office/drawing/2014/main" id="{69E575AC-9331-4A4F-801B-73BF998250F1}"/>
                  </a:ext>
                </a:extLst>
              </p:cNvPr>
              <p:cNvSpPr>
                <a:spLocks/>
              </p:cNvSpPr>
              <p:nvPr/>
            </p:nvSpPr>
            <p:spPr bwMode="auto">
              <a:xfrm>
                <a:off x="9618806" y="5300020"/>
                <a:ext cx="445748" cy="169559"/>
              </a:xfrm>
              <a:custGeom>
                <a:avLst/>
                <a:gdLst>
                  <a:gd name="T0" fmla="*/ 466 w 466"/>
                  <a:gd name="T1" fmla="*/ 178 h 178"/>
                  <a:gd name="T2" fmla="*/ 426 w 466"/>
                  <a:gd name="T3" fmla="*/ 178 h 178"/>
                  <a:gd name="T4" fmla="*/ 426 w 466"/>
                  <a:gd name="T5" fmla="*/ 56 h 178"/>
                  <a:gd name="T6" fmla="*/ 409 w 466"/>
                  <a:gd name="T7" fmla="*/ 40 h 178"/>
                  <a:gd name="T8" fmla="*/ 56 w 466"/>
                  <a:gd name="T9" fmla="*/ 40 h 178"/>
                  <a:gd name="T10" fmla="*/ 40 w 466"/>
                  <a:gd name="T11" fmla="*/ 56 h 178"/>
                  <a:gd name="T12" fmla="*/ 40 w 466"/>
                  <a:gd name="T13" fmla="*/ 178 h 178"/>
                  <a:gd name="T14" fmla="*/ 0 w 466"/>
                  <a:gd name="T15" fmla="*/ 178 h 178"/>
                  <a:gd name="T16" fmla="*/ 0 w 466"/>
                  <a:gd name="T17" fmla="*/ 56 h 178"/>
                  <a:gd name="T18" fmla="*/ 56 w 466"/>
                  <a:gd name="T19" fmla="*/ 0 h 178"/>
                  <a:gd name="T20" fmla="*/ 409 w 466"/>
                  <a:gd name="T21" fmla="*/ 0 h 178"/>
                  <a:gd name="T22" fmla="*/ 466 w 466"/>
                  <a:gd name="T23" fmla="*/ 56 h 178"/>
                  <a:gd name="T24" fmla="*/ 466 w 466"/>
                  <a:gd name="T25"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6" h="178">
                    <a:moveTo>
                      <a:pt x="466" y="178"/>
                    </a:moveTo>
                    <a:cubicBezTo>
                      <a:pt x="426" y="178"/>
                      <a:pt x="426" y="178"/>
                      <a:pt x="426" y="178"/>
                    </a:cubicBezTo>
                    <a:cubicBezTo>
                      <a:pt x="426" y="56"/>
                      <a:pt x="426" y="56"/>
                      <a:pt x="426" y="56"/>
                    </a:cubicBezTo>
                    <a:cubicBezTo>
                      <a:pt x="426" y="47"/>
                      <a:pt x="418" y="40"/>
                      <a:pt x="409" y="40"/>
                    </a:cubicBezTo>
                    <a:cubicBezTo>
                      <a:pt x="56" y="40"/>
                      <a:pt x="56" y="40"/>
                      <a:pt x="56" y="40"/>
                    </a:cubicBezTo>
                    <a:cubicBezTo>
                      <a:pt x="47" y="40"/>
                      <a:pt x="40" y="47"/>
                      <a:pt x="40" y="56"/>
                    </a:cubicBezTo>
                    <a:cubicBezTo>
                      <a:pt x="40" y="178"/>
                      <a:pt x="40" y="178"/>
                      <a:pt x="40" y="178"/>
                    </a:cubicBezTo>
                    <a:cubicBezTo>
                      <a:pt x="0" y="178"/>
                      <a:pt x="0" y="178"/>
                      <a:pt x="0" y="178"/>
                    </a:cubicBezTo>
                    <a:cubicBezTo>
                      <a:pt x="0" y="56"/>
                      <a:pt x="0" y="56"/>
                      <a:pt x="0" y="56"/>
                    </a:cubicBezTo>
                    <a:cubicBezTo>
                      <a:pt x="0" y="25"/>
                      <a:pt x="25" y="0"/>
                      <a:pt x="56" y="0"/>
                    </a:cubicBezTo>
                    <a:cubicBezTo>
                      <a:pt x="409" y="0"/>
                      <a:pt x="409" y="0"/>
                      <a:pt x="409" y="0"/>
                    </a:cubicBezTo>
                    <a:cubicBezTo>
                      <a:pt x="440" y="0"/>
                      <a:pt x="466" y="25"/>
                      <a:pt x="466" y="56"/>
                    </a:cubicBezTo>
                    <a:lnTo>
                      <a:pt x="466" y="178"/>
                    </a:ln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27" name="Freeform 75">
                <a:extLst>
                  <a:ext uri="{FF2B5EF4-FFF2-40B4-BE49-F238E27FC236}">
                    <a16:creationId xmlns:a16="http://schemas.microsoft.com/office/drawing/2014/main" id="{1BF0A786-091F-4714-A9BD-22041C700D93}"/>
                  </a:ext>
                </a:extLst>
              </p:cNvPr>
              <p:cNvSpPr>
                <a:spLocks/>
              </p:cNvSpPr>
              <p:nvPr/>
            </p:nvSpPr>
            <p:spPr bwMode="auto">
              <a:xfrm>
                <a:off x="9618806" y="6102367"/>
                <a:ext cx="445748" cy="96142"/>
              </a:xfrm>
              <a:custGeom>
                <a:avLst/>
                <a:gdLst>
                  <a:gd name="T0" fmla="*/ 409 w 466"/>
                  <a:gd name="T1" fmla="*/ 101 h 101"/>
                  <a:gd name="T2" fmla="*/ 56 w 466"/>
                  <a:gd name="T3" fmla="*/ 101 h 101"/>
                  <a:gd name="T4" fmla="*/ 0 w 466"/>
                  <a:gd name="T5" fmla="*/ 45 h 101"/>
                  <a:gd name="T6" fmla="*/ 0 w 466"/>
                  <a:gd name="T7" fmla="*/ 0 h 101"/>
                  <a:gd name="T8" fmla="*/ 40 w 466"/>
                  <a:gd name="T9" fmla="*/ 0 h 101"/>
                  <a:gd name="T10" fmla="*/ 40 w 466"/>
                  <a:gd name="T11" fmla="*/ 45 h 101"/>
                  <a:gd name="T12" fmla="*/ 56 w 466"/>
                  <a:gd name="T13" fmla="*/ 61 h 101"/>
                  <a:gd name="T14" fmla="*/ 409 w 466"/>
                  <a:gd name="T15" fmla="*/ 61 h 101"/>
                  <a:gd name="T16" fmla="*/ 426 w 466"/>
                  <a:gd name="T17" fmla="*/ 45 h 101"/>
                  <a:gd name="T18" fmla="*/ 426 w 466"/>
                  <a:gd name="T19" fmla="*/ 0 h 101"/>
                  <a:gd name="T20" fmla="*/ 466 w 466"/>
                  <a:gd name="T21" fmla="*/ 0 h 101"/>
                  <a:gd name="T22" fmla="*/ 466 w 466"/>
                  <a:gd name="T23" fmla="*/ 45 h 101"/>
                  <a:gd name="T24" fmla="*/ 409 w 466"/>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6" h="101">
                    <a:moveTo>
                      <a:pt x="409" y="101"/>
                    </a:moveTo>
                    <a:cubicBezTo>
                      <a:pt x="56" y="101"/>
                      <a:pt x="56" y="101"/>
                      <a:pt x="56" y="101"/>
                    </a:cubicBezTo>
                    <a:cubicBezTo>
                      <a:pt x="25" y="101"/>
                      <a:pt x="0" y="76"/>
                      <a:pt x="0" y="45"/>
                    </a:cubicBezTo>
                    <a:cubicBezTo>
                      <a:pt x="0" y="0"/>
                      <a:pt x="0" y="0"/>
                      <a:pt x="0" y="0"/>
                    </a:cubicBezTo>
                    <a:cubicBezTo>
                      <a:pt x="40" y="0"/>
                      <a:pt x="40" y="0"/>
                      <a:pt x="40" y="0"/>
                    </a:cubicBezTo>
                    <a:cubicBezTo>
                      <a:pt x="40" y="45"/>
                      <a:pt x="40" y="45"/>
                      <a:pt x="40" y="45"/>
                    </a:cubicBezTo>
                    <a:cubicBezTo>
                      <a:pt x="40" y="54"/>
                      <a:pt x="47" y="61"/>
                      <a:pt x="56" y="61"/>
                    </a:cubicBezTo>
                    <a:cubicBezTo>
                      <a:pt x="409" y="61"/>
                      <a:pt x="409" y="61"/>
                      <a:pt x="409" y="61"/>
                    </a:cubicBezTo>
                    <a:cubicBezTo>
                      <a:pt x="418" y="61"/>
                      <a:pt x="426" y="54"/>
                      <a:pt x="426" y="45"/>
                    </a:cubicBezTo>
                    <a:cubicBezTo>
                      <a:pt x="426" y="0"/>
                      <a:pt x="426" y="0"/>
                      <a:pt x="426" y="0"/>
                    </a:cubicBezTo>
                    <a:cubicBezTo>
                      <a:pt x="466" y="0"/>
                      <a:pt x="466" y="0"/>
                      <a:pt x="466" y="0"/>
                    </a:cubicBezTo>
                    <a:cubicBezTo>
                      <a:pt x="466" y="45"/>
                      <a:pt x="466" y="45"/>
                      <a:pt x="466" y="45"/>
                    </a:cubicBezTo>
                    <a:cubicBezTo>
                      <a:pt x="466" y="76"/>
                      <a:pt x="440" y="101"/>
                      <a:pt x="409" y="101"/>
                    </a:cubicBez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28" name="Freeform 76">
                <a:extLst>
                  <a:ext uri="{FF2B5EF4-FFF2-40B4-BE49-F238E27FC236}">
                    <a16:creationId xmlns:a16="http://schemas.microsoft.com/office/drawing/2014/main" id="{D6F40D70-90F3-4299-BF38-16F298903437}"/>
                  </a:ext>
                </a:extLst>
              </p:cNvPr>
              <p:cNvSpPr>
                <a:spLocks/>
              </p:cNvSpPr>
              <p:nvPr/>
            </p:nvSpPr>
            <p:spPr bwMode="auto">
              <a:xfrm>
                <a:off x="9710578" y="5223106"/>
                <a:ext cx="261331" cy="102260"/>
              </a:xfrm>
              <a:custGeom>
                <a:avLst/>
                <a:gdLst>
                  <a:gd name="T0" fmla="*/ 273 w 273"/>
                  <a:gd name="T1" fmla="*/ 107 h 107"/>
                  <a:gd name="T2" fmla="*/ 233 w 273"/>
                  <a:gd name="T3" fmla="*/ 107 h 107"/>
                  <a:gd name="T4" fmla="*/ 233 w 273"/>
                  <a:gd name="T5" fmla="*/ 40 h 107"/>
                  <a:gd name="T6" fmla="*/ 40 w 273"/>
                  <a:gd name="T7" fmla="*/ 40 h 107"/>
                  <a:gd name="T8" fmla="*/ 40 w 273"/>
                  <a:gd name="T9" fmla="*/ 107 h 107"/>
                  <a:gd name="T10" fmla="*/ 0 w 273"/>
                  <a:gd name="T11" fmla="*/ 107 h 107"/>
                  <a:gd name="T12" fmla="*/ 0 w 273"/>
                  <a:gd name="T13" fmla="*/ 40 h 107"/>
                  <a:gd name="T14" fmla="*/ 40 w 273"/>
                  <a:gd name="T15" fmla="*/ 0 h 107"/>
                  <a:gd name="T16" fmla="*/ 233 w 273"/>
                  <a:gd name="T17" fmla="*/ 0 h 107"/>
                  <a:gd name="T18" fmla="*/ 273 w 273"/>
                  <a:gd name="T19" fmla="*/ 40 h 107"/>
                  <a:gd name="T20" fmla="*/ 273 w 273"/>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 h="107">
                    <a:moveTo>
                      <a:pt x="273" y="107"/>
                    </a:moveTo>
                    <a:cubicBezTo>
                      <a:pt x="233" y="107"/>
                      <a:pt x="233" y="107"/>
                      <a:pt x="233" y="107"/>
                    </a:cubicBezTo>
                    <a:cubicBezTo>
                      <a:pt x="233" y="40"/>
                      <a:pt x="233" y="40"/>
                      <a:pt x="233" y="40"/>
                    </a:cubicBezTo>
                    <a:cubicBezTo>
                      <a:pt x="40" y="40"/>
                      <a:pt x="40" y="40"/>
                      <a:pt x="40" y="40"/>
                    </a:cubicBezTo>
                    <a:cubicBezTo>
                      <a:pt x="40" y="107"/>
                      <a:pt x="40" y="107"/>
                      <a:pt x="40" y="107"/>
                    </a:cubicBezTo>
                    <a:cubicBezTo>
                      <a:pt x="0" y="107"/>
                      <a:pt x="0" y="107"/>
                      <a:pt x="0" y="107"/>
                    </a:cubicBezTo>
                    <a:cubicBezTo>
                      <a:pt x="0" y="40"/>
                      <a:pt x="0" y="40"/>
                      <a:pt x="0" y="40"/>
                    </a:cubicBezTo>
                    <a:cubicBezTo>
                      <a:pt x="0" y="18"/>
                      <a:pt x="18" y="0"/>
                      <a:pt x="40" y="0"/>
                    </a:cubicBezTo>
                    <a:cubicBezTo>
                      <a:pt x="233" y="0"/>
                      <a:pt x="233" y="0"/>
                      <a:pt x="233" y="0"/>
                    </a:cubicBezTo>
                    <a:cubicBezTo>
                      <a:pt x="255" y="0"/>
                      <a:pt x="273" y="18"/>
                      <a:pt x="273" y="40"/>
                    </a:cubicBezTo>
                    <a:lnTo>
                      <a:pt x="273" y="107"/>
                    </a:ln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29" name="Freeform 77">
                <a:extLst>
                  <a:ext uri="{FF2B5EF4-FFF2-40B4-BE49-F238E27FC236}">
                    <a16:creationId xmlns:a16="http://schemas.microsoft.com/office/drawing/2014/main" id="{4BFCA334-D072-4F49-9A90-E34063155B6F}"/>
                  </a:ext>
                </a:extLst>
              </p:cNvPr>
              <p:cNvSpPr>
                <a:spLocks/>
              </p:cNvSpPr>
              <p:nvPr/>
            </p:nvSpPr>
            <p:spPr bwMode="auto">
              <a:xfrm>
                <a:off x="9570736" y="5454721"/>
                <a:ext cx="544512" cy="584717"/>
              </a:xfrm>
              <a:custGeom>
                <a:avLst/>
                <a:gdLst>
                  <a:gd name="T0" fmla="*/ 40 w 569"/>
                  <a:gd name="T1" fmla="*/ 614 h 614"/>
                  <a:gd name="T2" fmla="*/ 0 w 569"/>
                  <a:gd name="T3" fmla="*/ 614 h 614"/>
                  <a:gd name="T4" fmla="*/ 0 w 569"/>
                  <a:gd name="T5" fmla="*/ 57 h 614"/>
                  <a:gd name="T6" fmla="*/ 56 w 569"/>
                  <a:gd name="T7" fmla="*/ 0 h 614"/>
                  <a:gd name="T8" fmla="*/ 513 w 569"/>
                  <a:gd name="T9" fmla="*/ 0 h 614"/>
                  <a:gd name="T10" fmla="*/ 569 w 569"/>
                  <a:gd name="T11" fmla="*/ 57 h 614"/>
                  <a:gd name="T12" fmla="*/ 569 w 569"/>
                  <a:gd name="T13" fmla="*/ 88 h 614"/>
                  <a:gd name="T14" fmla="*/ 529 w 569"/>
                  <a:gd name="T15" fmla="*/ 88 h 614"/>
                  <a:gd name="T16" fmla="*/ 529 w 569"/>
                  <a:gd name="T17" fmla="*/ 57 h 614"/>
                  <a:gd name="T18" fmla="*/ 513 w 569"/>
                  <a:gd name="T19" fmla="*/ 40 h 614"/>
                  <a:gd name="T20" fmla="*/ 56 w 569"/>
                  <a:gd name="T21" fmla="*/ 40 h 614"/>
                  <a:gd name="T22" fmla="*/ 40 w 569"/>
                  <a:gd name="T23" fmla="*/ 57 h 614"/>
                  <a:gd name="T24" fmla="*/ 40 w 569"/>
                  <a:gd name="T25" fmla="*/ 61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9" h="614">
                    <a:moveTo>
                      <a:pt x="40" y="614"/>
                    </a:moveTo>
                    <a:cubicBezTo>
                      <a:pt x="0" y="614"/>
                      <a:pt x="0" y="614"/>
                      <a:pt x="0" y="614"/>
                    </a:cubicBezTo>
                    <a:cubicBezTo>
                      <a:pt x="0" y="57"/>
                      <a:pt x="0" y="57"/>
                      <a:pt x="0" y="57"/>
                    </a:cubicBezTo>
                    <a:cubicBezTo>
                      <a:pt x="0" y="26"/>
                      <a:pt x="25" y="0"/>
                      <a:pt x="56" y="0"/>
                    </a:cubicBezTo>
                    <a:cubicBezTo>
                      <a:pt x="513" y="0"/>
                      <a:pt x="513" y="0"/>
                      <a:pt x="513" y="0"/>
                    </a:cubicBezTo>
                    <a:cubicBezTo>
                      <a:pt x="544" y="0"/>
                      <a:pt x="569" y="26"/>
                      <a:pt x="569" y="57"/>
                    </a:cubicBezTo>
                    <a:cubicBezTo>
                      <a:pt x="569" y="88"/>
                      <a:pt x="569" y="88"/>
                      <a:pt x="569" y="88"/>
                    </a:cubicBezTo>
                    <a:cubicBezTo>
                      <a:pt x="529" y="88"/>
                      <a:pt x="529" y="88"/>
                      <a:pt x="529" y="88"/>
                    </a:cubicBezTo>
                    <a:cubicBezTo>
                      <a:pt x="529" y="57"/>
                      <a:pt x="529" y="57"/>
                      <a:pt x="529" y="57"/>
                    </a:cubicBezTo>
                    <a:cubicBezTo>
                      <a:pt x="529" y="48"/>
                      <a:pt x="522" y="40"/>
                      <a:pt x="513" y="40"/>
                    </a:cubicBezTo>
                    <a:cubicBezTo>
                      <a:pt x="56" y="40"/>
                      <a:pt x="56" y="40"/>
                      <a:pt x="56" y="40"/>
                    </a:cubicBezTo>
                    <a:cubicBezTo>
                      <a:pt x="47" y="40"/>
                      <a:pt x="40" y="48"/>
                      <a:pt x="40" y="57"/>
                    </a:cubicBezTo>
                    <a:lnTo>
                      <a:pt x="40" y="614"/>
                    </a:ln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30" name="Freeform 78">
                <a:extLst>
                  <a:ext uri="{FF2B5EF4-FFF2-40B4-BE49-F238E27FC236}">
                    <a16:creationId xmlns:a16="http://schemas.microsoft.com/office/drawing/2014/main" id="{922645BB-E014-4DFA-B297-DA7F17BA33DF}"/>
                  </a:ext>
                </a:extLst>
              </p:cNvPr>
              <p:cNvSpPr>
                <a:spLocks/>
              </p:cNvSpPr>
              <p:nvPr/>
            </p:nvSpPr>
            <p:spPr bwMode="auto">
              <a:xfrm>
                <a:off x="9570736" y="6041186"/>
                <a:ext cx="544512" cy="83906"/>
              </a:xfrm>
              <a:custGeom>
                <a:avLst/>
                <a:gdLst>
                  <a:gd name="T0" fmla="*/ 513 w 569"/>
                  <a:gd name="T1" fmla="*/ 88 h 88"/>
                  <a:gd name="T2" fmla="*/ 56 w 569"/>
                  <a:gd name="T3" fmla="*/ 88 h 88"/>
                  <a:gd name="T4" fmla="*/ 0 w 569"/>
                  <a:gd name="T5" fmla="*/ 32 h 88"/>
                  <a:gd name="T6" fmla="*/ 0 w 569"/>
                  <a:gd name="T7" fmla="*/ 0 h 88"/>
                  <a:gd name="T8" fmla="*/ 40 w 569"/>
                  <a:gd name="T9" fmla="*/ 0 h 88"/>
                  <a:gd name="T10" fmla="*/ 40 w 569"/>
                  <a:gd name="T11" fmla="*/ 32 h 88"/>
                  <a:gd name="T12" fmla="*/ 56 w 569"/>
                  <a:gd name="T13" fmla="*/ 48 h 88"/>
                  <a:gd name="T14" fmla="*/ 513 w 569"/>
                  <a:gd name="T15" fmla="*/ 48 h 88"/>
                  <a:gd name="T16" fmla="*/ 529 w 569"/>
                  <a:gd name="T17" fmla="*/ 32 h 88"/>
                  <a:gd name="T18" fmla="*/ 529 w 569"/>
                  <a:gd name="T19" fmla="*/ 12 h 88"/>
                  <a:gd name="T20" fmla="*/ 569 w 569"/>
                  <a:gd name="T21" fmla="*/ 12 h 88"/>
                  <a:gd name="T22" fmla="*/ 569 w 569"/>
                  <a:gd name="T23" fmla="*/ 32 h 88"/>
                  <a:gd name="T24" fmla="*/ 513 w 569"/>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9" h="88">
                    <a:moveTo>
                      <a:pt x="513" y="88"/>
                    </a:moveTo>
                    <a:cubicBezTo>
                      <a:pt x="56" y="88"/>
                      <a:pt x="56" y="88"/>
                      <a:pt x="56" y="88"/>
                    </a:cubicBezTo>
                    <a:cubicBezTo>
                      <a:pt x="25" y="88"/>
                      <a:pt x="0" y="63"/>
                      <a:pt x="0" y="32"/>
                    </a:cubicBezTo>
                    <a:cubicBezTo>
                      <a:pt x="0" y="0"/>
                      <a:pt x="0" y="0"/>
                      <a:pt x="0" y="0"/>
                    </a:cubicBezTo>
                    <a:cubicBezTo>
                      <a:pt x="40" y="0"/>
                      <a:pt x="40" y="0"/>
                      <a:pt x="40" y="0"/>
                    </a:cubicBezTo>
                    <a:cubicBezTo>
                      <a:pt x="40" y="32"/>
                      <a:pt x="40" y="32"/>
                      <a:pt x="40" y="32"/>
                    </a:cubicBezTo>
                    <a:cubicBezTo>
                      <a:pt x="40" y="41"/>
                      <a:pt x="47" y="48"/>
                      <a:pt x="56" y="48"/>
                    </a:cubicBezTo>
                    <a:cubicBezTo>
                      <a:pt x="513" y="48"/>
                      <a:pt x="513" y="48"/>
                      <a:pt x="513" y="48"/>
                    </a:cubicBezTo>
                    <a:cubicBezTo>
                      <a:pt x="522" y="48"/>
                      <a:pt x="529" y="41"/>
                      <a:pt x="529" y="32"/>
                    </a:cubicBezTo>
                    <a:cubicBezTo>
                      <a:pt x="529" y="12"/>
                      <a:pt x="529" y="12"/>
                      <a:pt x="529" y="12"/>
                    </a:cubicBezTo>
                    <a:cubicBezTo>
                      <a:pt x="569" y="12"/>
                      <a:pt x="569" y="12"/>
                      <a:pt x="569" y="12"/>
                    </a:cubicBezTo>
                    <a:cubicBezTo>
                      <a:pt x="569" y="32"/>
                      <a:pt x="569" y="32"/>
                      <a:pt x="569" y="32"/>
                    </a:cubicBezTo>
                    <a:cubicBezTo>
                      <a:pt x="569" y="63"/>
                      <a:pt x="544" y="88"/>
                      <a:pt x="513" y="88"/>
                    </a:cubicBez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31" name="Freeform 79">
                <a:extLst>
                  <a:ext uri="{FF2B5EF4-FFF2-40B4-BE49-F238E27FC236}">
                    <a16:creationId xmlns:a16="http://schemas.microsoft.com/office/drawing/2014/main" id="{D19D75FD-4943-4BF6-AD15-4BEC3008083A}"/>
                  </a:ext>
                </a:extLst>
              </p:cNvPr>
              <p:cNvSpPr>
                <a:spLocks/>
              </p:cNvSpPr>
              <p:nvPr/>
            </p:nvSpPr>
            <p:spPr bwMode="auto">
              <a:xfrm>
                <a:off x="9696594" y="5598934"/>
                <a:ext cx="38457" cy="385442"/>
              </a:xfrm>
              <a:custGeom>
                <a:avLst/>
                <a:gdLst>
                  <a:gd name="T0" fmla="*/ 20 w 40"/>
                  <a:gd name="T1" fmla="*/ 405 h 405"/>
                  <a:gd name="T2" fmla="*/ 0 w 40"/>
                  <a:gd name="T3" fmla="*/ 385 h 405"/>
                  <a:gd name="T4" fmla="*/ 0 w 40"/>
                  <a:gd name="T5" fmla="*/ 20 h 405"/>
                  <a:gd name="T6" fmla="*/ 20 w 40"/>
                  <a:gd name="T7" fmla="*/ 0 h 405"/>
                  <a:gd name="T8" fmla="*/ 40 w 40"/>
                  <a:gd name="T9" fmla="*/ 20 h 405"/>
                  <a:gd name="T10" fmla="*/ 40 w 40"/>
                  <a:gd name="T11" fmla="*/ 385 h 405"/>
                  <a:gd name="T12" fmla="*/ 20 w 40"/>
                  <a:gd name="T13" fmla="*/ 405 h 405"/>
                </a:gdLst>
                <a:ahLst/>
                <a:cxnLst>
                  <a:cxn ang="0">
                    <a:pos x="T0" y="T1"/>
                  </a:cxn>
                  <a:cxn ang="0">
                    <a:pos x="T2" y="T3"/>
                  </a:cxn>
                  <a:cxn ang="0">
                    <a:pos x="T4" y="T5"/>
                  </a:cxn>
                  <a:cxn ang="0">
                    <a:pos x="T6" y="T7"/>
                  </a:cxn>
                  <a:cxn ang="0">
                    <a:pos x="T8" y="T9"/>
                  </a:cxn>
                  <a:cxn ang="0">
                    <a:pos x="T10" y="T11"/>
                  </a:cxn>
                  <a:cxn ang="0">
                    <a:pos x="T12" y="T13"/>
                  </a:cxn>
                </a:cxnLst>
                <a:rect l="0" t="0" r="r" b="b"/>
                <a:pathLst>
                  <a:path w="40" h="405">
                    <a:moveTo>
                      <a:pt x="20" y="405"/>
                    </a:moveTo>
                    <a:cubicBezTo>
                      <a:pt x="9" y="405"/>
                      <a:pt x="0" y="396"/>
                      <a:pt x="0" y="385"/>
                    </a:cubicBezTo>
                    <a:cubicBezTo>
                      <a:pt x="0" y="20"/>
                      <a:pt x="0" y="20"/>
                      <a:pt x="0" y="20"/>
                    </a:cubicBezTo>
                    <a:cubicBezTo>
                      <a:pt x="0" y="9"/>
                      <a:pt x="9" y="0"/>
                      <a:pt x="20" y="0"/>
                    </a:cubicBezTo>
                    <a:cubicBezTo>
                      <a:pt x="31" y="0"/>
                      <a:pt x="40" y="9"/>
                      <a:pt x="40" y="20"/>
                    </a:cubicBezTo>
                    <a:cubicBezTo>
                      <a:pt x="40" y="385"/>
                      <a:pt x="40" y="385"/>
                      <a:pt x="40" y="385"/>
                    </a:cubicBezTo>
                    <a:cubicBezTo>
                      <a:pt x="40" y="396"/>
                      <a:pt x="31" y="405"/>
                      <a:pt x="20" y="405"/>
                    </a:cubicBez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32" name="Freeform 80">
                <a:extLst>
                  <a:ext uri="{FF2B5EF4-FFF2-40B4-BE49-F238E27FC236}">
                    <a16:creationId xmlns:a16="http://schemas.microsoft.com/office/drawing/2014/main" id="{7C162E61-002A-4AE6-8BDC-EAC763C9DC41}"/>
                  </a:ext>
                </a:extLst>
              </p:cNvPr>
              <p:cNvSpPr>
                <a:spLocks/>
              </p:cNvSpPr>
              <p:nvPr/>
            </p:nvSpPr>
            <p:spPr bwMode="auto">
              <a:xfrm>
                <a:off x="9827696" y="5598934"/>
                <a:ext cx="38457" cy="385442"/>
              </a:xfrm>
              <a:custGeom>
                <a:avLst/>
                <a:gdLst>
                  <a:gd name="T0" fmla="*/ 20 w 40"/>
                  <a:gd name="T1" fmla="*/ 405 h 405"/>
                  <a:gd name="T2" fmla="*/ 0 w 40"/>
                  <a:gd name="T3" fmla="*/ 385 h 405"/>
                  <a:gd name="T4" fmla="*/ 0 w 40"/>
                  <a:gd name="T5" fmla="*/ 20 h 405"/>
                  <a:gd name="T6" fmla="*/ 20 w 40"/>
                  <a:gd name="T7" fmla="*/ 0 h 405"/>
                  <a:gd name="T8" fmla="*/ 40 w 40"/>
                  <a:gd name="T9" fmla="*/ 20 h 405"/>
                  <a:gd name="T10" fmla="*/ 40 w 40"/>
                  <a:gd name="T11" fmla="*/ 385 h 405"/>
                  <a:gd name="T12" fmla="*/ 20 w 40"/>
                  <a:gd name="T13" fmla="*/ 405 h 405"/>
                </a:gdLst>
                <a:ahLst/>
                <a:cxnLst>
                  <a:cxn ang="0">
                    <a:pos x="T0" y="T1"/>
                  </a:cxn>
                  <a:cxn ang="0">
                    <a:pos x="T2" y="T3"/>
                  </a:cxn>
                  <a:cxn ang="0">
                    <a:pos x="T4" y="T5"/>
                  </a:cxn>
                  <a:cxn ang="0">
                    <a:pos x="T6" y="T7"/>
                  </a:cxn>
                  <a:cxn ang="0">
                    <a:pos x="T8" y="T9"/>
                  </a:cxn>
                  <a:cxn ang="0">
                    <a:pos x="T10" y="T11"/>
                  </a:cxn>
                  <a:cxn ang="0">
                    <a:pos x="T12" y="T13"/>
                  </a:cxn>
                </a:cxnLst>
                <a:rect l="0" t="0" r="r" b="b"/>
                <a:pathLst>
                  <a:path w="40" h="405">
                    <a:moveTo>
                      <a:pt x="20" y="405"/>
                    </a:moveTo>
                    <a:cubicBezTo>
                      <a:pt x="9" y="405"/>
                      <a:pt x="0" y="396"/>
                      <a:pt x="0" y="385"/>
                    </a:cubicBezTo>
                    <a:cubicBezTo>
                      <a:pt x="0" y="20"/>
                      <a:pt x="0" y="20"/>
                      <a:pt x="0" y="20"/>
                    </a:cubicBezTo>
                    <a:cubicBezTo>
                      <a:pt x="0" y="9"/>
                      <a:pt x="9" y="0"/>
                      <a:pt x="20" y="0"/>
                    </a:cubicBezTo>
                    <a:cubicBezTo>
                      <a:pt x="32" y="0"/>
                      <a:pt x="40" y="9"/>
                      <a:pt x="40" y="20"/>
                    </a:cubicBezTo>
                    <a:cubicBezTo>
                      <a:pt x="40" y="385"/>
                      <a:pt x="40" y="385"/>
                      <a:pt x="40" y="385"/>
                    </a:cubicBezTo>
                    <a:cubicBezTo>
                      <a:pt x="40" y="396"/>
                      <a:pt x="32" y="405"/>
                      <a:pt x="20" y="405"/>
                    </a:cubicBez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sp>
            <p:nvSpPr>
              <p:cNvPr id="133" name="Freeform 81">
                <a:extLst>
                  <a:ext uri="{FF2B5EF4-FFF2-40B4-BE49-F238E27FC236}">
                    <a16:creationId xmlns:a16="http://schemas.microsoft.com/office/drawing/2014/main" id="{2EF12EAF-4E36-4B87-BD0B-6F37A0577FF2}"/>
                  </a:ext>
                </a:extLst>
              </p:cNvPr>
              <p:cNvSpPr>
                <a:spLocks/>
              </p:cNvSpPr>
              <p:nvPr/>
            </p:nvSpPr>
            <p:spPr bwMode="auto">
              <a:xfrm>
                <a:off x="9960547" y="5598934"/>
                <a:ext cx="37582" cy="385442"/>
              </a:xfrm>
              <a:custGeom>
                <a:avLst/>
                <a:gdLst>
                  <a:gd name="T0" fmla="*/ 20 w 40"/>
                  <a:gd name="T1" fmla="*/ 405 h 405"/>
                  <a:gd name="T2" fmla="*/ 0 w 40"/>
                  <a:gd name="T3" fmla="*/ 385 h 405"/>
                  <a:gd name="T4" fmla="*/ 0 w 40"/>
                  <a:gd name="T5" fmla="*/ 20 h 405"/>
                  <a:gd name="T6" fmla="*/ 20 w 40"/>
                  <a:gd name="T7" fmla="*/ 0 h 405"/>
                  <a:gd name="T8" fmla="*/ 40 w 40"/>
                  <a:gd name="T9" fmla="*/ 20 h 405"/>
                  <a:gd name="T10" fmla="*/ 40 w 40"/>
                  <a:gd name="T11" fmla="*/ 385 h 405"/>
                  <a:gd name="T12" fmla="*/ 20 w 40"/>
                  <a:gd name="T13" fmla="*/ 405 h 405"/>
                </a:gdLst>
                <a:ahLst/>
                <a:cxnLst>
                  <a:cxn ang="0">
                    <a:pos x="T0" y="T1"/>
                  </a:cxn>
                  <a:cxn ang="0">
                    <a:pos x="T2" y="T3"/>
                  </a:cxn>
                  <a:cxn ang="0">
                    <a:pos x="T4" y="T5"/>
                  </a:cxn>
                  <a:cxn ang="0">
                    <a:pos x="T6" y="T7"/>
                  </a:cxn>
                  <a:cxn ang="0">
                    <a:pos x="T8" y="T9"/>
                  </a:cxn>
                  <a:cxn ang="0">
                    <a:pos x="T10" y="T11"/>
                  </a:cxn>
                  <a:cxn ang="0">
                    <a:pos x="T12" y="T13"/>
                  </a:cxn>
                </a:cxnLst>
                <a:rect l="0" t="0" r="r" b="b"/>
                <a:pathLst>
                  <a:path w="40" h="405">
                    <a:moveTo>
                      <a:pt x="20" y="405"/>
                    </a:moveTo>
                    <a:cubicBezTo>
                      <a:pt x="9" y="405"/>
                      <a:pt x="0" y="396"/>
                      <a:pt x="0" y="385"/>
                    </a:cubicBezTo>
                    <a:cubicBezTo>
                      <a:pt x="0" y="20"/>
                      <a:pt x="0" y="20"/>
                      <a:pt x="0" y="20"/>
                    </a:cubicBezTo>
                    <a:cubicBezTo>
                      <a:pt x="0" y="9"/>
                      <a:pt x="9" y="0"/>
                      <a:pt x="20" y="0"/>
                    </a:cubicBezTo>
                    <a:cubicBezTo>
                      <a:pt x="31" y="0"/>
                      <a:pt x="40" y="9"/>
                      <a:pt x="40" y="20"/>
                    </a:cubicBezTo>
                    <a:cubicBezTo>
                      <a:pt x="40" y="385"/>
                      <a:pt x="40" y="385"/>
                      <a:pt x="40" y="385"/>
                    </a:cubicBezTo>
                    <a:cubicBezTo>
                      <a:pt x="40" y="396"/>
                      <a:pt x="31" y="405"/>
                      <a:pt x="20" y="405"/>
                    </a:cubicBezTo>
                    <a:close/>
                  </a:path>
                </a:pathLst>
              </a:custGeom>
              <a:grpFill/>
              <a:ln w="6350">
                <a:noFill/>
                <a:round/>
                <a:headEnd/>
                <a:tailEnd/>
              </a:ln>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071">
                  <a:solidFill>
                    <a:srgbClr val="505050"/>
                  </a:solidFill>
                  <a:latin typeface="Segoe UI"/>
                </a:endParaRPr>
              </a:p>
            </p:txBody>
          </p:sp>
        </p:grpSp>
      </p:grpSp>
      <p:grpSp>
        <p:nvGrpSpPr>
          <p:cNvPr id="135" name="Group 134">
            <a:extLst>
              <a:ext uri="{FF2B5EF4-FFF2-40B4-BE49-F238E27FC236}">
                <a16:creationId xmlns:a16="http://schemas.microsoft.com/office/drawing/2014/main" id="{ABB01A97-12E3-4A73-A9F8-02C69E624CE8}"/>
              </a:ext>
            </a:extLst>
          </p:cNvPr>
          <p:cNvGrpSpPr/>
          <p:nvPr/>
        </p:nvGrpSpPr>
        <p:grpSpPr>
          <a:xfrm>
            <a:off x="3134741" y="3894618"/>
            <a:ext cx="300201" cy="396804"/>
            <a:chOff x="9304160" y="5064035"/>
            <a:chExt cx="858284" cy="1134474"/>
          </a:xfrm>
        </p:grpSpPr>
        <p:sp>
          <p:nvSpPr>
            <p:cNvPr id="136" name="Freeform 63">
              <a:extLst>
                <a:ext uri="{FF2B5EF4-FFF2-40B4-BE49-F238E27FC236}">
                  <a16:creationId xmlns:a16="http://schemas.microsoft.com/office/drawing/2014/main" id="{3C6E2586-F1A8-4703-8B35-1AA636D9CBC6}"/>
                </a:ext>
              </a:extLst>
            </p:cNvPr>
            <p:cNvSpPr>
              <a:spLocks noEditPoints="1"/>
            </p:cNvSpPr>
            <p:nvPr/>
          </p:nvSpPr>
          <p:spPr bwMode="auto">
            <a:xfrm>
              <a:off x="9734176" y="5064035"/>
              <a:ext cx="208890" cy="197528"/>
            </a:xfrm>
            <a:custGeom>
              <a:avLst/>
              <a:gdLst>
                <a:gd name="T0" fmla="*/ 239 w 239"/>
                <a:gd name="T1" fmla="*/ 226 h 226"/>
                <a:gd name="T2" fmla="*/ 0 w 239"/>
                <a:gd name="T3" fmla="*/ 226 h 226"/>
                <a:gd name="T4" fmla="*/ 0 w 239"/>
                <a:gd name="T5" fmla="*/ 0 h 226"/>
                <a:gd name="T6" fmla="*/ 239 w 239"/>
                <a:gd name="T7" fmla="*/ 0 h 226"/>
                <a:gd name="T8" fmla="*/ 239 w 239"/>
                <a:gd name="T9" fmla="*/ 226 h 226"/>
                <a:gd name="T10" fmla="*/ 44 w 239"/>
                <a:gd name="T11" fmla="*/ 182 h 226"/>
                <a:gd name="T12" fmla="*/ 195 w 239"/>
                <a:gd name="T13" fmla="*/ 182 h 226"/>
                <a:gd name="T14" fmla="*/ 195 w 239"/>
                <a:gd name="T15" fmla="*/ 44 h 226"/>
                <a:gd name="T16" fmla="*/ 44 w 239"/>
                <a:gd name="T17" fmla="*/ 44 h 226"/>
                <a:gd name="T18" fmla="*/ 44 w 239"/>
                <a:gd name="T19" fmla="*/ 18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226">
                  <a:moveTo>
                    <a:pt x="239" y="226"/>
                  </a:moveTo>
                  <a:lnTo>
                    <a:pt x="0" y="226"/>
                  </a:lnTo>
                  <a:lnTo>
                    <a:pt x="0" y="0"/>
                  </a:lnTo>
                  <a:lnTo>
                    <a:pt x="239" y="0"/>
                  </a:lnTo>
                  <a:lnTo>
                    <a:pt x="239" y="226"/>
                  </a:lnTo>
                  <a:close/>
                  <a:moveTo>
                    <a:pt x="44" y="182"/>
                  </a:moveTo>
                  <a:lnTo>
                    <a:pt x="195" y="182"/>
                  </a:lnTo>
                  <a:lnTo>
                    <a:pt x="195" y="44"/>
                  </a:lnTo>
                  <a:lnTo>
                    <a:pt x="44" y="44"/>
                  </a:lnTo>
                  <a:lnTo>
                    <a:pt x="44" y="18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37" name="Freeform 72">
              <a:extLst>
                <a:ext uri="{FF2B5EF4-FFF2-40B4-BE49-F238E27FC236}">
                  <a16:creationId xmlns:a16="http://schemas.microsoft.com/office/drawing/2014/main" id="{8E15A5FB-6C62-4F07-A2BE-FE36755F35F9}"/>
                </a:ext>
              </a:extLst>
            </p:cNvPr>
            <p:cNvSpPr>
              <a:spLocks noEditPoints="1"/>
            </p:cNvSpPr>
            <p:nvPr/>
          </p:nvSpPr>
          <p:spPr bwMode="auto">
            <a:xfrm>
              <a:off x="9383696" y="5512406"/>
              <a:ext cx="778748" cy="548882"/>
            </a:xfrm>
            <a:custGeom>
              <a:avLst/>
              <a:gdLst>
                <a:gd name="T0" fmla="*/ 753 w 813"/>
                <a:gd name="T1" fmla="*/ 576 h 576"/>
                <a:gd name="T2" fmla="*/ 60 w 813"/>
                <a:gd name="T3" fmla="*/ 576 h 576"/>
                <a:gd name="T4" fmla="*/ 0 w 813"/>
                <a:gd name="T5" fmla="*/ 516 h 576"/>
                <a:gd name="T6" fmla="*/ 0 w 813"/>
                <a:gd name="T7" fmla="*/ 60 h 576"/>
                <a:gd name="T8" fmla="*/ 60 w 813"/>
                <a:gd name="T9" fmla="*/ 0 h 576"/>
                <a:gd name="T10" fmla="*/ 753 w 813"/>
                <a:gd name="T11" fmla="*/ 0 h 576"/>
                <a:gd name="T12" fmla="*/ 813 w 813"/>
                <a:gd name="T13" fmla="*/ 60 h 576"/>
                <a:gd name="T14" fmla="*/ 813 w 813"/>
                <a:gd name="T15" fmla="*/ 516 h 576"/>
                <a:gd name="T16" fmla="*/ 753 w 813"/>
                <a:gd name="T17" fmla="*/ 576 h 576"/>
                <a:gd name="T18" fmla="*/ 60 w 813"/>
                <a:gd name="T19" fmla="*/ 40 h 576"/>
                <a:gd name="T20" fmla="*/ 40 w 813"/>
                <a:gd name="T21" fmla="*/ 60 h 576"/>
                <a:gd name="T22" fmla="*/ 40 w 813"/>
                <a:gd name="T23" fmla="*/ 516 h 576"/>
                <a:gd name="T24" fmla="*/ 60 w 813"/>
                <a:gd name="T25" fmla="*/ 536 h 576"/>
                <a:gd name="T26" fmla="*/ 753 w 813"/>
                <a:gd name="T27" fmla="*/ 536 h 576"/>
                <a:gd name="T28" fmla="*/ 773 w 813"/>
                <a:gd name="T29" fmla="*/ 516 h 576"/>
                <a:gd name="T30" fmla="*/ 773 w 813"/>
                <a:gd name="T31" fmla="*/ 60 h 576"/>
                <a:gd name="T32" fmla="*/ 753 w 813"/>
                <a:gd name="T33" fmla="*/ 40 h 576"/>
                <a:gd name="T34" fmla="*/ 60 w 813"/>
                <a:gd name="T35" fmla="*/ 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3" h="576">
                  <a:moveTo>
                    <a:pt x="753" y="576"/>
                  </a:moveTo>
                  <a:cubicBezTo>
                    <a:pt x="60" y="576"/>
                    <a:pt x="60" y="576"/>
                    <a:pt x="60" y="576"/>
                  </a:cubicBezTo>
                  <a:cubicBezTo>
                    <a:pt x="27" y="576"/>
                    <a:pt x="0" y="549"/>
                    <a:pt x="0" y="516"/>
                  </a:cubicBezTo>
                  <a:cubicBezTo>
                    <a:pt x="0" y="60"/>
                    <a:pt x="0" y="60"/>
                    <a:pt x="0" y="60"/>
                  </a:cubicBezTo>
                  <a:cubicBezTo>
                    <a:pt x="0" y="27"/>
                    <a:pt x="27" y="0"/>
                    <a:pt x="60" y="0"/>
                  </a:cubicBezTo>
                  <a:cubicBezTo>
                    <a:pt x="753" y="0"/>
                    <a:pt x="753" y="0"/>
                    <a:pt x="753" y="0"/>
                  </a:cubicBezTo>
                  <a:cubicBezTo>
                    <a:pt x="786" y="0"/>
                    <a:pt x="813" y="27"/>
                    <a:pt x="813" y="60"/>
                  </a:cubicBezTo>
                  <a:cubicBezTo>
                    <a:pt x="813" y="516"/>
                    <a:pt x="813" y="516"/>
                    <a:pt x="813" y="516"/>
                  </a:cubicBezTo>
                  <a:cubicBezTo>
                    <a:pt x="813" y="549"/>
                    <a:pt x="786" y="576"/>
                    <a:pt x="753" y="576"/>
                  </a:cubicBezTo>
                  <a:close/>
                  <a:moveTo>
                    <a:pt x="60" y="40"/>
                  </a:moveTo>
                  <a:cubicBezTo>
                    <a:pt x="49" y="40"/>
                    <a:pt x="40" y="49"/>
                    <a:pt x="40" y="60"/>
                  </a:cubicBezTo>
                  <a:cubicBezTo>
                    <a:pt x="40" y="516"/>
                    <a:pt x="40" y="516"/>
                    <a:pt x="40" y="516"/>
                  </a:cubicBezTo>
                  <a:cubicBezTo>
                    <a:pt x="40" y="527"/>
                    <a:pt x="49" y="536"/>
                    <a:pt x="60" y="536"/>
                  </a:cubicBezTo>
                  <a:cubicBezTo>
                    <a:pt x="753" y="536"/>
                    <a:pt x="753" y="536"/>
                    <a:pt x="753" y="536"/>
                  </a:cubicBezTo>
                  <a:cubicBezTo>
                    <a:pt x="764" y="536"/>
                    <a:pt x="773" y="527"/>
                    <a:pt x="773" y="516"/>
                  </a:cubicBezTo>
                  <a:cubicBezTo>
                    <a:pt x="773" y="60"/>
                    <a:pt x="773" y="60"/>
                    <a:pt x="773" y="60"/>
                  </a:cubicBezTo>
                  <a:cubicBezTo>
                    <a:pt x="773" y="49"/>
                    <a:pt x="764" y="40"/>
                    <a:pt x="753" y="40"/>
                  </a:cubicBezTo>
                  <a:lnTo>
                    <a:pt x="60" y="4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38" name="Freeform 73">
              <a:extLst>
                <a:ext uri="{FF2B5EF4-FFF2-40B4-BE49-F238E27FC236}">
                  <a16:creationId xmlns:a16="http://schemas.microsoft.com/office/drawing/2014/main" id="{F903DD07-FE6D-4206-A08C-EEED0A544B45}"/>
                </a:ext>
              </a:extLst>
            </p:cNvPr>
            <p:cNvSpPr>
              <a:spLocks/>
            </p:cNvSpPr>
            <p:nvPr/>
          </p:nvSpPr>
          <p:spPr bwMode="auto">
            <a:xfrm>
              <a:off x="9304160" y="5569217"/>
              <a:ext cx="101386" cy="443127"/>
            </a:xfrm>
            <a:custGeom>
              <a:avLst/>
              <a:gdLst>
                <a:gd name="T0" fmla="*/ 106 w 106"/>
                <a:gd name="T1" fmla="*/ 465 h 465"/>
                <a:gd name="T2" fmla="*/ 57 w 106"/>
                <a:gd name="T3" fmla="*/ 465 h 465"/>
                <a:gd name="T4" fmla="*/ 0 w 106"/>
                <a:gd name="T5" fmla="*/ 409 h 465"/>
                <a:gd name="T6" fmla="*/ 0 w 106"/>
                <a:gd name="T7" fmla="*/ 56 h 465"/>
                <a:gd name="T8" fmla="*/ 57 w 106"/>
                <a:gd name="T9" fmla="*/ 0 h 465"/>
                <a:gd name="T10" fmla="*/ 106 w 106"/>
                <a:gd name="T11" fmla="*/ 0 h 465"/>
                <a:gd name="T12" fmla="*/ 106 w 106"/>
                <a:gd name="T13" fmla="*/ 40 h 465"/>
                <a:gd name="T14" fmla="*/ 57 w 106"/>
                <a:gd name="T15" fmla="*/ 40 h 465"/>
                <a:gd name="T16" fmla="*/ 40 w 106"/>
                <a:gd name="T17" fmla="*/ 56 h 465"/>
                <a:gd name="T18" fmla="*/ 40 w 106"/>
                <a:gd name="T19" fmla="*/ 409 h 465"/>
                <a:gd name="T20" fmla="*/ 57 w 106"/>
                <a:gd name="T21" fmla="*/ 425 h 465"/>
                <a:gd name="T22" fmla="*/ 106 w 106"/>
                <a:gd name="T23" fmla="*/ 425 h 465"/>
                <a:gd name="T24" fmla="*/ 106 w 106"/>
                <a:gd name="T25" fmla="*/ 465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465">
                  <a:moveTo>
                    <a:pt x="106" y="465"/>
                  </a:moveTo>
                  <a:cubicBezTo>
                    <a:pt x="57" y="465"/>
                    <a:pt x="57" y="465"/>
                    <a:pt x="57" y="465"/>
                  </a:cubicBezTo>
                  <a:cubicBezTo>
                    <a:pt x="26" y="465"/>
                    <a:pt x="0" y="440"/>
                    <a:pt x="0" y="409"/>
                  </a:cubicBezTo>
                  <a:cubicBezTo>
                    <a:pt x="0" y="56"/>
                    <a:pt x="0" y="56"/>
                    <a:pt x="0" y="56"/>
                  </a:cubicBezTo>
                  <a:cubicBezTo>
                    <a:pt x="0" y="25"/>
                    <a:pt x="26" y="0"/>
                    <a:pt x="57" y="0"/>
                  </a:cubicBezTo>
                  <a:cubicBezTo>
                    <a:pt x="106" y="0"/>
                    <a:pt x="106" y="0"/>
                    <a:pt x="106" y="0"/>
                  </a:cubicBezTo>
                  <a:cubicBezTo>
                    <a:pt x="106" y="40"/>
                    <a:pt x="106" y="40"/>
                    <a:pt x="106" y="40"/>
                  </a:cubicBezTo>
                  <a:cubicBezTo>
                    <a:pt x="57" y="40"/>
                    <a:pt x="57" y="40"/>
                    <a:pt x="57" y="40"/>
                  </a:cubicBezTo>
                  <a:cubicBezTo>
                    <a:pt x="48" y="40"/>
                    <a:pt x="40" y="47"/>
                    <a:pt x="40" y="56"/>
                  </a:cubicBezTo>
                  <a:cubicBezTo>
                    <a:pt x="40" y="409"/>
                    <a:pt x="40" y="409"/>
                    <a:pt x="40" y="409"/>
                  </a:cubicBezTo>
                  <a:cubicBezTo>
                    <a:pt x="40" y="418"/>
                    <a:pt x="48" y="425"/>
                    <a:pt x="57" y="425"/>
                  </a:cubicBezTo>
                  <a:cubicBezTo>
                    <a:pt x="106" y="425"/>
                    <a:pt x="106" y="425"/>
                    <a:pt x="106" y="425"/>
                  </a:cubicBezTo>
                  <a:lnTo>
                    <a:pt x="106" y="46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39" name="Freeform 74">
              <a:extLst>
                <a:ext uri="{FF2B5EF4-FFF2-40B4-BE49-F238E27FC236}">
                  <a16:creationId xmlns:a16="http://schemas.microsoft.com/office/drawing/2014/main" id="{C4A20E2A-A52B-439D-B2F7-70770CDB7C9A}"/>
                </a:ext>
              </a:extLst>
            </p:cNvPr>
            <p:cNvSpPr>
              <a:spLocks/>
            </p:cNvSpPr>
            <p:nvPr/>
          </p:nvSpPr>
          <p:spPr bwMode="auto">
            <a:xfrm>
              <a:off x="9618806" y="5300020"/>
              <a:ext cx="445748" cy="169559"/>
            </a:xfrm>
            <a:custGeom>
              <a:avLst/>
              <a:gdLst>
                <a:gd name="T0" fmla="*/ 466 w 466"/>
                <a:gd name="T1" fmla="*/ 178 h 178"/>
                <a:gd name="T2" fmla="*/ 426 w 466"/>
                <a:gd name="T3" fmla="*/ 178 h 178"/>
                <a:gd name="T4" fmla="*/ 426 w 466"/>
                <a:gd name="T5" fmla="*/ 56 h 178"/>
                <a:gd name="T6" fmla="*/ 409 w 466"/>
                <a:gd name="T7" fmla="*/ 40 h 178"/>
                <a:gd name="T8" fmla="*/ 56 w 466"/>
                <a:gd name="T9" fmla="*/ 40 h 178"/>
                <a:gd name="T10" fmla="*/ 40 w 466"/>
                <a:gd name="T11" fmla="*/ 56 h 178"/>
                <a:gd name="T12" fmla="*/ 40 w 466"/>
                <a:gd name="T13" fmla="*/ 178 h 178"/>
                <a:gd name="T14" fmla="*/ 0 w 466"/>
                <a:gd name="T15" fmla="*/ 178 h 178"/>
                <a:gd name="T16" fmla="*/ 0 w 466"/>
                <a:gd name="T17" fmla="*/ 56 h 178"/>
                <a:gd name="T18" fmla="*/ 56 w 466"/>
                <a:gd name="T19" fmla="*/ 0 h 178"/>
                <a:gd name="T20" fmla="*/ 409 w 466"/>
                <a:gd name="T21" fmla="*/ 0 h 178"/>
                <a:gd name="T22" fmla="*/ 466 w 466"/>
                <a:gd name="T23" fmla="*/ 56 h 178"/>
                <a:gd name="T24" fmla="*/ 466 w 466"/>
                <a:gd name="T25"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6" h="178">
                  <a:moveTo>
                    <a:pt x="466" y="178"/>
                  </a:moveTo>
                  <a:cubicBezTo>
                    <a:pt x="426" y="178"/>
                    <a:pt x="426" y="178"/>
                    <a:pt x="426" y="178"/>
                  </a:cubicBezTo>
                  <a:cubicBezTo>
                    <a:pt x="426" y="56"/>
                    <a:pt x="426" y="56"/>
                    <a:pt x="426" y="56"/>
                  </a:cubicBezTo>
                  <a:cubicBezTo>
                    <a:pt x="426" y="47"/>
                    <a:pt x="418" y="40"/>
                    <a:pt x="409" y="40"/>
                  </a:cubicBezTo>
                  <a:cubicBezTo>
                    <a:pt x="56" y="40"/>
                    <a:pt x="56" y="40"/>
                    <a:pt x="56" y="40"/>
                  </a:cubicBezTo>
                  <a:cubicBezTo>
                    <a:pt x="47" y="40"/>
                    <a:pt x="40" y="47"/>
                    <a:pt x="40" y="56"/>
                  </a:cubicBezTo>
                  <a:cubicBezTo>
                    <a:pt x="40" y="178"/>
                    <a:pt x="40" y="178"/>
                    <a:pt x="40" y="178"/>
                  </a:cubicBezTo>
                  <a:cubicBezTo>
                    <a:pt x="0" y="178"/>
                    <a:pt x="0" y="178"/>
                    <a:pt x="0" y="178"/>
                  </a:cubicBezTo>
                  <a:cubicBezTo>
                    <a:pt x="0" y="56"/>
                    <a:pt x="0" y="56"/>
                    <a:pt x="0" y="56"/>
                  </a:cubicBezTo>
                  <a:cubicBezTo>
                    <a:pt x="0" y="25"/>
                    <a:pt x="25" y="0"/>
                    <a:pt x="56" y="0"/>
                  </a:cubicBezTo>
                  <a:cubicBezTo>
                    <a:pt x="409" y="0"/>
                    <a:pt x="409" y="0"/>
                    <a:pt x="409" y="0"/>
                  </a:cubicBezTo>
                  <a:cubicBezTo>
                    <a:pt x="440" y="0"/>
                    <a:pt x="466" y="25"/>
                    <a:pt x="466" y="56"/>
                  </a:cubicBezTo>
                  <a:lnTo>
                    <a:pt x="466" y="17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40" name="Freeform 75">
              <a:extLst>
                <a:ext uri="{FF2B5EF4-FFF2-40B4-BE49-F238E27FC236}">
                  <a16:creationId xmlns:a16="http://schemas.microsoft.com/office/drawing/2014/main" id="{0EE38B50-51A5-48A8-84A8-03B7E7E18414}"/>
                </a:ext>
              </a:extLst>
            </p:cNvPr>
            <p:cNvSpPr>
              <a:spLocks/>
            </p:cNvSpPr>
            <p:nvPr/>
          </p:nvSpPr>
          <p:spPr bwMode="auto">
            <a:xfrm>
              <a:off x="9618806" y="6102367"/>
              <a:ext cx="445748" cy="96142"/>
            </a:xfrm>
            <a:custGeom>
              <a:avLst/>
              <a:gdLst>
                <a:gd name="T0" fmla="*/ 409 w 466"/>
                <a:gd name="T1" fmla="*/ 101 h 101"/>
                <a:gd name="T2" fmla="*/ 56 w 466"/>
                <a:gd name="T3" fmla="*/ 101 h 101"/>
                <a:gd name="T4" fmla="*/ 0 w 466"/>
                <a:gd name="T5" fmla="*/ 45 h 101"/>
                <a:gd name="T6" fmla="*/ 0 w 466"/>
                <a:gd name="T7" fmla="*/ 0 h 101"/>
                <a:gd name="T8" fmla="*/ 40 w 466"/>
                <a:gd name="T9" fmla="*/ 0 h 101"/>
                <a:gd name="T10" fmla="*/ 40 w 466"/>
                <a:gd name="T11" fmla="*/ 45 h 101"/>
                <a:gd name="T12" fmla="*/ 56 w 466"/>
                <a:gd name="T13" fmla="*/ 61 h 101"/>
                <a:gd name="T14" fmla="*/ 409 w 466"/>
                <a:gd name="T15" fmla="*/ 61 h 101"/>
                <a:gd name="T16" fmla="*/ 426 w 466"/>
                <a:gd name="T17" fmla="*/ 45 h 101"/>
                <a:gd name="T18" fmla="*/ 426 w 466"/>
                <a:gd name="T19" fmla="*/ 0 h 101"/>
                <a:gd name="T20" fmla="*/ 466 w 466"/>
                <a:gd name="T21" fmla="*/ 0 h 101"/>
                <a:gd name="T22" fmla="*/ 466 w 466"/>
                <a:gd name="T23" fmla="*/ 45 h 101"/>
                <a:gd name="T24" fmla="*/ 409 w 466"/>
                <a:gd name="T25"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6" h="101">
                  <a:moveTo>
                    <a:pt x="409" y="101"/>
                  </a:moveTo>
                  <a:cubicBezTo>
                    <a:pt x="56" y="101"/>
                    <a:pt x="56" y="101"/>
                    <a:pt x="56" y="101"/>
                  </a:cubicBezTo>
                  <a:cubicBezTo>
                    <a:pt x="25" y="101"/>
                    <a:pt x="0" y="76"/>
                    <a:pt x="0" y="45"/>
                  </a:cubicBezTo>
                  <a:cubicBezTo>
                    <a:pt x="0" y="0"/>
                    <a:pt x="0" y="0"/>
                    <a:pt x="0" y="0"/>
                  </a:cubicBezTo>
                  <a:cubicBezTo>
                    <a:pt x="40" y="0"/>
                    <a:pt x="40" y="0"/>
                    <a:pt x="40" y="0"/>
                  </a:cubicBezTo>
                  <a:cubicBezTo>
                    <a:pt x="40" y="45"/>
                    <a:pt x="40" y="45"/>
                    <a:pt x="40" y="45"/>
                  </a:cubicBezTo>
                  <a:cubicBezTo>
                    <a:pt x="40" y="54"/>
                    <a:pt x="47" y="61"/>
                    <a:pt x="56" y="61"/>
                  </a:cubicBezTo>
                  <a:cubicBezTo>
                    <a:pt x="409" y="61"/>
                    <a:pt x="409" y="61"/>
                    <a:pt x="409" y="61"/>
                  </a:cubicBezTo>
                  <a:cubicBezTo>
                    <a:pt x="418" y="61"/>
                    <a:pt x="426" y="54"/>
                    <a:pt x="426" y="45"/>
                  </a:cubicBezTo>
                  <a:cubicBezTo>
                    <a:pt x="426" y="0"/>
                    <a:pt x="426" y="0"/>
                    <a:pt x="426" y="0"/>
                  </a:cubicBezTo>
                  <a:cubicBezTo>
                    <a:pt x="466" y="0"/>
                    <a:pt x="466" y="0"/>
                    <a:pt x="466" y="0"/>
                  </a:cubicBezTo>
                  <a:cubicBezTo>
                    <a:pt x="466" y="45"/>
                    <a:pt x="466" y="45"/>
                    <a:pt x="466" y="45"/>
                  </a:cubicBezTo>
                  <a:cubicBezTo>
                    <a:pt x="466" y="76"/>
                    <a:pt x="440" y="101"/>
                    <a:pt x="409" y="10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41" name="Freeform 76">
              <a:extLst>
                <a:ext uri="{FF2B5EF4-FFF2-40B4-BE49-F238E27FC236}">
                  <a16:creationId xmlns:a16="http://schemas.microsoft.com/office/drawing/2014/main" id="{AADFD068-049C-42FA-94D7-E5B2F2F6EAFB}"/>
                </a:ext>
              </a:extLst>
            </p:cNvPr>
            <p:cNvSpPr>
              <a:spLocks/>
            </p:cNvSpPr>
            <p:nvPr/>
          </p:nvSpPr>
          <p:spPr bwMode="auto">
            <a:xfrm>
              <a:off x="9710578" y="5223106"/>
              <a:ext cx="261331" cy="102260"/>
            </a:xfrm>
            <a:custGeom>
              <a:avLst/>
              <a:gdLst>
                <a:gd name="T0" fmla="*/ 273 w 273"/>
                <a:gd name="T1" fmla="*/ 107 h 107"/>
                <a:gd name="T2" fmla="*/ 233 w 273"/>
                <a:gd name="T3" fmla="*/ 107 h 107"/>
                <a:gd name="T4" fmla="*/ 233 w 273"/>
                <a:gd name="T5" fmla="*/ 40 h 107"/>
                <a:gd name="T6" fmla="*/ 40 w 273"/>
                <a:gd name="T7" fmla="*/ 40 h 107"/>
                <a:gd name="T8" fmla="*/ 40 w 273"/>
                <a:gd name="T9" fmla="*/ 107 h 107"/>
                <a:gd name="T10" fmla="*/ 0 w 273"/>
                <a:gd name="T11" fmla="*/ 107 h 107"/>
                <a:gd name="T12" fmla="*/ 0 w 273"/>
                <a:gd name="T13" fmla="*/ 40 h 107"/>
                <a:gd name="T14" fmla="*/ 40 w 273"/>
                <a:gd name="T15" fmla="*/ 0 h 107"/>
                <a:gd name="T16" fmla="*/ 233 w 273"/>
                <a:gd name="T17" fmla="*/ 0 h 107"/>
                <a:gd name="T18" fmla="*/ 273 w 273"/>
                <a:gd name="T19" fmla="*/ 40 h 107"/>
                <a:gd name="T20" fmla="*/ 273 w 273"/>
                <a:gd name="T2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3" h="107">
                  <a:moveTo>
                    <a:pt x="273" y="107"/>
                  </a:moveTo>
                  <a:cubicBezTo>
                    <a:pt x="233" y="107"/>
                    <a:pt x="233" y="107"/>
                    <a:pt x="233" y="107"/>
                  </a:cubicBezTo>
                  <a:cubicBezTo>
                    <a:pt x="233" y="40"/>
                    <a:pt x="233" y="40"/>
                    <a:pt x="233" y="40"/>
                  </a:cubicBezTo>
                  <a:cubicBezTo>
                    <a:pt x="40" y="40"/>
                    <a:pt x="40" y="40"/>
                    <a:pt x="40" y="40"/>
                  </a:cubicBezTo>
                  <a:cubicBezTo>
                    <a:pt x="40" y="107"/>
                    <a:pt x="40" y="107"/>
                    <a:pt x="40" y="107"/>
                  </a:cubicBezTo>
                  <a:cubicBezTo>
                    <a:pt x="0" y="107"/>
                    <a:pt x="0" y="107"/>
                    <a:pt x="0" y="107"/>
                  </a:cubicBezTo>
                  <a:cubicBezTo>
                    <a:pt x="0" y="40"/>
                    <a:pt x="0" y="40"/>
                    <a:pt x="0" y="40"/>
                  </a:cubicBezTo>
                  <a:cubicBezTo>
                    <a:pt x="0" y="18"/>
                    <a:pt x="18" y="0"/>
                    <a:pt x="40" y="0"/>
                  </a:cubicBezTo>
                  <a:cubicBezTo>
                    <a:pt x="233" y="0"/>
                    <a:pt x="233" y="0"/>
                    <a:pt x="233" y="0"/>
                  </a:cubicBezTo>
                  <a:cubicBezTo>
                    <a:pt x="255" y="0"/>
                    <a:pt x="273" y="18"/>
                    <a:pt x="273" y="40"/>
                  </a:cubicBezTo>
                  <a:lnTo>
                    <a:pt x="273" y="1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42" name="Freeform 77">
              <a:extLst>
                <a:ext uri="{FF2B5EF4-FFF2-40B4-BE49-F238E27FC236}">
                  <a16:creationId xmlns:a16="http://schemas.microsoft.com/office/drawing/2014/main" id="{8C41675A-810A-4A8F-8362-71D4B480CF50}"/>
                </a:ext>
              </a:extLst>
            </p:cNvPr>
            <p:cNvSpPr>
              <a:spLocks/>
            </p:cNvSpPr>
            <p:nvPr/>
          </p:nvSpPr>
          <p:spPr bwMode="auto">
            <a:xfrm>
              <a:off x="9570736" y="5454721"/>
              <a:ext cx="544512" cy="584717"/>
            </a:xfrm>
            <a:custGeom>
              <a:avLst/>
              <a:gdLst>
                <a:gd name="T0" fmla="*/ 40 w 569"/>
                <a:gd name="T1" fmla="*/ 614 h 614"/>
                <a:gd name="T2" fmla="*/ 0 w 569"/>
                <a:gd name="T3" fmla="*/ 614 h 614"/>
                <a:gd name="T4" fmla="*/ 0 w 569"/>
                <a:gd name="T5" fmla="*/ 57 h 614"/>
                <a:gd name="T6" fmla="*/ 56 w 569"/>
                <a:gd name="T7" fmla="*/ 0 h 614"/>
                <a:gd name="T8" fmla="*/ 513 w 569"/>
                <a:gd name="T9" fmla="*/ 0 h 614"/>
                <a:gd name="T10" fmla="*/ 569 w 569"/>
                <a:gd name="T11" fmla="*/ 57 h 614"/>
                <a:gd name="T12" fmla="*/ 569 w 569"/>
                <a:gd name="T13" fmla="*/ 88 h 614"/>
                <a:gd name="T14" fmla="*/ 529 w 569"/>
                <a:gd name="T15" fmla="*/ 88 h 614"/>
                <a:gd name="T16" fmla="*/ 529 w 569"/>
                <a:gd name="T17" fmla="*/ 57 h 614"/>
                <a:gd name="T18" fmla="*/ 513 w 569"/>
                <a:gd name="T19" fmla="*/ 40 h 614"/>
                <a:gd name="T20" fmla="*/ 56 w 569"/>
                <a:gd name="T21" fmla="*/ 40 h 614"/>
                <a:gd name="T22" fmla="*/ 40 w 569"/>
                <a:gd name="T23" fmla="*/ 57 h 614"/>
                <a:gd name="T24" fmla="*/ 40 w 569"/>
                <a:gd name="T25" fmla="*/ 61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9" h="614">
                  <a:moveTo>
                    <a:pt x="40" y="614"/>
                  </a:moveTo>
                  <a:cubicBezTo>
                    <a:pt x="0" y="614"/>
                    <a:pt x="0" y="614"/>
                    <a:pt x="0" y="614"/>
                  </a:cubicBezTo>
                  <a:cubicBezTo>
                    <a:pt x="0" y="57"/>
                    <a:pt x="0" y="57"/>
                    <a:pt x="0" y="57"/>
                  </a:cubicBezTo>
                  <a:cubicBezTo>
                    <a:pt x="0" y="26"/>
                    <a:pt x="25" y="0"/>
                    <a:pt x="56" y="0"/>
                  </a:cubicBezTo>
                  <a:cubicBezTo>
                    <a:pt x="513" y="0"/>
                    <a:pt x="513" y="0"/>
                    <a:pt x="513" y="0"/>
                  </a:cubicBezTo>
                  <a:cubicBezTo>
                    <a:pt x="544" y="0"/>
                    <a:pt x="569" y="26"/>
                    <a:pt x="569" y="57"/>
                  </a:cubicBezTo>
                  <a:cubicBezTo>
                    <a:pt x="569" y="88"/>
                    <a:pt x="569" y="88"/>
                    <a:pt x="569" y="88"/>
                  </a:cubicBezTo>
                  <a:cubicBezTo>
                    <a:pt x="529" y="88"/>
                    <a:pt x="529" y="88"/>
                    <a:pt x="529" y="88"/>
                  </a:cubicBezTo>
                  <a:cubicBezTo>
                    <a:pt x="529" y="57"/>
                    <a:pt x="529" y="57"/>
                    <a:pt x="529" y="57"/>
                  </a:cubicBezTo>
                  <a:cubicBezTo>
                    <a:pt x="529" y="48"/>
                    <a:pt x="522" y="40"/>
                    <a:pt x="513" y="40"/>
                  </a:cubicBezTo>
                  <a:cubicBezTo>
                    <a:pt x="56" y="40"/>
                    <a:pt x="56" y="40"/>
                    <a:pt x="56" y="40"/>
                  </a:cubicBezTo>
                  <a:cubicBezTo>
                    <a:pt x="47" y="40"/>
                    <a:pt x="40" y="48"/>
                    <a:pt x="40" y="57"/>
                  </a:cubicBezTo>
                  <a:lnTo>
                    <a:pt x="40" y="61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43" name="Freeform 78">
              <a:extLst>
                <a:ext uri="{FF2B5EF4-FFF2-40B4-BE49-F238E27FC236}">
                  <a16:creationId xmlns:a16="http://schemas.microsoft.com/office/drawing/2014/main" id="{509EA102-651B-44C0-8AE8-B09F8B7D6DF2}"/>
                </a:ext>
              </a:extLst>
            </p:cNvPr>
            <p:cNvSpPr>
              <a:spLocks/>
            </p:cNvSpPr>
            <p:nvPr/>
          </p:nvSpPr>
          <p:spPr bwMode="auto">
            <a:xfrm>
              <a:off x="9570736" y="6041186"/>
              <a:ext cx="544512" cy="83906"/>
            </a:xfrm>
            <a:custGeom>
              <a:avLst/>
              <a:gdLst>
                <a:gd name="T0" fmla="*/ 513 w 569"/>
                <a:gd name="T1" fmla="*/ 88 h 88"/>
                <a:gd name="T2" fmla="*/ 56 w 569"/>
                <a:gd name="T3" fmla="*/ 88 h 88"/>
                <a:gd name="T4" fmla="*/ 0 w 569"/>
                <a:gd name="T5" fmla="*/ 32 h 88"/>
                <a:gd name="T6" fmla="*/ 0 w 569"/>
                <a:gd name="T7" fmla="*/ 0 h 88"/>
                <a:gd name="T8" fmla="*/ 40 w 569"/>
                <a:gd name="T9" fmla="*/ 0 h 88"/>
                <a:gd name="T10" fmla="*/ 40 w 569"/>
                <a:gd name="T11" fmla="*/ 32 h 88"/>
                <a:gd name="T12" fmla="*/ 56 w 569"/>
                <a:gd name="T13" fmla="*/ 48 h 88"/>
                <a:gd name="T14" fmla="*/ 513 w 569"/>
                <a:gd name="T15" fmla="*/ 48 h 88"/>
                <a:gd name="T16" fmla="*/ 529 w 569"/>
                <a:gd name="T17" fmla="*/ 32 h 88"/>
                <a:gd name="T18" fmla="*/ 529 w 569"/>
                <a:gd name="T19" fmla="*/ 12 h 88"/>
                <a:gd name="T20" fmla="*/ 569 w 569"/>
                <a:gd name="T21" fmla="*/ 12 h 88"/>
                <a:gd name="T22" fmla="*/ 569 w 569"/>
                <a:gd name="T23" fmla="*/ 32 h 88"/>
                <a:gd name="T24" fmla="*/ 513 w 569"/>
                <a:gd name="T2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9" h="88">
                  <a:moveTo>
                    <a:pt x="513" y="88"/>
                  </a:moveTo>
                  <a:cubicBezTo>
                    <a:pt x="56" y="88"/>
                    <a:pt x="56" y="88"/>
                    <a:pt x="56" y="88"/>
                  </a:cubicBezTo>
                  <a:cubicBezTo>
                    <a:pt x="25" y="88"/>
                    <a:pt x="0" y="63"/>
                    <a:pt x="0" y="32"/>
                  </a:cubicBezTo>
                  <a:cubicBezTo>
                    <a:pt x="0" y="0"/>
                    <a:pt x="0" y="0"/>
                    <a:pt x="0" y="0"/>
                  </a:cubicBezTo>
                  <a:cubicBezTo>
                    <a:pt x="40" y="0"/>
                    <a:pt x="40" y="0"/>
                    <a:pt x="40" y="0"/>
                  </a:cubicBezTo>
                  <a:cubicBezTo>
                    <a:pt x="40" y="32"/>
                    <a:pt x="40" y="32"/>
                    <a:pt x="40" y="32"/>
                  </a:cubicBezTo>
                  <a:cubicBezTo>
                    <a:pt x="40" y="41"/>
                    <a:pt x="47" y="48"/>
                    <a:pt x="56" y="48"/>
                  </a:cubicBezTo>
                  <a:cubicBezTo>
                    <a:pt x="513" y="48"/>
                    <a:pt x="513" y="48"/>
                    <a:pt x="513" y="48"/>
                  </a:cubicBezTo>
                  <a:cubicBezTo>
                    <a:pt x="522" y="48"/>
                    <a:pt x="529" y="41"/>
                    <a:pt x="529" y="32"/>
                  </a:cubicBezTo>
                  <a:cubicBezTo>
                    <a:pt x="529" y="12"/>
                    <a:pt x="529" y="12"/>
                    <a:pt x="529" y="12"/>
                  </a:cubicBezTo>
                  <a:cubicBezTo>
                    <a:pt x="569" y="12"/>
                    <a:pt x="569" y="12"/>
                    <a:pt x="569" y="12"/>
                  </a:cubicBezTo>
                  <a:cubicBezTo>
                    <a:pt x="569" y="32"/>
                    <a:pt x="569" y="32"/>
                    <a:pt x="569" y="32"/>
                  </a:cubicBezTo>
                  <a:cubicBezTo>
                    <a:pt x="569" y="63"/>
                    <a:pt x="544" y="88"/>
                    <a:pt x="513" y="88"/>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44" name="Freeform 79">
              <a:extLst>
                <a:ext uri="{FF2B5EF4-FFF2-40B4-BE49-F238E27FC236}">
                  <a16:creationId xmlns:a16="http://schemas.microsoft.com/office/drawing/2014/main" id="{6884D1EB-B215-41C6-BE03-6859F68E1AD8}"/>
                </a:ext>
              </a:extLst>
            </p:cNvPr>
            <p:cNvSpPr>
              <a:spLocks/>
            </p:cNvSpPr>
            <p:nvPr/>
          </p:nvSpPr>
          <p:spPr bwMode="auto">
            <a:xfrm>
              <a:off x="9696594" y="5598934"/>
              <a:ext cx="38457" cy="385442"/>
            </a:xfrm>
            <a:custGeom>
              <a:avLst/>
              <a:gdLst>
                <a:gd name="T0" fmla="*/ 20 w 40"/>
                <a:gd name="T1" fmla="*/ 405 h 405"/>
                <a:gd name="T2" fmla="*/ 0 w 40"/>
                <a:gd name="T3" fmla="*/ 385 h 405"/>
                <a:gd name="T4" fmla="*/ 0 w 40"/>
                <a:gd name="T5" fmla="*/ 20 h 405"/>
                <a:gd name="T6" fmla="*/ 20 w 40"/>
                <a:gd name="T7" fmla="*/ 0 h 405"/>
                <a:gd name="T8" fmla="*/ 40 w 40"/>
                <a:gd name="T9" fmla="*/ 20 h 405"/>
                <a:gd name="T10" fmla="*/ 40 w 40"/>
                <a:gd name="T11" fmla="*/ 385 h 405"/>
                <a:gd name="T12" fmla="*/ 20 w 40"/>
                <a:gd name="T13" fmla="*/ 405 h 405"/>
              </a:gdLst>
              <a:ahLst/>
              <a:cxnLst>
                <a:cxn ang="0">
                  <a:pos x="T0" y="T1"/>
                </a:cxn>
                <a:cxn ang="0">
                  <a:pos x="T2" y="T3"/>
                </a:cxn>
                <a:cxn ang="0">
                  <a:pos x="T4" y="T5"/>
                </a:cxn>
                <a:cxn ang="0">
                  <a:pos x="T6" y="T7"/>
                </a:cxn>
                <a:cxn ang="0">
                  <a:pos x="T8" y="T9"/>
                </a:cxn>
                <a:cxn ang="0">
                  <a:pos x="T10" y="T11"/>
                </a:cxn>
                <a:cxn ang="0">
                  <a:pos x="T12" y="T13"/>
                </a:cxn>
              </a:cxnLst>
              <a:rect l="0" t="0" r="r" b="b"/>
              <a:pathLst>
                <a:path w="40" h="405">
                  <a:moveTo>
                    <a:pt x="20" y="405"/>
                  </a:moveTo>
                  <a:cubicBezTo>
                    <a:pt x="9" y="405"/>
                    <a:pt x="0" y="396"/>
                    <a:pt x="0" y="385"/>
                  </a:cubicBezTo>
                  <a:cubicBezTo>
                    <a:pt x="0" y="20"/>
                    <a:pt x="0" y="20"/>
                    <a:pt x="0" y="20"/>
                  </a:cubicBezTo>
                  <a:cubicBezTo>
                    <a:pt x="0" y="9"/>
                    <a:pt x="9" y="0"/>
                    <a:pt x="20" y="0"/>
                  </a:cubicBezTo>
                  <a:cubicBezTo>
                    <a:pt x="31" y="0"/>
                    <a:pt x="40" y="9"/>
                    <a:pt x="40" y="20"/>
                  </a:cubicBezTo>
                  <a:cubicBezTo>
                    <a:pt x="40" y="385"/>
                    <a:pt x="40" y="385"/>
                    <a:pt x="40" y="385"/>
                  </a:cubicBezTo>
                  <a:cubicBezTo>
                    <a:pt x="40" y="396"/>
                    <a:pt x="31" y="405"/>
                    <a:pt x="20" y="4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45" name="Freeform 80">
              <a:extLst>
                <a:ext uri="{FF2B5EF4-FFF2-40B4-BE49-F238E27FC236}">
                  <a16:creationId xmlns:a16="http://schemas.microsoft.com/office/drawing/2014/main" id="{F9D7FA4B-1F3C-4AB1-8AC9-BE2828EDAFE7}"/>
                </a:ext>
              </a:extLst>
            </p:cNvPr>
            <p:cNvSpPr>
              <a:spLocks/>
            </p:cNvSpPr>
            <p:nvPr/>
          </p:nvSpPr>
          <p:spPr bwMode="auto">
            <a:xfrm>
              <a:off x="9827696" y="5598934"/>
              <a:ext cx="38457" cy="385442"/>
            </a:xfrm>
            <a:custGeom>
              <a:avLst/>
              <a:gdLst>
                <a:gd name="T0" fmla="*/ 20 w 40"/>
                <a:gd name="T1" fmla="*/ 405 h 405"/>
                <a:gd name="T2" fmla="*/ 0 w 40"/>
                <a:gd name="T3" fmla="*/ 385 h 405"/>
                <a:gd name="T4" fmla="*/ 0 w 40"/>
                <a:gd name="T5" fmla="*/ 20 h 405"/>
                <a:gd name="T6" fmla="*/ 20 w 40"/>
                <a:gd name="T7" fmla="*/ 0 h 405"/>
                <a:gd name="T8" fmla="*/ 40 w 40"/>
                <a:gd name="T9" fmla="*/ 20 h 405"/>
                <a:gd name="T10" fmla="*/ 40 w 40"/>
                <a:gd name="T11" fmla="*/ 385 h 405"/>
                <a:gd name="T12" fmla="*/ 20 w 40"/>
                <a:gd name="T13" fmla="*/ 405 h 405"/>
              </a:gdLst>
              <a:ahLst/>
              <a:cxnLst>
                <a:cxn ang="0">
                  <a:pos x="T0" y="T1"/>
                </a:cxn>
                <a:cxn ang="0">
                  <a:pos x="T2" y="T3"/>
                </a:cxn>
                <a:cxn ang="0">
                  <a:pos x="T4" y="T5"/>
                </a:cxn>
                <a:cxn ang="0">
                  <a:pos x="T6" y="T7"/>
                </a:cxn>
                <a:cxn ang="0">
                  <a:pos x="T8" y="T9"/>
                </a:cxn>
                <a:cxn ang="0">
                  <a:pos x="T10" y="T11"/>
                </a:cxn>
                <a:cxn ang="0">
                  <a:pos x="T12" y="T13"/>
                </a:cxn>
              </a:cxnLst>
              <a:rect l="0" t="0" r="r" b="b"/>
              <a:pathLst>
                <a:path w="40" h="405">
                  <a:moveTo>
                    <a:pt x="20" y="405"/>
                  </a:moveTo>
                  <a:cubicBezTo>
                    <a:pt x="9" y="405"/>
                    <a:pt x="0" y="396"/>
                    <a:pt x="0" y="385"/>
                  </a:cubicBezTo>
                  <a:cubicBezTo>
                    <a:pt x="0" y="20"/>
                    <a:pt x="0" y="20"/>
                    <a:pt x="0" y="20"/>
                  </a:cubicBezTo>
                  <a:cubicBezTo>
                    <a:pt x="0" y="9"/>
                    <a:pt x="9" y="0"/>
                    <a:pt x="20" y="0"/>
                  </a:cubicBezTo>
                  <a:cubicBezTo>
                    <a:pt x="32" y="0"/>
                    <a:pt x="40" y="9"/>
                    <a:pt x="40" y="20"/>
                  </a:cubicBezTo>
                  <a:cubicBezTo>
                    <a:pt x="40" y="385"/>
                    <a:pt x="40" y="385"/>
                    <a:pt x="40" y="385"/>
                  </a:cubicBezTo>
                  <a:cubicBezTo>
                    <a:pt x="40" y="396"/>
                    <a:pt x="32" y="405"/>
                    <a:pt x="20" y="4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sp>
          <p:nvSpPr>
            <p:cNvPr id="146" name="Freeform 81">
              <a:extLst>
                <a:ext uri="{FF2B5EF4-FFF2-40B4-BE49-F238E27FC236}">
                  <a16:creationId xmlns:a16="http://schemas.microsoft.com/office/drawing/2014/main" id="{E35B11F5-6829-4BEC-8304-36879ED1AF27}"/>
                </a:ext>
              </a:extLst>
            </p:cNvPr>
            <p:cNvSpPr>
              <a:spLocks/>
            </p:cNvSpPr>
            <p:nvPr/>
          </p:nvSpPr>
          <p:spPr bwMode="auto">
            <a:xfrm>
              <a:off x="9960547" y="5598934"/>
              <a:ext cx="37582" cy="385442"/>
            </a:xfrm>
            <a:custGeom>
              <a:avLst/>
              <a:gdLst>
                <a:gd name="T0" fmla="*/ 20 w 40"/>
                <a:gd name="T1" fmla="*/ 405 h 405"/>
                <a:gd name="T2" fmla="*/ 0 w 40"/>
                <a:gd name="T3" fmla="*/ 385 h 405"/>
                <a:gd name="T4" fmla="*/ 0 w 40"/>
                <a:gd name="T5" fmla="*/ 20 h 405"/>
                <a:gd name="T6" fmla="*/ 20 w 40"/>
                <a:gd name="T7" fmla="*/ 0 h 405"/>
                <a:gd name="T8" fmla="*/ 40 w 40"/>
                <a:gd name="T9" fmla="*/ 20 h 405"/>
                <a:gd name="T10" fmla="*/ 40 w 40"/>
                <a:gd name="T11" fmla="*/ 385 h 405"/>
                <a:gd name="T12" fmla="*/ 20 w 40"/>
                <a:gd name="T13" fmla="*/ 405 h 405"/>
              </a:gdLst>
              <a:ahLst/>
              <a:cxnLst>
                <a:cxn ang="0">
                  <a:pos x="T0" y="T1"/>
                </a:cxn>
                <a:cxn ang="0">
                  <a:pos x="T2" y="T3"/>
                </a:cxn>
                <a:cxn ang="0">
                  <a:pos x="T4" y="T5"/>
                </a:cxn>
                <a:cxn ang="0">
                  <a:pos x="T6" y="T7"/>
                </a:cxn>
                <a:cxn ang="0">
                  <a:pos x="T8" y="T9"/>
                </a:cxn>
                <a:cxn ang="0">
                  <a:pos x="T10" y="T11"/>
                </a:cxn>
                <a:cxn ang="0">
                  <a:pos x="T12" y="T13"/>
                </a:cxn>
              </a:cxnLst>
              <a:rect l="0" t="0" r="r" b="b"/>
              <a:pathLst>
                <a:path w="40" h="405">
                  <a:moveTo>
                    <a:pt x="20" y="405"/>
                  </a:moveTo>
                  <a:cubicBezTo>
                    <a:pt x="9" y="405"/>
                    <a:pt x="0" y="396"/>
                    <a:pt x="0" y="385"/>
                  </a:cubicBezTo>
                  <a:cubicBezTo>
                    <a:pt x="0" y="20"/>
                    <a:pt x="0" y="20"/>
                    <a:pt x="0" y="20"/>
                  </a:cubicBezTo>
                  <a:cubicBezTo>
                    <a:pt x="0" y="9"/>
                    <a:pt x="9" y="0"/>
                    <a:pt x="20" y="0"/>
                  </a:cubicBezTo>
                  <a:cubicBezTo>
                    <a:pt x="31" y="0"/>
                    <a:pt x="40" y="9"/>
                    <a:pt x="40" y="20"/>
                  </a:cubicBezTo>
                  <a:cubicBezTo>
                    <a:pt x="40" y="385"/>
                    <a:pt x="40" y="385"/>
                    <a:pt x="40" y="385"/>
                  </a:cubicBezTo>
                  <a:cubicBezTo>
                    <a:pt x="40" y="396"/>
                    <a:pt x="31" y="405"/>
                    <a:pt x="20" y="40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597">
                <a:defRPr/>
              </a:pPr>
              <a:endParaRPr lang="en-US" sz="1836">
                <a:solidFill>
                  <a:srgbClr val="505050"/>
                </a:solidFill>
                <a:latin typeface="Segoe UI"/>
              </a:endParaRPr>
            </a:p>
          </p:txBody>
        </p:sp>
      </p:grpSp>
      <p:cxnSp>
        <p:nvCxnSpPr>
          <p:cNvPr id="96" name="Straight Arrow Connector 95">
            <a:extLst>
              <a:ext uri="{FF2B5EF4-FFF2-40B4-BE49-F238E27FC236}">
                <a16:creationId xmlns:a16="http://schemas.microsoft.com/office/drawing/2014/main" id="{47C03751-66A0-4DED-9628-969E8B3C4F93}"/>
              </a:ext>
            </a:extLst>
          </p:cNvPr>
          <p:cNvCxnSpPr>
            <a:cxnSpLocks/>
            <a:endCxn id="4" idx="1"/>
          </p:cNvCxnSpPr>
          <p:nvPr/>
        </p:nvCxnSpPr>
        <p:spPr>
          <a:xfrm>
            <a:off x="3876675" y="4245769"/>
            <a:ext cx="1218687" cy="8570"/>
          </a:xfrm>
          <a:prstGeom prst="straightConnector1">
            <a:avLst/>
          </a:prstGeom>
          <a:solidFill>
            <a:schemeClr val="bg1"/>
          </a:solidFill>
          <a:ln>
            <a:solidFill>
              <a:schemeClr val="accent1"/>
            </a:solidFill>
            <a:headEnd type="arrow" w="med" len="sm"/>
          </a:ln>
        </p:spPr>
        <p:style>
          <a:lnRef idx="3">
            <a:schemeClr val="lt1"/>
          </a:lnRef>
          <a:fillRef idx="1">
            <a:schemeClr val="accent1"/>
          </a:fillRef>
          <a:effectRef idx="1">
            <a:schemeClr val="accent1"/>
          </a:effectRef>
          <a:fontRef idx="minor">
            <a:schemeClr val="lt1"/>
          </a:fontRef>
        </p:style>
      </p:cxnSp>
      <p:grpSp>
        <p:nvGrpSpPr>
          <p:cNvPr id="6" name="Group 5">
            <a:extLst>
              <a:ext uri="{FF2B5EF4-FFF2-40B4-BE49-F238E27FC236}">
                <a16:creationId xmlns:a16="http://schemas.microsoft.com/office/drawing/2014/main" id="{9F89B874-C31C-466C-AAD2-B7C195EA69C6}"/>
              </a:ext>
            </a:extLst>
          </p:cNvPr>
          <p:cNvGrpSpPr/>
          <p:nvPr/>
        </p:nvGrpSpPr>
        <p:grpSpPr>
          <a:xfrm>
            <a:off x="10279134" y="3142563"/>
            <a:ext cx="1005840" cy="1005840"/>
            <a:chOff x="10279134" y="3031352"/>
            <a:chExt cx="1005840" cy="1005840"/>
          </a:xfrm>
        </p:grpSpPr>
        <p:sp>
          <p:nvSpPr>
            <p:cNvPr id="107" name="Oval 106">
              <a:extLst>
                <a:ext uri="{FF2B5EF4-FFF2-40B4-BE49-F238E27FC236}">
                  <a16:creationId xmlns:a16="http://schemas.microsoft.com/office/drawing/2014/main" id="{3D41F761-DF51-4587-960C-22E2DA4089DC}"/>
                </a:ext>
              </a:extLst>
            </p:cNvPr>
            <p:cNvSpPr/>
            <p:nvPr/>
          </p:nvSpPr>
          <p:spPr>
            <a:xfrm>
              <a:off x="10279134" y="3031352"/>
              <a:ext cx="1005840" cy="1005840"/>
            </a:xfrm>
            <a:prstGeom prst="ellipse">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lIns="0" tIns="0" rIns="0" bIns="0" rtlCol="0" anchor="b"/>
            <a:lstStyle/>
            <a:p>
              <a:pPr algn="ctr" defTabSz="932597">
                <a:lnSpc>
                  <a:spcPct val="90000"/>
                </a:lnSpc>
                <a:defRPr/>
              </a:pPr>
              <a:r>
                <a:rPr lang="en-US" sz="800">
                  <a:ln w="0"/>
                  <a:gradFill>
                    <a:gsLst>
                      <a:gs pos="86275">
                        <a:schemeClr val="tx1"/>
                      </a:gs>
                      <a:gs pos="72549">
                        <a:schemeClr val="tx1"/>
                      </a:gs>
                    </a:gsLst>
                    <a:lin ang="0" scaled="1"/>
                  </a:gradFill>
                </a:rPr>
                <a:t>Customer Services</a:t>
              </a:r>
            </a:p>
          </p:txBody>
        </p:sp>
        <p:sp>
          <p:nvSpPr>
            <p:cNvPr id="109" name="DeveloperTools_EC7A">
              <a:extLst>
                <a:ext uri="{FF2B5EF4-FFF2-40B4-BE49-F238E27FC236}">
                  <a16:creationId xmlns:a16="http://schemas.microsoft.com/office/drawing/2014/main" id="{6419D023-9CD9-44B3-AF25-2758A536601F}"/>
                </a:ext>
              </a:extLst>
            </p:cNvPr>
            <p:cNvSpPr>
              <a:spLocks noChangeAspect="1" noEditPoints="1"/>
            </p:cNvSpPr>
            <p:nvPr/>
          </p:nvSpPr>
          <p:spPr bwMode="auto">
            <a:xfrm>
              <a:off x="10686557" y="3243111"/>
              <a:ext cx="190994" cy="30094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65000"/>
                  </a:schemeClr>
                </a:solidFill>
              </a:endParaRPr>
            </a:p>
          </p:txBody>
        </p:sp>
      </p:grpSp>
      <p:grpSp>
        <p:nvGrpSpPr>
          <p:cNvPr id="110" name="Group 109">
            <a:extLst>
              <a:ext uri="{FF2B5EF4-FFF2-40B4-BE49-F238E27FC236}">
                <a16:creationId xmlns:a16="http://schemas.microsoft.com/office/drawing/2014/main" id="{77AF5931-FEFC-439D-92DD-421EAC2D84BD}"/>
              </a:ext>
            </a:extLst>
          </p:cNvPr>
          <p:cNvGrpSpPr/>
          <p:nvPr/>
        </p:nvGrpSpPr>
        <p:grpSpPr>
          <a:xfrm>
            <a:off x="3601796" y="2422544"/>
            <a:ext cx="1005840" cy="1005840"/>
            <a:chOff x="10279134" y="3031352"/>
            <a:chExt cx="1005840" cy="1005840"/>
          </a:xfrm>
        </p:grpSpPr>
        <p:sp>
          <p:nvSpPr>
            <p:cNvPr id="111" name="Oval 110">
              <a:extLst>
                <a:ext uri="{FF2B5EF4-FFF2-40B4-BE49-F238E27FC236}">
                  <a16:creationId xmlns:a16="http://schemas.microsoft.com/office/drawing/2014/main" id="{4EA12B2C-CF5C-4F3B-9F59-35EBBE7D50C6}"/>
                </a:ext>
              </a:extLst>
            </p:cNvPr>
            <p:cNvSpPr/>
            <p:nvPr/>
          </p:nvSpPr>
          <p:spPr>
            <a:xfrm>
              <a:off x="10279134" y="3031352"/>
              <a:ext cx="1005840" cy="1005840"/>
            </a:xfrm>
            <a:prstGeom prst="ellipse">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lIns="0" tIns="0" rIns="0" bIns="0" rtlCol="0" anchor="b"/>
            <a:lstStyle/>
            <a:p>
              <a:pPr algn="ctr" defTabSz="932597">
                <a:lnSpc>
                  <a:spcPct val="90000"/>
                </a:lnSpc>
                <a:defRPr/>
              </a:pPr>
              <a:r>
                <a:rPr lang="en-US" sz="800">
                  <a:ln w="0"/>
                  <a:gradFill>
                    <a:gsLst>
                      <a:gs pos="86275">
                        <a:schemeClr val="tx1"/>
                      </a:gs>
                      <a:gs pos="72549">
                        <a:schemeClr val="tx1"/>
                      </a:gs>
                    </a:gsLst>
                    <a:lin ang="0" scaled="1"/>
                  </a:gradFill>
                </a:rPr>
                <a:t>Customer Services</a:t>
              </a:r>
            </a:p>
          </p:txBody>
        </p:sp>
        <p:sp>
          <p:nvSpPr>
            <p:cNvPr id="112" name="DeveloperTools_EC7A">
              <a:extLst>
                <a:ext uri="{FF2B5EF4-FFF2-40B4-BE49-F238E27FC236}">
                  <a16:creationId xmlns:a16="http://schemas.microsoft.com/office/drawing/2014/main" id="{478570B1-DA29-446A-8C90-8AF9A75C6962}"/>
                </a:ext>
              </a:extLst>
            </p:cNvPr>
            <p:cNvSpPr>
              <a:spLocks noChangeAspect="1" noEditPoints="1"/>
            </p:cNvSpPr>
            <p:nvPr/>
          </p:nvSpPr>
          <p:spPr bwMode="auto">
            <a:xfrm>
              <a:off x="10686557" y="3243111"/>
              <a:ext cx="190994" cy="300940"/>
            </a:xfrm>
            <a:custGeom>
              <a:avLst/>
              <a:gdLst>
                <a:gd name="T0" fmla="*/ 765 w 2384"/>
                <a:gd name="T1" fmla="*/ 958 h 3756"/>
                <a:gd name="T2" fmla="*/ 765 w 2384"/>
                <a:gd name="T3" fmla="*/ 3500 h 3756"/>
                <a:gd name="T4" fmla="*/ 509 w 2384"/>
                <a:gd name="T5" fmla="*/ 3756 h 3756"/>
                <a:gd name="T6" fmla="*/ 509 w 2384"/>
                <a:gd name="T7" fmla="*/ 3756 h 3756"/>
                <a:gd name="T8" fmla="*/ 253 w 2384"/>
                <a:gd name="T9" fmla="*/ 3500 h 3756"/>
                <a:gd name="T10" fmla="*/ 253 w 2384"/>
                <a:gd name="T11" fmla="*/ 958 h 3756"/>
                <a:gd name="T12" fmla="*/ 0 w 2384"/>
                <a:gd name="T13" fmla="*/ 518 h 3756"/>
                <a:gd name="T14" fmla="*/ 509 w 2384"/>
                <a:gd name="T15" fmla="*/ 9 h 3756"/>
                <a:gd name="T16" fmla="*/ 1018 w 2384"/>
                <a:gd name="T17" fmla="*/ 518 h 3756"/>
                <a:gd name="T18" fmla="*/ 765 w 2384"/>
                <a:gd name="T19" fmla="*/ 958 h 3756"/>
                <a:gd name="T20" fmla="*/ 1503 w 2384"/>
                <a:gd name="T21" fmla="*/ 2012 h 3756"/>
                <a:gd name="T22" fmla="*/ 1503 w 2384"/>
                <a:gd name="T23" fmla="*/ 3500 h 3756"/>
                <a:gd name="T24" fmla="*/ 1759 w 2384"/>
                <a:gd name="T25" fmla="*/ 3756 h 3756"/>
                <a:gd name="T26" fmla="*/ 1759 w 2384"/>
                <a:gd name="T27" fmla="*/ 3756 h 3756"/>
                <a:gd name="T28" fmla="*/ 2015 w 2384"/>
                <a:gd name="T29" fmla="*/ 3500 h 3756"/>
                <a:gd name="T30" fmla="*/ 2015 w 2384"/>
                <a:gd name="T31" fmla="*/ 2012 h 3756"/>
                <a:gd name="T32" fmla="*/ 509 w 2384"/>
                <a:gd name="T33" fmla="*/ 0 h 3756"/>
                <a:gd name="T34" fmla="*/ 509 w 2384"/>
                <a:gd name="T35" fmla="*/ 509 h 3756"/>
                <a:gd name="T36" fmla="*/ 1134 w 2384"/>
                <a:gd name="T37" fmla="*/ 2012 h 3756"/>
                <a:gd name="T38" fmla="*/ 2384 w 2384"/>
                <a:gd name="T39" fmla="*/ 2012 h 3756"/>
                <a:gd name="T40" fmla="*/ 1759 w 2384"/>
                <a:gd name="T41" fmla="*/ 2012 h 3756"/>
                <a:gd name="T42" fmla="*/ 1759 w 2384"/>
                <a:gd name="T43" fmla="*/ 711 h 3756"/>
                <a:gd name="T44" fmla="*/ 2015 w 2384"/>
                <a:gd name="T45" fmla="*/ 9 h 3756"/>
                <a:gd name="T46" fmla="*/ 1503 w 2384"/>
                <a:gd name="T47" fmla="*/ 9 h 3756"/>
                <a:gd name="T48" fmla="*/ 1503 w 2384"/>
                <a:gd name="T49" fmla="*/ 510 h 3756"/>
                <a:gd name="T50" fmla="*/ 1759 w 2384"/>
                <a:gd name="T51" fmla="*/ 756 h 3756"/>
                <a:gd name="T52" fmla="*/ 2015 w 2384"/>
                <a:gd name="T53" fmla="*/ 510 h 3756"/>
                <a:gd name="T54" fmla="*/ 2015 w 2384"/>
                <a:gd name="T55" fmla="*/ 9 h 3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84" h="3756">
                  <a:moveTo>
                    <a:pt x="765" y="958"/>
                  </a:moveTo>
                  <a:cubicBezTo>
                    <a:pt x="765" y="3500"/>
                    <a:pt x="765" y="3500"/>
                    <a:pt x="765" y="3500"/>
                  </a:cubicBezTo>
                  <a:cubicBezTo>
                    <a:pt x="765" y="3641"/>
                    <a:pt x="650" y="3756"/>
                    <a:pt x="509" y="3756"/>
                  </a:cubicBezTo>
                  <a:cubicBezTo>
                    <a:pt x="509" y="3756"/>
                    <a:pt x="509" y="3756"/>
                    <a:pt x="509" y="3756"/>
                  </a:cubicBezTo>
                  <a:cubicBezTo>
                    <a:pt x="368" y="3756"/>
                    <a:pt x="253" y="3641"/>
                    <a:pt x="253" y="3500"/>
                  </a:cubicBezTo>
                  <a:cubicBezTo>
                    <a:pt x="253" y="958"/>
                    <a:pt x="253" y="958"/>
                    <a:pt x="253" y="958"/>
                  </a:cubicBezTo>
                  <a:cubicBezTo>
                    <a:pt x="102" y="869"/>
                    <a:pt x="0" y="706"/>
                    <a:pt x="0" y="518"/>
                  </a:cubicBezTo>
                  <a:cubicBezTo>
                    <a:pt x="0" y="237"/>
                    <a:pt x="228" y="9"/>
                    <a:pt x="509" y="9"/>
                  </a:cubicBezTo>
                  <a:cubicBezTo>
                    <a:pt x="790" y="9"/>
                    <a:pt x="1018" y="237"/>
                    <a:pt x="1018" y="518"/>
                  </a:cubicBezTo>
                  <a:cubicBezTo>
                    <a:pt x="1018" y="706"/>
                    <a:pt x="916" y="869"/>
                    <a:pt x="765" y="958"/>
                  </a:cubicBezTo>
                  <a:close/>
                  <a:moveTo>
                    <a:pt x="1503" y="2012"/>
                  </a:moveTo>
                  <a:cubicBezTo>
                    <a:pt x="1503" y="3500"/>
                    <a:pt x="1503" y="3500"/>
                    <a:pt x="1503" y="3500"/>
                  </a:cubicBezTo>
                  <a:cubicBezTo>
                    <a:pt x="1503" y="3641"/>
                    <a:pt x="1618" y="3756"/>
                    <a:pt x="1759" y="3756"/>
                  </a:cubicBezTo>
                  <a:cubicBezTo>
                    <a:pt x="1759" y="3756"/>
                    <a:pt x="1759" y="3756"/>
                    <a:pt x="1759" y="3756"/>
                  </a:cubicBezTo>
                  <a:cubicBezTo>
                    <a:pt x="1900" y="3756"/>
                    <a:pt x="2015" y="3641"/>
                    <a:pt x="2015" y="3500"/>
                  </a:cubicBezTo>
                  <a:cubicBezTo>
                    <a:pt x="2015" y="2012"/>
                    <a:pt x="2015" y="2012"/>
                    <a:pt x="2015" y="2012"/>
                  </a:cubicBezTo>
                  <a:moveTo>
                    <a:pt x="509" y="0"/>
                  </a:moveTo>
                  <a:cubicBezTo>
                    <a:pt x="509" y="509"/>
                    <a:pt x="509" y="509"/>
                    <a:pt x="509" y="509"/>
                  </a:cubicBezTo>
                  <a:moveTo>
                    <a:pt x="1134" y="2012"/>
                  </a:moveTo>
                  <a:cubicBezTo>
                    <a:pt x="2384" y="2012"/>
                    <a:pt x="2384" y="2012"/>
                    <a:pt x="2384" y="2012"/>
                  </a:cubicBezTo>
                  <a:moveTo>
                    <a:pt x="1759" y="2012"/>
                  </a:moveTo>
                  <a:cubicBezTo>
                    <a:pt x="1759" y="711"/>
                    <a:pt x="1759" y="711"/>
                    <a:pt x="1759" y="711"/>
                  </a:cubicBezTo>
                  <a:moveTo>
                    <a:pt x="2015" y="9"/>
                  </a:moveTo>
                  <a:cubicBezTo>
                    <a:pt x="1503" y="9"/>
                    <a:pt x="1503" y="9"/>
                    <a:pt x="1503" y="9"/>
                  </a:cubicBezTo>
                  <a:cubicBezTo>
                    <a:pt x="1503" y="510"/>
                    <a:pt x="1503" y="510"/>
                    <a:pt x="1503" y="510"/>
                  </a:cubicBezTo>
                  <a:cubicBezTo>
                    <a:pt x="1759" y="756"/>
                    <a:pt x="1759" y="756"/>
                    <a:pt x="1759" y="756"/>
                  </a:cubicBezTo>
                  <a:cubicBezTo>
                    <a:pt x="2015" y="510"/>
                    <a:pt x="2015" y="510"/>
                    <a:pt x="2015" y="510"/>
                  </a:cubicBezTo>
                  <a:lnTo>
                    <a:pt x="2015" y="9"/>
                  </a:lnTo>
                  <a:close/>
                </a:path>
              </a:pathLst>
            </a:cu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lumMod val="65000"/>
                  </a:schemeClr>
                </a:solidFill>
              </a:endParaRPr>
            </a:p>
          </p:txBody>
        </p:sp>
      </p:grpSp>
      <p:grpSp>
        <p:nvGrpSpPr>
          <p:cNvPr id="8" name="Group 7">
            <a:extLst>
              <a:ext uri="{FF2B5EF4-FFF2-40B4-BE49-F238E27FC236}">
                <a16:creationId xmlns:a16="http://schemas.microsoft.com/office/drawing/2014/main" id="{8C3BB05B-DB7E-4495-896B-421A13127247}"/>
              </a:ext>
            </a:extLst>
          </p:cNvPr>
          <p:cNvGrpSpPr/>
          <p:nvPr/>
        </p:nvGrpSpPr>
        <p:grpSpPr>
          <a:xfrm>
            <a:off x="2063558" y="2454326"/>
            <a:ext cx="1005840" cy="1005840"/>
            <a:chOff x="2181427" y="2585238"/>
            <a:chExt cx="1005840" cy="1005840"/>
          </a:xfrm>
        </p:grpSpPr>
        <p:sp>
          <p:nvSpPr>
            <p:cNvPr id="620" name="Oval 619">
              <a:extLst>
                <a:ext uri="{FF2B5EF4-FFF2-40B4-BE49-F238E27FC236}">
                  <a16:creationId xmlns:a16="http://schemas.microsoft.com/office/drawing/2014/main" id="{52DD1B67-EE77-4D8C-BEFB-5344026A40CC}"/>
                </a:ext>
              </a:extLst>
            </p:cNvPr>
            <p:cNvSpPr/>
            <p:nvPr/>
          </p:nvSpPr>
          <p:spPr>
            <a:xfrm>
              <a:off x="2181427" y="2585238"/>
              <a:ext cx="1005840" cy="1005840"/>
            </a:xfrm>
            <a:prstGeom prst="ellipse">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lIns="0" tIns="0" rIns="0" bIns="0" rtlCol="0" anchor="b"/>
            <a:lstStyle/>
            <a:p>
              <a:pPr algn="ctr" defTabSz="932597">
                <a:lnSpc>
                  <a:spcPct val="90000"/>
                </a:lnSpc>
              </a:pPr>
              <a:r>
                <a:rPr lang="en-US" sz="800">
                  <a:ln w="0"/>
                  <a:gradFill>
                    <a:gsLst>
                      <a:gs pos="86275">
                        <a:schemeClr val="tx1"/>
                      </a:gs>
                      <a:gs pos="72549">
                        <a:schemeClr val="tx1"/>
                      </a:gs>
                    </a:gsLst>
                    <a:lin ang="0" scaled="1"/>
                  </a:gradFill>
                </a:rPr>
                <a:t>Sales and Marketing</a:t>
              </a:r>
            </a:p>
          </p:txBody>
        </p:sp>
        <p:sp>
          <p:nvSpPr>
            <p:cNvPr id="114" name="Commitments_EC4D">
              <a:extLst>
                <a:ext uri="{FF2B5EF4-FFF2-40B4-BE49-F238E27FC236}">
                  <a16:creationId xmlns:a16="http://schemas.microsoft.com/office/drawing/2014/main" id="{6878622F-9704-47A4-8556-19947EE4FA0C}"/>
                </a:ext>
              </a:extLst>
            </p:cNvPr>
            <p:cNvSpPr>
              <a:spLocks noChangeAspect="1" noEditPoints="1"/>
            </p:cNvSpPr>
            <p:nvPr/>
          </p:nvSpPr>
          <p:spPr bwMode="auto">
            <a:xfrm>
              <a:off x="2489302" y="2752363"/>
              <a:ext cx="390091" cy="365760"/>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5875"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a:extLst>
              <a:ext uri="{FF2B5EF4-FFF2-40B4-BE49-F238E27FC236}">
                <a16:creationId xmlns:a16="http://schemas.microsoft.com/office/drawing/2014/main" id="{4B4E2A25-8EC5-446E-AF29-F0FDA03962A3}"/>
              </a:ext>
            </a:extLst>
          </p:cNvPr>
          <p:cNvGrpSpPr/>
          <p:nvPr/>
        </p:nvGrpSpPr>
        <p:grpSpPr>
          <a:xfrm>
            <a:off x="1225972" y="3753945"/>
            <a:ext cx="1005840" cy="1005840"/>
            <a:chOff x="1492437" y="3788036"/>
            <a:chExt cx="1005840" cy="1005840"/>
          </a:xfrm>
        </p:grpSpPr>
        <p:sp>
          <p:nvSpPr>
            <p:cNvPr id="1309" name="Oval 1308">
              <a:extLst>
                <a:ext uri="{FF2B5EF4-FFF2-40B4-BE49-F238E27FC236}">
                  <a16:creationId xmlns:a16="http://schemas.microsoft.com/office/drawing/2014/main" id="{372B7546-8687-4941-B63C-459C81617224}"/>
                </a:ext>
              </a:extLst>
            </p:cNvPr>
            <p:cNvSpPr/>
            <p:nvPr/>
          </p:nvSpPr>
          <p:spPr>
            <a:xfrm>
              <a:off x="1492437" y="3788036"/>
              <a:ext cx="1005840" cy="1005840"/>
            </a:xfrm>
            <a:prstGeom prst="ellipse">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lIns="0" tIns="0" rIns="0" bIns="0" rtlCol="0" anchor="b"/>
            <a:lstStyle/>
            <a:p>
              <a:pPr algn="ctr" defTabSz="932597">
                <a:lnSpc>
                  <a:spcPct val="90000"/>
                </a:lnSpc>
              </a:pPr>
              <a:r>
                <a:rPr lang="en-US" sz="800">
                  <a:ln w="0"/>
                  <a:gradFill>
                    <a:gsLst>
                      <a:gs pos="86275">
                        <a:schemeClr val="tx1"/>
                      </a:gs>
                      <a:gs pos="72549">
                        <a:schemeClr val="tx1"/>
                      </a:gs>
                    </a:gsLst>
                    <a:lin ang="0" scaled="1"/>
                  </a:gradFill>
                </a:rPr>
                <a:t>Supply </a:t>
              </a:r>
              <a:br>
                <a:rPr lang="en-US" sz="800">
                  <a:ln w="0"/>
                  <a:gradFill>
                    <a:gsLst>
                      <a:gs pos="86275">
                        <a:schemeClr val="tx1"/>
                      </a:gs>
                      <a:gs pos="72549">
                        <a:schemeClr val="tx1"/>
                      </a:gs>
                    </a:gsLst>
                    <a:lin ang="0" scaled="1"/>
                  </a:gradFill>
                </a:rPr>
              </a:br>
              <a:r>
                <a:rPr lang="en-US" sz="800">
                  <a:ln w="0"/>
                  <a:gradFill>
                    <a:gsLst>
                      <a:gs pos="86275">
                        <a:schemeClr val="tx1"/>
                      </a:gs>
                      <a:gs pos="72549">
                        <a:schemeClr val="tx1"/>
                      </a:gs>
                    </a:gsLst>
                    <a:lin ang="0" scaled="1"/>
                  </a:gradFill>
                </a:rPr>
                <a:t>Chain</a:t>
              </a:r>
            </a:p>
          </p:txBody>
        </p:sp>
        <p:sp>
          <p:nvSpPr>
            <p:cNvPr id="115" name="Truck">
              <a:extLst>
                <a:ext uri="{FF2B5EF4-FFF2-40B4-BE49-F238E27FC236}">
                  <a16:creationId xmlns:a16="http://schemas.microsoft.com/office/drawing/2014/main" id="{E1A25316-8678-48FE-A4B5-702FCD1F7CB9}"/>
                </a:ext>
              </a:extLst>
            </p:cNvPr>
            <p:cNvSpPr>
              <a:spLocks noChangeAspect="1" noEditPoints="1"/>
            </p:cNvSpPr>
            <p:nvPr/>
          </p:nvSpPr>
          <p:spPr bwMode="auto">
            <a:xfrm>
              <a:off x="1738384" y="4030521"/>
              <a:ext cx="513946" cy="235222"/>
            </a:xfrm>
            <a:custGeom>
              <a:avLst/>
              <a:gdLst>
                <a:gd name="T0" fmla="*/ 294 w 360"/>
                <a:gd name="T1" fmla="*/ 148 h 163"/>
                <a:gd name="T2" fmla="*/ 309 w 360"/>
                <a:gd name="T3" fmla="*/ 133 h 163"/>
                <a:gd name="T4" fmla="*/ 324 w 360"/>
                <a:gd name="T5" fmla="*/ 148 h 163"/>
                <a:gd name="T6" fmla="*/ 309 w 360"/>
                <a:gd name="T7" fmla="*/ 163 h 163"/>
                <a:gd name="T8" fmla="*/ 294 w 360"/>
                <a:gd name="T9" fmla="*/ 148 h 163"/>
                <a:gd name="T10" fmla="*/ 80 w 360"/>
                <a:gd name="T11" fmla="*/ 163 h 163"/>
                <a:gd name="T12" fmla="*/ 95 w 360"/>
                <a:gd name="T13" fmla="*/ 148 h 163"/>
                <a:gd name="T14" fmla="*/ 80 w 360"/>
                <a:gd name="T15" fmla="*/ 133 h 163"/>
                <a:gd name="T16" fmla="*/ 65 w 360"/>
                <a:gd name="T17" fmla="*/ 148 h 163"/>
                <a:gd name="T18" fmla="*/ 80 w 360"/>
                <a:gd name="T19" fmla="*/ 163 h 163"/>
                <a:gd name="T20" fmla="*/ 346 w 360"/>
                <a:gd name="T21" fmla="*/ 148 h 163"/>
                <a:gd name="T22" fmla="*/ 346 w 360"/>
                <a:gd name="T23" fmla="*/ 110 h 163"/>
                <a:gd name="T24" fmla="*/ 333 w 360"/>
                <a:gd name="T25" fmla="*/ 97 h 163"/>
                <a:gd name="T26" fmla="*/ 207 w 360"/>
                <a:gd name="T27" fmla="*/ 97 h 163"/>
                <a:gd name="T28" fmla="*/ 95 w 360"/>
                <a:gd name="T29" fmla="*/ 148 h 163"/>
                <a:gd name="T30" fmla="*/ 294 w 360"/>
                <a:gd name="T31" fmla="*/ 148 h 163"/>
                <a:gd name="T32" fmla="*/ 324 w 360"/>
                <a:gd name="T33" fmla="*/ 148 h 163"/>
                <a:gd name="T34" fmla="*/ 360 w 360"/>
                <a:gd name="T35" fmla="*/ 148 h 163"/>
                <a:gd name="T36" fmla="*/ 207 w 360"/>
                <a:gd name="T37" fmla="*/ 148 h 163"/>
                <a:gd name="T38" fmla="*/ 207 w 360"/>
                <a:gd name="T39" fmla="*/ 0 h 163"/>
                <a:gd name="T40" fmla="*/ 22 w 360"/>
                <a:gd name="T41" fmla="*/ 0 h 163"/>
                <a:gd name="T42" fmla="*/ 22 w 360"/>
                <a:gd name="T43" fmla="*/ 148 h 163"/>
                <a:gd name="T44" fmla="*/ 65 w 360"/>
                <a:gd name="T45" fmla="*/ 148 h 163"/>
                <a:gd name="T46" fmla="*/ 295 w 360"/>
                <a:gd name="T47" fmla="*/ 97 h 163"/>
                <a:gd name="T48" fmla="*/ 251 w 360"/>
                <a:gd name="T49" fmla="*/ 52 h 163"/>
                <a:gd name="T50" fmla="*/ 207 w 360"/>
                <a:gd name="T51" fmla="*/ 52 h 163"/>
                <a:gd name="T52" fmla="*/ 22 w 360"/>
                <a:gd name="T53" fmla="*/ 133 h 163"/>
                <a:gd name="T54" fmla="*/ 0 w 360"/>
                <a:gd name="T55" fmla="*/ 13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0" h="163">
                  <a:moveTo>
                    <a:pt x="294" y="148"/>
                  </a:moveTo>
                  <a:cubicBezTo>
                    <a:pt x="294" y="139"/>
                    <a:pt x="301" y="133"/>
                    <a:pt x="309" y="133"/>
                  </a:cubicBezTo>
                  <a:cubicBezTo>
                    <a:pt x="317" y="133"/>
                    <a:pt x="324" y="139"/>
                    <a:pt x="324" y="148"/>
                  </a:cubicBezTo>
                  <a:cubicBezTo>
                    <a:pt x="324" y="156"/>
                    <a:pt x="317" y="163"/>
                    <a:pt x="309" y="163"/>
                  </a:cubicBezTo>
                  <a:cubicBezTo>
                    <a:pt x="301" y="163"/>
                    <a:pt x="294" y="156"/>
                    <a:pt x="294" y="148"/>
                  </a:cubicBezTo>
                  <a:close/>
                  <a:moveTo>
                    <a:pt x="80" y="163"/>
                  </a:moveTo>
                  <a:cubicBezTo>
                    <a:pt x="88" y="163"/>
                    <a:pt x="95" y="156"/>
                    <a:pt x="95" y="148"/>
                  </a:cubicBezTo>
                  <a:cubicBezTo>
                    <a:pt x="95" y="139"/>
                    <a:pt x="88" y="133"/>
                    <a:pt x="80" y="133"/>
                  </a:cubicBezTo>
                  <a:cubicBezTo>
                    <a:pt x="72" y="133"/>
                    <a:pt x="65" y="139"/>
                    <a:pt x="65" y="148"/>
                  </a:cubicBezTo>
                  <a:cubicBezTo>
                    <a:pt x="65" y="156"/>
                    <a:pt x="72" y="163"/>
                    <a:pt x="80" y="163"/>
                  </a:cubicBezTo>
                  <a:close/>
                  <a:moveTo>
                    <a:pt x="346" y="148"/>
                  </a:moveTo>
                  <a:cubicBezTo>
                    <a:pt x="346" y="110"/>
                    <a:pt x="346" y="110"/>
                    <a:pt x="346" y="110"/>
                  </a:cubicBezTo>
                  <a:cubicBezTo>
                    <a:pt x="346" y="103"/>
                    <a:pt x="340" y="97"/>
                    <a:pt x="333" y="97"/>
                  </a:cubicBezTo>
                  <a:cubicBezTo>
                    <a:pt x="207" y="97"/>
                    <a:pt x="207" y="97"/>
                    <a:pt x="207" y="97"/>
                  </a:cubicBezTo>
                  <a:moveTo>
                    <a:pt x="95" y="148"/>
                  </a:moveTo>
                  <a:cubicBezTo>
                    <a:pt x="294" y="148"/>
                    <a:pt x="294" y="148"/>
                    <a:pt x="294" y="148"/>
                  </a:cubicBezTo>
                  <a:moveTo>
                    <a:pt x="324" y="148"/>
                  </a:moveTo>
                  <a:cubicBezTo>
                    <a:pt x="360" y="148"/>
                    <a:pt x="360" y="148"/>
                    <a:pt x="360" y="148"/>
                  </a:cubicBezTo>
                  <a:moveTo>
                    <a:pt x="207" y="148"/>
                  </a:moveTo>
                  <a:cubicBezTo>
                    <a:pt x="207" y="0"/>
                    <a:pt x="207" y="0"/>
                    <a:pt x="207" y="0"/>
                  </a:cubicBezTo>
                  <a:cubicBezTo>
                    <a:pt x="22" y="0"/>
                    <a:pt x="22" y="0"/>
                    <a:pt x="22" y="0"/>
                  </a:cubicBezTo>
                  <a:cubicBezTo>
                    <a:pt x="22" y="148"/>
                    <a:pt x="22" y="148"/>
                    <a:pt x="22" y="148"/>
                  </a:cubicBezTo>
                  <a:cubicBezTo>
                    <a:pt x="65" y="148"/>
                    <a:pt x="65" y="148"/>
                    <a:pt x="65" y="148"/>
                  </a:cubicBezTo>
                  <a:moveTo>
                    <a:pt x="295" y="97"/>
                  </a:moveTo>
                  <a:cubicBezTo>
                    <a:pt x="251" y="52"/>
                    <a:pt x="251" y="52"/>
                    <a:pt x="251" y="52"/>
                  </a:cubicBezTo>
                  <a:cubicBezTo>
                    <a:pt x="207" y="52"/>
                    <a:pt x="207" y="52"/>
                    <a:pt x="207" y="52"/>
                  </a:cubicBezTo>
                  <a:moveTo>
                    <a:pt x="22" y="133"/>
                  </a:moveTo>
                  <a:cubicBezTo>
                    <a:pt x="0" y="133"/>
                    <a:pt x="0" y="133"/>
                    <a:pt x="0" y="133"/>
                  </a:cubicBezTo>
                </a:path>
              </a:pathLst>
            </a:cu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grpSp>
      <p:grpSp>
        <p:nvGrpSpPr>
          <p:cNvPr id="10" name="Group 9">
            <a:extLst>
              <a:ext uri="{FF2B5EF4-FFF2-40B4-BE49-F238E27FC236}">
                <a16:creationId xmlns:a16="http://schemas.microsoft.com/office/drawing/2014/main" id="{2BA1A2C5-B764-4F30-B57A-39A941DA84DE}"/>
              </a:ext>
            </a:extLst>
          </p:cNvPr>
          <p:cNvGrpSpPr/>
          <p:nvPr/>
        </p:nvGrpSpPr>
        <p:grpSpPr>
          <a:xfrm>
            <a:off x="2063851" y="5082282"/>
            <a:ext cx="1005840" cy="1005840"/>
            <a:chOff x="2181427" y="4980851"/>
            <a:chExt cx="1005840" cy="1005840"/>
          </a:xfrm>
        </p:grpSpPr>
        <p:sp>
          <p:nvSpPr>
            <p:cNvPr id="82" name="Oval 81">
              <a:extLst>
                <a:ext uri="{FF2B5EF4-FFF2-40B4-BE49-F238E27FC236}">
                  <a16:creationId xmlns:a16="http://schemas.microsoft.com/office/drawing/2014/main" id="{F7B5C75B-5AE2-4B30-BCA1-80FD9222835D}"/>
                </a:ext>
              </a:extLst>
            </p:cNvPr>
            <p:cNvSpPr/>
            <p:nvPr/>
          </p:nvSpPr>
          <p:spPr>
            <a:xfrm>
              <a:off x="2181427" y="4980851"/>
              <a:ext cx="1005840" cy="1005840"/>
            </a:xfrm>
            <a:prstGeom prst="ellipse">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lIns="0" tIns="0" rIns="0" bIns="0" rtlCol="0" anchor="b"/>
            <a:lstStyle/>
            <a:p>
              <a:pPr algn="ctr" defTabSz="932597">
                <a:lnSpc>
                  <a:spcPct val="90000"/>
                </a:lnSpc>
              </a:pPr>
              <a:r>
                <a:rPr lang="en-US" sz="800">
                  <a:ln w="0"/>
                  <a:gradFill>
                    <a:gsLst>
                      <a:gs pos="86275">
                        <a:schemeClr val="tx1"/>
                      </a:gs>
                      <a:gs pos="72549">
                        <a:schemeClr val="tx1"/>
                      </a:gs>
                    </a:gsLst>
                    <a:lin ang="0" scaled="1"/>
                  </a:gradFill>
                </a:rPr>
                <a:t>Manufacturing Floor</a:t>
              </a:r>
            </a:p>
          </p:txBody>
        </p:sp>
        <p:sp>
          <p:nvSpPr>
            <p:cNvPr id="116" name="Manufacturing_E99C">
              <a:extLst>
                <a:ext uri="{FF2B5EF4-FFF2-40B4-BE49-F238E27FC236}">
                  <a16:creationId xmlns:a16="http://schemas.microsoft.com/office/drawing/2014/main" id="{DD8D2AAA-9187-4506-A808-4B068F8160F6}"/>
                </a:ext>
              </a:extLst>
            </p:cNvPr>
            <p:cNvSpPr>
              <a:spLocks noChangeAspect="1" noEditPoints="1"/>
            </p:cNvSpPr>
            <p:nvPr/>
          </p:nvSpPr>
          <p:spPr bwMode="auto">
            <a:xfrm>
              <a:off x="2519167" y="5149171"/>
              <a:ext cx="330360" cy="322942"/>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noFill/>
            <a:ln w="15875" cap="sq">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1" name="Group 10">
            <a:extLst>
              <a:ext uri="{FF2B5EF4-FFF2-40B4-BE49-F238E27FC236}">
                <a16:creationId xmlns:a16="http://schemas.microsoft.com/office/drawing/2014/main" id="{5F8A49C7-5488-4588-BFD7-129901667A54}"/>
              </a:ext>
            </a:extLst>
          </p:cNvPr>
          <p:cNvGrpSpPr/>
          <p:nvPr/>
        </p:nvGrpSpPr>
        <p:grpSpPr>
          <a:xfrm>
            <a:off x="3601796" y="5077438"/>
            <a:ext cx="1005840" cy="1005840"/>
            <a:chOff x="3527819" y="4980851"/>
            <a:chExt cx="1005840" cy="1005840"/>
          </a:xfrm>
        </p:grpSpPr>
        <p:sp>
          <p:nvSpPr>
            <p:cNvPr id="1312" name="Oval 1311">
              <a:extLst>
                <a:ext uri="{FF2B5EF4-FFF2-40B4-BE49-F238E27FC236}">
                  <a16:creationId xmlns:a16="http://schemas.microsoft.com/office/drawing/2014/main" id="{2D54EF26-A671-4606-8C02-53979AFD2AD1}"/>
                </a:ext>
              </a:extLst>
            </p:cNvPr>
            <p:cNvSpPr/>
            <p:nvPr/>
          </p:nvSpPr>
          <p:spPr>
            <a:xfrm>
              <a:off x="3527819" y="4980851"/>
              <a:ext cx="1005840" cy="1005840"/>
            </a:xfrm>
            <a:prstGeom prst="ellipse">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lIns="0" tIns="0" rIns="0" bIns="0" rtlCol="0" anchor="b"/>
            <a:lstStyle/>
            <a:p>
              <a:pPr algn="ctr" defTabSz="932597">
                <a:lnSpc>
                  <a:spcPct val="90000"/>
                </a:lnSpc>
              </a:pPr>
              <a:r>
                <a:rPr lang="en-US" sz="800">
                  <a:ln w="0"/>
                  <a:gradFill>
                    <a:gsLst>
                      <a:gs pos="86275">
                        <a:schemeClr val="tx1"/>
                      </a:gs>
                      <a:gs pos="72549">
                        <a:schemeClr val="tx1"/>
                      </a:gs>
                    </a:gsLst>
                    <a:lin ang="0" scaled="1"/>
                  </a:gradFill>
                </a:rPr>
                <a:t>Engineering/</a:t>
              </a:r>
              <a:br>
                <a:rPr lang="en-US" sz="800">
                  <a:ln w="0"/>
                  <a:gradFill>
                    <a:gsLst>
                      <a:gs pos="86275">
                        <a:schemeClr val="tx1"/>
                      </a:gs>
                      <a:gs pos="72549">
                        <a:schemeClr val="tx1"/>
                      </a:gs>
                    </a:gsLst>
                    <a:lin ang="0" scaled="1"/>
                  </a:gradFill>
                </a:rPr>
              </a:br>
              <a:r>
                <a:rPr lang="en-US" sz="800">
                  <a:ln w="0"/>
                  <a:gradFill>
                    <a:gsLst>
                      <a:gs pos="86275">
                        <a:schemeClr val="tx1"/>
                      </a:gs>
                      <a:gs pos="72549">
                        <a:schemeClr val="tx1"/>
                      </a:gs>
                    </a:gsLst>
                    <a:lin ang="0" scaled="1"/>
                  </a:gradFill>
                </a:rPr>
                <a:t>R&amp;D</a:t>
              </a:r>
            </a:p>
          </p:txBody>
        </p:sp>
        <p:sp>
          <p:nvSpPr>
            <p:cNvPr id="117" name="Processing_E9F5">
              <a:extLst>
                <a:ext uri="{FF2B5EF4-FFF2-40B4-BE49-F238E27FC236}">
                  <a16:creationId xmlns:a16="http://schemas.microsoft.com/office/drawing/2014/main" id="{206F616D-04DD-415B-9647-9E41E7D95F9E}"/>
                </a:ext>
              </a:extLst>
            </p:cNvPr>
            <p:cNvSpPr>
              <a:spLocks noChangeAspect="1" noEditPoints="1"/>
            </p:cNvSpPr>
            <p:nvPr/>
          </p:nvSpPr>
          <p:spPr bwMode="auto">
            <a:xfrm>
              <a:off x="3820758" y="5177483"/>
              <a:ext cx="419963" cy="365760"/>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a:extLst>
              <a:ext uri="{FF2B5EF4-FFF2-40B4-BE49-F238E27FC236}">
                <a16:creationId xmlns:a16="http://schemas.microsoft.com/office/drawing/2014/main" id="{74132187-3EE6-490B-894E-53424A808A29}"/>
              </a:ext>
            </a:extLst>
          </p:cNvPr>
          <p:cNvGrpSpPr/>
          <p:nvPr/>
        </p:nvGrpSpPr>
        <p:grpSpPr>
          <a:xfrm>
            <a:off x="2803848" y="3758975"/>
            <a:ext cx="1005841" cy="1005841"/>
            <a:chOff x="2874146" y="3796262"/>
            <a:chExt cx="1005841" cy="1005841"/>
          </a:xfrm>
        </p:grpSpPr>
        <p:sp>
          <p:nvSpPr>
            <p:cNvPr id="103" name="Oval 102">
              <a:extLst>
                <a:ext uri="{FF2B5EF4-FFF2-40B4-BE49-F238E27FC236}">
                  <a16:creationId xmlns:a16="http://schemas.microsoft.com/office/drawing/2014/main" id="{DCD1E9A4-0351-4A79-9798-762D5F21B002}"/>
                </a:ext>
              </a:extLst>
            </p:cNvPr>
            <p:cNvSpPr/>
            <p:nvPr/>
          </p:nvSpPr>
          <p:spPr>
            <a:xfrm>
              <a:off x="2874146" y="3796262"/>
              <a:ext cx="1005841" cy="1005841"/>
            </a:xfrm>
            <a:prstGeom prst="ellipse">
              <a:avLst/>
            </a:prstGeom>
            <a:solidFill>
              <a:schemeClr val="bg1"/>
            </a:solidFill>
            <a:ln>
              <a:solidFill>
                <a:schemeClr val="accent1"/>
              </a:solidFill>
            </a:ln>
          </p:spPr>
          <p:style>
            <a:lnRef idx="3">
              <a:schemeClr val="lt1"/>
            </a:lnRef>
            <a:fillRef idx="1">
              <a:schemeClr val="accent1"/>
            </a:fillRef>
            <a:effectRef idx="1">
              <a:schemeClr val="accent1"/>
            </a:effectRef>
            <a:fontRef idx="minor">
              <a:schemeClr val="lt1"/>
            </a:fontRef>
          </p:style>
          <p:txBody>
            <a:bodyPr lIns="0" tIns="0" rIns="0" bIns="0" rtlCol="0" anchor="b"/>
            <a:lstStyle/>
            <a:p>
              <a:pPr algn="ctr" defTabSz="932597">
                <a:lnSpc>
                  <a:spcPct val="90000"/>
                </a:lnSpc>
              </a:pPr>
              <a:endParaRPr lang="en-US" sz="800">
                <a:ln w="0"/>
                <a:gradFill>
                  <a:gsLst>
                    <a:gs pos="86275">
                      <a:schemeClr val="tx1"/>
                    </a:gs>
                    <a:gs pos="72549">
                      <a:schemeClr val="tx1"/>
                    </a:gs>
                  </a:gsLst>
                  <a:lin ang="0" scaled="1"/>
                </a:gradFill>
              </a:endParaRPr>
            </a:p>
          </p:txBody>
        </p:sp>
        <p:sp>
          <p:nvSpPr>
            <p:cNvPr id="118" name="factory_3">
              <a:extLst>
                <a:ext uri="{FF2B5EF4-FFF2-40B4-BE49-F238E27FC236}">
                  <a16:creationId xmlns:a16="http://schemas.microsoft.com/office/drawing/2014/main" id="{B607B698-26CC-4F3F-A5F1-8BEB99796094}"/>
                </a:ext>
              </a:extLst>
            </p:cNvPr>
            <p:cNvSpPr>
              <a:spLocks noChangeAspect="1" noEditPoints="1"/>
            </p:cNvSpPr>
            <p:nvPr/>
          </p:nvSpPr>
          <p:spPr bwMode="auto">
            <a:xfrm>
              <a:off x="3171326" y="4171770"/>
              <a:ext cx="411480" cy="254825"/>
            </a:xfrm>
            <a:custGeom>
              <a:avLst/>
              <a:gdLst>
                <a:gd name="T0" fmla="*/ 394 w 394"/>
                <a:gd name="T1" fmla="*/ 101 h 244"/>
                <a:gd name="T2" fmla="*/ 394 w 394"/>
                <a:gd name="T3" fmla="*/ 244 h 244"/>
                <a:gd name="T4" fmla="*/ 0 w 394"/>
                <a:gd name="T5" fmla="*/ 244 h 244"/>
                <a:gd name="T6" fmla="*/ 0 w 394"/>
                <a:gd name="T7" fmla="*/ 101 h 244"/>
                <a:gd name="T8" fmla="*/ 76 w 394"/>
                <a:gd name="T9" fmla="*/ 45 h 244"/>
                <a:gd name="T10" fmla="*/ 76 w 394"/>
                <a:gd name="T11" fmla="*/ 101 h 244"/>
                <a:gd name="T12" fmla="*/ 160 w 394"/>
                <a:gd name="T13" fmla="*/ 45 h 244"/>
                <a:gd name="T14" fmla="*/ 160 w 394"/>
                <a:gd name="T15" fmla="*/ 101 h 244"/>
                <a:gd name="T16" fmla="*/ 394 w 394"/>
                <a:gd name="T17" fmla="*/ 101 h 244"/>
                <a:gd name="T18" fmla="*/ 309 w 394"/>
                <a:gd name="T19" fmla="*/ 101 h 244"/>
                <a:gd name="T20" fmla="*/ 289 w 394"/>
                <a:gd name="T21" fmla="*/ 0 h 244"/>
                <a:gd name="T22" fmla="*/ 273 w 394"/>
                <a:gd name="T23" fmla="*/ 0 h 244"/>
                <a:gd name="T24" fmla="*/ 256 w 394"/>
                <a:gd name="T25" fmla="*/ 101 h 244"/>
                <a:gd name="T26" fmla="*/ 378 w 394"/>
                <a:gd name="T27" fmla="*/ 101 h 244"/>
                <a:gd name="T28" fmla="*/ 358 w 394"/>
                <a:gd name="T29" fmla="*/ 0 h 244"/>
                <a:gd name="T30" fmla="*/ 340 w 394"/>
                <a:gd name="T31" fmla="*/ 0 h 244"/>
                <a:gd name="T32" fmla="*/ 324 w 394"/>
                <a:gd name="T33" fmla="*/ 101 h 244"/>
                <a:gd name="T34" fmla="*/ 57 w 394"/>
                <a:gd name="T35" fmla="*/ 144 h 244"/>
                <a:gd name="T36" fmla="*/ 36 w 394"/>
                <a:gd name="T37" fmla="*/ 144 h 244"/>
                <a:gd name="T38" fmla="*/ 36 w 394"/>
                <a:gd name="T39" fmla="*/ 165 h 244"/>
                <a:gd name="T40" fmla="*/ 57 w 394"/>
                <a:gd name="T41" fmla="*/ 165 h 244"/>
                <a:gd name="T42" fmla="*/ 57 w 394"/>
                <a:gd name="T43" fmla="*/ 144 h 244"/>
                <a:gd name="T44" fmla="*/ 131 w 394"/>
                <a:gd name="T45" fmla="*/ 144 h 244"/>
                <a:gd name="T46" fmla="*/ 112 w 394"/>
                <a:gd name="T47" fmla="*/ 144 h 244"/>
                <a:gd name="T48" fmla="*/ 112 w 394"/>
                <a:gd name="T49" fmla="*/ 165 h 244"/>
                <a:gd name="T50" fmla="*/ 131 w 394"/>
                <a:gd name="T51" fmla="*/ 165 h 244"/>
                <a:gd name="T52" fmla="*/ 131 w 394"/>
                <a:gd name="T53" fmla="*/ 144 h 244"/>
                <a:gd name="T54" fmla="*/ 207 w 394"/>
                <a:gd name="T55" fmla="*/ 144 h 244"/>
                <a:gd name="T56" fmla="*/ 188 w 394"/>
                <a:gd name="T57" fmla="*/ 144 h 244"/>
                <a:gd name="T58" fmla="*/ 188 w 394"/>
                <a:gd name="T59" fmla="*/ 165 h 244"/>
                <a:gd name="T60" fmla="*/ 207 w 394"/>
                <a:gd name="T61" fmla="*/ 165 h 244"/>
                <a:gd name="T62" fmla="*/ 207 w 394"/>
                <a:gd name="T63" fmla="*/ 144 h 244"/>
                <a:gd name="T64" fmla="*/ 283 w 394"/>
                <a:gd name="T65" fmla="*/ 144 h 244"/>
                <a:gd name="T66" fmla="*/ 262 w 394"/>
                <a:gd name="T67" fmla="*/ 144 h 244"/>
                <a:gd name="T68" fmla="*/ 262 w 394"/>
                <a:gd name="T69" fmla="*/ 165 h 244"/>
                <a:gd name="T70" fmla="*/ 283 w 394"/>
                <a:gd name="T71" fmla="*/ 165 h 244"/>
                <a:gd name="T72" fmla="*/ 283 w 394"/>
                <a:gd name="T73" fmla="*/ 144 h 244"/>
                <a:gd name="T74" fmla="*/ 358 w 394"/>
                <a:gd name="T75" fmla="*/ 144 h 244"/>
                <a:gd name="T76" fmla="*/ 338 w 394"/>
                <a:gd name="T77" fmla="*/ 144 h 244"/>
                <a:gd name="T78" fmla="*/ 338 w 394"/>
                <a:gd name="T79" fmla="*/ 165 h 244"/>
                <a:gd name="T80" fmla="*/ 358 w 394"/>
                <a:gd name="T81" fmla="*/ 165 h 244"/>
                <a:gd name="T82" fmla="*/ 358 w 394"/>
                <a:gd name="T83" fmla="*/ 1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94" h="244">
                  <a:moveTo>
                    <a:pt x="394" y="101"/>
                  </a:moveTo>
                  <a:lnTo>
                    <a:pt x="394" y="244"/>
                  </a:lnTo>
                  <a:lnTo>
                    <a:pt x="0" y="244"/>
                  </a:lnTo>
                  <a:lnTo>
                    <a:pt x="0" y="101"/>
                  </a:lnTo>
                  <a:lnTo>
                    <a:pt x="76" y="45"/>
                  </a:lnTo>
                  <a:lnTo>
                    <a:pt x="76" y="101"/>
                  </a:lnTo>
                  <a:lnTo>
                    <a:pt x="160" y="45"/>
                  </a:lnTo>
                  <a:lnTo>
                    <a:pt x="160" y="101"/>
                  </a:lnTo>
                  <a:lnTo>
                    <a:pt x="394" y="101"/>
                  </a:lnTo>
                  <a:moveTo>
                    <a:pt x="309" y="101"/>
                  </a:moveTo>
                  <a:lnTo>
                    <a:pt x="289" y="0"/>
                  </a:lnTo>
                  <a:lnTo>
                    <a:pt x="273" y="0"/>
                  </a:lnTo>
                  <a:lnTo>
                    <a:pt x="256" y="101"/>
                  </a:lnTo>
                  <a:moveTo>
                    <a:pt x="378" y="101"/>
                  </a:moveTo>
                  <a:lnTo>
                    <a:pt x="358" y="0"/>
                  </a:lnTo>
                  <a:lnTo>
                    <a:pt x="340" y="0"/>
                  </a:lnTo>
                  <a:lnTo>
                    <a:pt x="324" y="101"/>
                  </a:lnTo>
                  <a:moveTo>
                    <a:pt x="57" y="144"/>
                  </a:moveTo>
                  <a:lnTo>
                    <a:pt x="36" y="144"/>
                  </a:lnTo>
                  <a:lnTo>
                    <a:pt x="36" y="165"/>
                  </a:lnTo>
                  <a:lnTo>
                    <a:pt x="57" y="165"/>
                  </a:lnTo>
                  <a:lnTo>
                    <a:pt x="57" y="144"/>
                  </a:lnTo>
                  <a:moveTo>
                    <a:pt x="131" y="144"/>
                  </a:moveTo>
                  <a:lnTo>
                    <a:pt x="112" y="144"/>
                  </a:lnTo>
                  <a:lnTo>
                    <a:pt x="112" y="165"/>
                  </a:lnTo>
                  <a:lnTo>
                    <a:pt x="131" y="165"/>
                  </a:lnTo>
                  <a:lnTo>
                    <a:pt x="131" y="144"/>
                  </a:lnTo>
                  <a:moveTo>
                    <a:pt x="207" y="144"/>
                  </a:moveTo>
                  <a:lnTo>
                    <a:pt x="188" y="144"/>
                  </a:lnTo>
                  <a:lnTo>
                    <a:pt x="188" y="165"/>
                  </a:lnTo>
                  <a:lnTo>
                    <a:pt x="207" y="165"/>
                  </a:lnTo>
                  <a:lnTo>
                    <a:pt x="207" y="144"/>
                  </a:lnTo>
                  <a:moveTo>
                    <a:pt x="283" y="144"/>
                  </a:moveTo>
                  <a:lnTo>
                    <a:pt x="262" y="144"/>
                  </a:lnTo>
                  <a:lnTo>
                    <a:pt x="262" y="165"/>
                  </a:lnTo>
                  <a:lnTo>
                    <a:pt x="283" y="165"/>
                  </a:lnTo>
                  <a:lnTo>
                    <a:pt x="283" y="144"/>
                  </a:lnTo>
                  <a:moveTo>
                    <a:pt x="358" y="144"/>
                  </a:moveTo>
                  <a:lnTo>
                    <a:pt x="338" y="144"/>
                  </a:lnTo>
                  <a:lnTo>
                    <a:pt x="338" y="165"/>
                  </a:lnTo>
                  <a:lnTo>
                    <a:pt x="358" y="165"/>
                  </a:lnTo>
                  <a:lnTo>
                    <a:pt x="358" y="144"/>
                  </a:lnTo>
                </a:path>
              </a:pathLst>
            </a:custGeom>
            <a:noFill/>
            <a:ln w="1587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grpSp>
      <p:cxnSp>
        <p:nvCxnSpPr>
          <p:cNvPr id="14" name="Straight Arrow Connector 13">
            <a:extLst>
              <a:ext uri="{FF2B5EF4-FFF2-40B4-BE49-F238E27FC236}">
                <a16:creationId xmlns:a16="http://schemas.microsoft.com/office/drawing/2014/main" id="{03A9A0DD-3D1F-4F7A-8269-F16F8E775A0B}"/>
              </a:ext>
            </a:extLst>
          </p:cNvPr>
          <p:cNvCxnSpPr>
            <a:cxnSpLocks/>
          </p:cNvCxnSpPr>
          <p:nvPr/>
        </p:nvCxnSpPr>
        <p:spPr>
          <a:xfrm flipV="1">
            <a:off x="3598233" y="3422156"/>
            <a:ext cx="249692" cy="360364"/>
          </a:xfrm>
          <a:prstGeom prst="straightConnector1">
            <a:avLst/>
          </a:prstGeom>
          <a:ln w="19050">
            <a:solidFill>
              <a:schemeClr val="accent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a16="http://schemas.microsoft.com/office/drawing/2014/main" id="{C0C7865F-46E0-427C-9081-8CBF8203FFC2}"/>
              </a:ext>
            </a:extLst>
          </p:cNvPr>
          <p:cNvCxnSpPr>
            <a:cxnSpLocks/>
          </p:cNvCxnSpPr>
          <p:nvPr/>
        </p:nvCxnSpPr>
        <p:spPr>
          <a:xfrm flipV="1">
            <a:off x="2760033" y="4727081"/>
            <a:ext cx="249692" cy="360364"/>
          </a:xfrm>
          <a:prstGeom prst="straightConnector1">
            <a:avLst/>
          </a:prstGeom>
          <a:ln w="19050">
            <a:solidFill>
              <a:schemeClr val="accent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a16="http://schemas.microsoft.com/office/drawing/2014/main" id="{E424AD65-EF40-4CFE-80B3-CA41DC4BFCF2}"/>
              </a:ext>
            </a:extLst>
          </p:cNvPr>
          <p:cNvCxnSpPr>
            <a:cxnSpLocks/>
          </p:cNvCxnSpPr>
          <p:nvPr/>
        </p:nvCxnSpPr>
        <p:spPr>
          <a:xfrm flipH="1" flipV="1">
            <a:off x="2788608" y="3441206"/>
            <a:ext cx="249692" cy="360364"/>
          </a:xfrm>
          <a:prstGeom prst="straightConnector1">
            <a:avLst/>
          </a:prstGeom>
          <a:ln w="19050">
            <a:solidFill>
              <a:schemeClr val="accent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4" name="Straight Arrow Connector 183">
            <a:extLst>
              <a:ext uri="{FF2B5EF4-FFF2-40B4-BE49-F238E27FC236}">
                <a16:creationId xmlns:a16="http://schemas.microsoft.com/office/drawing/2014/main" id="{156DB07E-CBCF-4916-9D06-FF797F56CA5A}"/>
              </a:ext>
            </a:extLst>
          </p:cNvPr>
          <p:cNvCxnSpPr>
            <a:cxnSpLocks/>
          </p:cNvCxnSpPr>
          <p:nvPr/>
        </p:nvCxnSpPr>
        <p:spPr>
          <a:xfrm flipH="1" flipV="1">
            <a:off x="3607758" y="4698506"/>
            <a:ext cx="249692" cy="360364"/>
          </a:xfrm>
          <a:prstGeom prst="straightConnector1">
            <a:avLst/>
          </a:prstGeom>
          <a:ln w="19050">
            <a:solidFill>
              <a:schemeClr val="accent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301D24D0-9CFA-4267-BA6D-92DFCA27AB90}"/>
              </a:ext>
            </a:extLst>
          </p:cNvPr>
          <p:cNvCxnSpPr>
            <a:cxnSpLocks/>
          </p:cNvCxnSpPr>
          <p:nvPr/>
        </p:nvCxnSpPr>
        <p:spPr>
          <a:xfrm>
            <a:off x="2286000" y="4254340"/>
            <a:ext cx="464344" cy="10479"/>
          </a:xfrm>
          <a:prstGeom prst="straightConnector1">
            <a:avLst/>
          </a:prstGeom>
          <a:ln w="19050">
            <a:solidFill>
              <a:schemeClr val="accent1"/>
            </a:solidFill>
            <a:headEnd type="arrow" w="med" len="sm"/>
            <a:tailEnd type="arrow" w="med"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02701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par>
                                <p:cTn id="10" presetID="53" presetClass="entr" presetSubtype="16"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childTnLst>
                          </p:cTn>
                        </p:par>
                        <p:par>
                          <p:cTn id="15" fill="hold">
                            <p:stCondLst>
                              <p:cond delay="500"/>
                            </p:stCondLst>
                            <p:childTnLst>
                              <p:par>
                                <p:cTn id="16" presetID="22" presetClass="entr" presetSubtype="2" fill="hold" nodeType="afterEffect">
                                  <p:stCondLst>
                                    <p:cond delay="0"/>
                                  </p:stCondLst>
                                  <p:childTnLst>
                                    <p:set>
                                      <p:cBhvr>
                                        <p:cTn id="17" dur="1" fill="hold">
                                          <p:stCondLst>
                                            <p:cond delay="0"/>
                                          </p:stCondLst>
                                        </p:cTn>
                                        <p:tgtEl>
                                          <p:spTgt spid="68"/>
                                        </p:tgtEl>
                                        <p:attrNameLst>
                                          <p:attrName>style.visibility</p:attrName>
                                        </p:attrNameLst>
                                      </p:cBhvr>
                                      <p:to>
                                        <p:strVal val="visible"/>
                                      </p:to>
                                    </p:set>
                                    <p:animEffect transition="in" filter="wipe(right)">
                                      <p:cBhvr>
                                        <p:cTn id="18" dur="250"/>
                                        <p:tgtEl>
                                          <p:spTgt spid="68"/>
                                        </p:tgtEl>
                                      </p:cBhvr>
                                    </p:animEffect>
                                  </p:childTnLst>
                                </p:cTn>
                              </p:par>
                            </p:childTnLst>
                          </p:cTn>
                        </p:par>
                        <p:par>
                          <p:cTn id="19" fill="hold">
                            <p:stCondLst>
                              <p:cond delay="750"/>
                            </p:stCondLst>
                            <p:childTnLst>
                              <p:par>
                                <p:cTn id="20" presetID="10" presetClass="entr" presetSubtype="0" fill="hold" nodeType="after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500"/>
                                        <p:tgtEl>
                                          <p:spTgt spid="4"/>
                                        </p:tgtEl>
                                      </p:cBhvr>
                                    </p:animEffect>
                                  </p:childTnLst>
                                </p:cTn>
                              </p:par>
                            </p:childTnLst>
                          </p:cTn>
                        </p:par>
                        <p:par>
                          <p:cTn id="26" fill="hold">
                            <p:stCondLst>
                              <p:cond delay="1250"/>
                            </p:stCondLst>
                            <p:childTnLst>
                              <p:par>
                                <p:cTn id="27" presetID="22" presetClass="entr" presetSubtype="2" fill="hold" nodeType="afterEffect">
                                  <p:stCondLst>
                                    <p:cond delay="0"/>
                                  </p:stCondLst>
                                  <p:childTnLst>
                                    <p:set>
                                      <p:cBhvr>
                                        <p:cTn id="28" dur="1" fill="hold">
                                          <p:stCondLst>
                                            <p:cond delay="0"/>
                                          </p:stCondLst>
                                        </p:cTn>
                                        <p:tgtEl>
                                          <p:spTgt spid="96"/>
                                        </p:tgtEl>
                                        <p:attrNameLst>
                                          <p:attrName>style.visibility</p:attrName>
                                        </p:attrNameLst>
                                      </p:cBhvr>
                                      <p:to>
                                        <p:strVal val="visible"/>
                                      </p:to>
                                    </p:set>
                                    <p:animEffect transition="in" filter="wipe(right)">
                                      <p:cBhvr>
                                        <p:cTn id="29" dur="250"/>
                                        <p:tgtEl>
                                          <p:spTgt spid="96"/>
                                        </p:tgtEl>
                                      </p:cBhvr>
                                    </p:animEffect>
                                  </p:childTnLst>
                                </p:cTn>
                              </p:par>
                            </p:childTnLst>
                          </p:cTn>
                        </p:par>
                        <p:par>
                          <p:cTn id="30" fill="hold">
                            <p:stCondLst>
                              <p:cond delay="1500"/>
                            </p:stCondLst>
                            <p:childTnLst>
                              <p:par>
                                <p:cTn id="31" presetID="53" presetClass="entr" presetSubtype="16" fill="hold" nodeType="afterEffect">
                                  <p:stCondLst>
                                    <p:cond delay="0"/>
                                  </p:stCondLst>
                                  <p:childTnLst>
                                    <p:set>
                                      <p:cBhvr>
                                        <p:cTn id="32" dur="1" fill="hold">
                                          <p:stCondLst>
                                            <p:cond delay="0"/>
                                          </p:stCondLst>
                                        </p:cTn>
                                        <p:tgtEl>
                                          <p:spTgt spid="12"/>
                                        </p:tgtEl>
                                        <p:attrNameLst>
                                          <p:attrName>style.visibility</p:attrName>
                                        </p:attrNameLst>
                                      </p:cBhvr>
                                      <p:to>
                                        <p:strVal val="visible"/>
                                      </p:to>
                                    </p:set>
                                    <p:anim calcmode="lin" valueType="num">
                                      <p:cBhvr>
                                        <p:cTn id="33" dur="500" fill="hold"/>
                                        <p:tgtEl>
                                          <p:spTgt spid="12"/>
                                        </p:tgtEl>
                                        <p:attrNameLst>
                                          <p:attrName>ppt_w</p:attrName>
                                        </p:attrNameLst>
                                      </p:cBhvr>
                                      <p:tavLst>
                                        <p:tav tm="0">
                                          <p:val>
                                            <p:fltVal val="0"/>
                                          </p:val>
                                        </p:tav>
                                        <p:tav tm="100000">
                                          <p:val>
                                            <p:strVal val="#ppt_w"/>
                                          </p:val>
                                        </p:tav>
                                      </p:tavLst>
                                    </p:anim>
                                    <p:anim calcmode="lin" valueType="num">
                                      <p:cBhvr>
                                        <p:cTn id="34" dur="500" fill="hold"/>
                                        <p:tgtEl>
                                          <p:spTgt spid="12"/>
                                        </p:tgtEl>
                                        <p:attrNameLst>
                                          <p:attrName>ppt_h</p:attrName>
                                        </p:attrNameLst>
                                      </p:cBhvr>
                                      <p:tavLst>
                                        <p:tav tm="0">
                                          <p:val>
                                            <p:fltVal val="0"/>
                                          </p:val>
                                        </p:tav>
                                        <p:tav tm="100000">
                                          <p:val>
                                            <p:strVal val="#ppt_h"/>
                                          </p:val>
                                        </p:tav>
                                      </p:tavLst>
                                    </p:anim>
                                    <p:animEffect transition="in" filter="fade">
                                      <p:cBhvr>
                                        <p:cTn id="35" dur="500"/>
                                        <p:tgtEl>
                                          <p:spTgt spid="12"/>
                                        </p:tgtEl>
                                      </p:cBhvr>
                                    </p:animEffect>
                                  </p:childTnLst>
                                </p:cTn>
                              </p:par>
                              <p:par>
                                <p:cTn id="36" presetID="10" presetClass="entr" presetSubtype="0" fill="hold" nodeType="withEffect">
                                  <p:stCondLst>
                                    <p:cond delay="0"/>
                                  </p:stCondLst>
                                  <p:childTnLst>
                                    <p:set>
                                      <p:cBhvr>
                                        <p:cTn id="37" dur="1" fill="hold">
                                          <p:stCondLst>
                                            <p:cond delay="0"/>
                                          </p:stCondLst>
                                        </p:cTn>
                                        <p:tgtEl>
                                          <p:spTgt spid="135"/>
                                        </p:tgtEl>
                                        <p:attrNameLst>
                                          <p:attrName>style.visibility</p:attrName>
                                        </p:attrNameLst>
                                      </p:cBhvr>
                                      <p:to>
                                        <p:strVal val="visible"/>
                                      </p:to>
                                    </p:set>
                                    <p:animEffect transition="in" filter="fade">
                                      <p:cBhvr>
                                        <p:cTn id="38" dur="500"/>
                                        <p:tgtEl>
                                          <p:spTgt spid="135"/>
                                        </p:tgtEl>
                                      </p:cBhvr>
                                    </p:animEffect>
                                  </p:childTnLst>
                                </p:cTn>
                              </p:par>
                            </p:childTnLst>
                          </p:cTn>
                        </p:par>
                        <p:par>
                          <p:cTn id="39" fill="hold">
                            <p:stCondLst>
                              <p:cond delay="2000"/>
                            </p:stCondLst>
                            <p:childTnLst>
                              <p:par>
                                <p:cTn id="40" presetID="22" presetClass="entr" presetSubtype="2" fill="hold" nodeType="afterEffect">
                                  <p:stCondLst>
                                    <p:cond delay="0"/>
                                  </p:stCondLst>
                                  <p:childTnLst>
                                    <p:set>
                                      <p:cBhvr>
                                        <p:cTn id="41" dur="1" fill="hold">
                                          <p:stCondLst>
                                            <p:cond delay="0"/>
                                          </p:stCondLst>
                                        </p:cTn>
                                        <p:tgtEl>
                                          <p:spTgt spid="186"/>
                                        </p:tgtEl>
                                        <p:attrNameLst>
                                          <p:attrName>style.visibility</p:attrName>
                                        </p:attrNameLst>
                                      </p:cBhvr>
                                      <p:to>
                                        <p:strVal val="visible"/>
                                      </p:to>
                                    </p:set>
                                    <p:animEffect transition="in" filter="wipe(right)">
                                      <p:cBhvr>
                                        <p:cTn id="42" dur="250"/>
                                        <p:tgtEl>
                                          <p:spTgt spid="186"/>
                                        </p:tgtEl>
                                      </p:cBhvr>
                                    </p:animEffect>
                                  </p:childTnLst>
                                </p:cTn>
                              </p:par>
                              <p:par>
                                <p:cTn id="43" presetID="22" presetClass="entr" presetSubtype="4" fill="hold" nodeType="withEffect">
                                  <p:stCondLst>
                                    <p:cond delay="0"/>
                                  </p:stCondLst>
                                  <p:childTnLst>
                                    <p:set>
                                      <p:cBhvr>
                                        <p:cTn id="44" dur="1" fill="hold">
                                          <p:stCondLst>
                                            <p:cond delay="0"/>
                                          </p:stCondLst>
                                        </p:cTn>
                                        <p:tgtEl>
                                          <p:spTgt spid="183"/>
                                        </p:tgtEl>
                                        <p:attrNameLst>
                                          <p:attrName>style.visibility</p:attrName>
                                        </p:attrNameLst>
                                      </p:cBhvr>
                                      <p:to>
                                        <p:strVal val="visible"/>
                                      </p:to>
                                    </p:set>
                                    <p:animEffect transition="in" filter="wipe(down)">
                                      <p:cBhvr>
                                        <p:cTn id="45" dur="250"/>
                                        <p:tgtEl>
                                          <p:spTgt spid="183"/>
                                        </p:tgtEl>
                                      </p:cBhvr>
                                    </p:animEffect>
                                  </p:childTnLst>
                                </p:cTn>
                              </p:par>
                              <p:par>
                                <p:cTn id="46" presetID="22" presetClass="entr" presetSubtype="4" fill="hold" nodeType="with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down)">
                                      <p:cBhvr>
                                        <p:cTn id="48" dur="250"/>
                                        <p:tgtEl>
                                          <p:spTgt spid="14"/>
                                        </p:tgtEl>
                                      </p:cBhvr>
                                    </p:animEffect>
                                  </p:childTnLst>
                                </p:cTn>
                              </p:par>
                              <p:par>
                                <p:cTn id="49" presetID="22" presetClass="entr" presetSubtype="1" fill="hold" nodeType="withEffect">
                                  <p:stCondLst>
                                    <p:cond delay="0"/>
                                  </p:stCondLst>
                                  <p:childTnLst>
                                    <p:set>
                                      <p:cBhvr>
                                        <p:cTn id="50" dur="1" fill="hold">
                                          <p:stCondLst>
                                            <p:cond delay="0"/>
                                          </p:stCondLst>
                                        </p:cTn>
                                        <p:tgtEl>
                                          <p:spTgt spid="182"/>
                                        </p:tgtEl>
                                        <p:attrNameLst>
                                          <p:attrName>style.visibility</p:attrName>
                                        </p:attrNameLst>
                                      </p:cBhvr>
                                      <p:to>
                                        <p:strVal val="visible"/>
                                      </p:to>
                                    </p:set>
                                    <p:animEffect transition="in" filter="wipe(up)">
                                      <p:cBhvr>
                                        <p:cTn id="51" dur="250"/>
                                        <p:tgtEl>
                                          <p:spTgt spid="182"/>
                                        </p:tgtEl>
                                      </p:cBhvr>
                                    </p:animEffect>
                                  </p:childTnLst>
                                </p:cTn>
                              </p:par>
                              <p:par>
                                <p:cTn id="52" presetID="22" presetClass="entr" presetSubtype="1" fill="hold" nodeType="withEffect">
                                  <p:stCondLst>
                                    <p:cond delay="0"/>
                                  </p:stCondLst>
                                  <p:childTnLst>
                                    <p:set>
                                      <p:cBhvr>
                                        <p:cTn id="53" dur="1" fill="hold">
                                          <p:stCondLst>
                                            <p:cond delay="0"/>
                                          </p:stCondLst>
                                        </p:cTn>
                                        <p:tgtEl>
                                          <p:spTgt spid="184"/>
                                        </p:tgtEl>
                                        <p:attrNameLst>
                                          <p:attrName>style.visibility</p:attrName>
                                        </p:attrNameLst>
                                      </p:cBhvr>
                                      <p:to>
                                        <p:strVal val="visible"/>
                                      </p:to>
                                    </p:set>
                                    <p:animEffect transition="in" filter="wipe(up)">
                                      <p:cBhvr>
                                        <p:cTn id="54" dur="250"/>
                                        <p:tgtEl>
                                          <p:spTgt spid="184"/>
                                        </p:tgtEl>
                                      </p:cBhvr>
                                    </p:animEffect>
                                  </p:childTnLst>
                                </p:cTn>
                              </p:par>
                            </p:childTnLst>
                          </p:cTn>
                        </p:par>
                        <p:par>
                          <p:cTn id="55" fill="hold">
                            <p:stCondLst>
                              <p:cond delay="2250"/>
                            </p:stCondLst>
                            <p:childTnLst>
                              <p:par>
                                <p:cTn id="56" presetID="53" presetClass="entr" presetSubtype="16" fill="hold" nodeType="afterEffect">
                                  <p:stCondLst>
                                    <p:cond delay="0"/>
                                  </p:stCondLst>
                                  <p:childTnLst>
                                    <p:set>
                                      <p:cBhvr>
                                        <p:cTn id="57" dur="1" fill="hold">
                                          <p:stCondLst>
                                            <p:cond delay="0"/>
                                          </p:stCondLst>
                                        </p:cTn>
                                        <p:tgtEl>
                                          <p:spTgt spid="110"/>
                                        </p:tgtEl>
                                        <p:attrNameLst>
                                          <p:attrName>style.visibility</p:attrName>
                                        </p:attrNameLst>
                                      </p:cBhvr>
                                      <p:to>
                                        <p:strVal val="visible"/>
                                      </p:to>
                                    </p:set>
                                    <p:anim calcmode="lin" valueType="num">
                                      <p:cBhvr>
                                        <p:cTn id="58" dur="500" fill="hold"/>
                                        <p:tgtEl>
                                          <p:spTgt spid="110"/>
                                        </p:tgtEl>
                                        <p:attrNameLst>
                                          <p:attrName>ppt_w</p:attrName>
                                        </p:attrNameLst>
                                      </p:cBhvr>
                                      <p:tavLst>
                                        <p:tav tm="0">
                                          <p:val>
                                            <p:fltVal val="0"/>
                                          </p:val>
                                        </p:tav>
                                        <p:tav tm="100000">
                                          <p:val>
                                            <p:strVal val="#ppt_w"/>
                                          </p:val>
                                        </p:tav>
                                      </p:tavLst>
                                    </p:anim>
                                    <p:anim calcmode="lin" valueType="num">
                                      <p:cBhvr>
                                        <p:cTn id="59" dur="500" fill="hold"/>
                                        <p:tgtEl>
                                          <p:spTgt spid="110"/>
                                        </p:tgtEl>
                                        <p:attrNameLst>
                                          <p:attrName>ppt_h</p:attrName>
                                        </p:attrNameLst>
                                      </p:cBhvr>
                                      <p:tavLst>
                                        <p:tav tm="0">
                                          <p:val>
                                            <p:fltVal val="0"/>
                                          </p:val>
                                        </p:tav>
                                        <p:tav tm="100000">
                                          <p:val>
                                            <p:strVal val="#ppt_h"/>
                                          </p:val>
                                        </p:tav>
                                      </p:tavLst>
                                    </p:anim>
                                    <p:animEffect transition="in" filter="fade">
                                      <p:cBhvr>
                                        <p:cTn id="60" dur="500"/>
                                        <p:tgtEl>
                                          <p:spTgt spid="110"/>
                                        </p:tgtEl>
                                      </p:cBhvr>
                                    </p:animEffect>
                                  </p:childTnLst>
                                </p:cTn>
                              </p:par>
                              <p:par>
                                <p:cTn id="61" presetID="53" presetClass="entr" presetSubtype="16" fill="hold" nodeType="withEffect">
                                  <p:stCondLst>
                                    <p:cond delay="0"/>
                                  </p:stCondLst>
                                  <p:childTnLst>
                                    <p:set>
                                      <p:cBhvr>
                                        <p:cTn id="62" dur="1" fill="hold">
                                          <p:stCondLst>
                                            <p:cond delay="0"/>
                                          </p:stCondLst>
                                        </p:cTn>
                                        <p:tgtEl>
                                          <p:spTgt spid="8"/>
                                        </p:tgtEl>
                                        <p:attrNameLst>
                                          <p:attrName>style.visibility</p:attrName>
                                        </p:attrNameLst>
                                      </p:cBhvr>
                                      <p:to>
                                        <p:strVal val="visible"/>
                                      </p:to>
                                    </p:set>
                                    <p:anim calcmode="lin" valueType="num">
                                      <p:cBhvr>
                                        <p:cTn id="63" dur="500" fill="hold"/>
                                        <p:tgtEl>
                                          <p:spTgt spid="8"/>
                                        </p:tgtEl>
                                        <p:attrNameLst>
                                          <p:attrName>ppt_w</p:attrName>
                                        </p:attrNameLst>
                                      </p:cBhvr>
                                      <p:tavLst>
                                        <p:tav tm="0">
                                          <p:val>
                                            <p:fltVal val="0"/>
                                          </p:val>
                                        </p:tav>
                                        <p:tav tm="100000">
                                          <p:val>
                                            <p:strVal val="#ppt_w"/>
                                          </p:val>
                                        </p:tav>
                                      </p:tavLst>
                                    </p:anim>
                                    <p:anim calcmode="lin" valueType="num">
                                      <p:cBhvr>
                                        <p:cTn id="64" dur="500" fill="hold"/>
                                        <p:tgtEl>
                                          <p:spTgt spid="8"/>
                                        </p:tgtEl>
                                        <p:attrNameLst>
                                          <p:attrName>ppt_h</p:attrName>
                                        </p:attrNameLst>
                                      </p:cBhvr>
                                      <p:tavLst>
                                        <p:tav tm="0">
                                          <p:val>
                                            <p:fltVal val="0"/>
                                          </p:val>
                                        </p:tav>
                                        <p:tav tm="100000">
                                          <p:val>
                                            <p:strVal val="#ppt_h"/>
                                          </p:val>
                                        </p:tav>
                                      </p:tavLst>
                                    </p:anim>
                                    <p:animEffect transition="in" filter="fade">
                                      <p:cBhvr>
                                        <p:cTn id="65" dur="500"/>
                                        <p:tgtEl>
                                          <p:spTgt spid="8"/>
                                        </p:tgtEl>
                                      </p:cBhvr>
                                    </p:animEffect>
                                  </p:childTnLst>
                                </p:cTn>
                              </p:par>
                              <p:par>
                                <p:cTn id="66" presetID="53" presetClass="entr" presetSubtype="16" fill="hold" nodeType="withEffect">
                                  <p:stCondLst>
                                    <p:cond delay="0"/>
                                  </p:stCondLst>
                                  <p:childTnLst>
                                    <p:set>
                                      <p:cBhvr>
                                        <p:cTn id="67" dur="1" fill="hold">
                                          <p:stCondLst>
                                            <p:cond delay="0"/>
                                          </p:stCondLst>
                                        </p:cTn>
                                        <p:tgtEl>
                                          <p:spTgt spid="9"/>
                                        </p:tgtEl>
                                        <p:attrNameLst>
                                          <p:attrName>style.visibility</p:attrName>
                                        </p:attrNameLst>
                                      </p:cBhvr>
                                      <p:to>
                                        <p:strVal val="visible"/>
                                      </p:to>
                                    </p:set>
                                    <p:anim calcmode="lin" valueType="num">
                                      <p:cBhvr>
                                        <p:cTn id="68" dur="500" fill="hold"/>
                                        <p:tgtEl>
                                          <p:spTgt spid="9"/>
                                        </p:tgtEl>
                                        <p:attrNameLst>
                                          <p:attrName>ppt_w</p:attrName>
                                        </p:attrNameLst>
                                      </p:cBhvr>
                                      <p:tavLst>
                                        <p:tav tm="0">
                                          <p:val>
                                            <p:fltVal val="0"/>
                                          </p:val>
                                        </p:tav>
                                        <p:tav tm="100000">
                                          <p:val>
                                            <p:strVal val="#ppt_w"/>
                                          </p:val>
                                        </p:tav>
                                      </p:tavLst>
                                    </p:anim>
                                    <p:anim calcmode="lin" valueType="num">
                                      <p:cBhvr>
                                        <p:cTn id="69" dur="500" fill="hold"/>
                                        <p:tgtEl>
                                          <p:spTgt spid="9"/>
                                        </p:tgtEl>
                                        <p:attrNameLst>
                                          <p:attrName>ppt_h</p:attrName>
                                        </p:attrNameLst>
                                      </p:cBhvr>
                                      <p:tavLst>
                                        <p:tav tm="0">
                                          <p:val>
                                            <p:fltVal val="0"/>
                                          </p:val>
                                        </p:tav>
                                        <p:tav tm="100000">
                                          <p:val>
                                            <p:strVal val="#ppt_h"/>
                                          </p:val>
                                        </p:tav>
                                      </p:tavLst>
                                    </p:anim>
                                    <p:animEffect transition="in" filter="fade">
                                      <p:cBhvr>
                                        <p:cTn id="70" dur="500"/>
                                        <p:tgtEl>
                                          <p:spTgt spid="9"/>
                                        </p:tgtEl>
                                      </p:cBhvr>
                                    </p:animEffect>
                                  </p:childTnLst>
                                </p:cTn>
                              </p:par>
                              <p:par>
                                <p:cTn id="71" presetID="53" presetClass="entr" presetSubtype="16" fill="hold" nodeType="withEffect">
                                  <p:stCondLst>
                                    <p:cond delay="0"/>
                                  </p:stCondLst>
                                  <p:childTnLst>
                                    <p:set>
                                      <p:cBhvr>
                                        <p:cTn id="72" dur="1" fill="hold">
                                          <p:stCondLst>
                                            <p:cond delay="0"/>
                                          </p:stCondLst>
                                        </p:cTn>
                                        <p:tgtEl>
                                          <p:spTgt spid="10"/>
                                        </p:tgtEl>
                                        <p:attrNameLst>
                                          <p:attrName>style.visibility</p:attrName>
                                        </p:attrNameLst>
                                      </p:cBhvr>
                                      <p:to>
                                        <p:strVal val="visible"/>
                                      </p:to>
                                    </p:set>
                                    <p:anim calcmode="lin" valueType="num">
                                      <p:cBhvr>
                                        <p:cTn id="73" dur="500" fill="hold"/>
                                        <p:tgtEl>
                                          <p:spTgt spid="10"/>
                                        </p:tgtEl>
                                        <p:attrNameLst>
                                          <p:attrName>ppt_w</p:attrName>
                                        </p:attrNameLst>
                                      </p:cBhvr>
                                      <p:tavLst>
                                        <p:tav tm="0">
                                          <p:val>
                                            <p:fltVal val="0"/>
                                          </p:val>
                                        </p:tav>
                                        <p:tav tm="100000">
                                          <p:val>
                                            <p:strVal val="#ppt_w"/>
                                          </p:val>
                                        </p:tav>
                                      </p:tavLst>
                                    </p:anim>
                                    <p:anim calcmode="lin" valueType="num">
                                      <p:cBhvr>
                                        <p:cTn id="74" dur="500" fill="hold"/>
                                        <p:tgtEl>
                                          <p:spTgt spid="10"/>
                                        </p:tgtEl>
                                        <p:attrNameLst>
                                          <p:attrName>ppt_h</p:attrName>
                                        </p:attrNameLst>
                                      </p:cBhvr>
                                      <p:tavLst>
                                        <p:tav tm="0">
                                          <p:val>
                                            <p:fltVal val="0"/>
                                          </p:val>
                                        </p:tav>
                                        <p:tav tm="100000">
                                          <p:val>
                                            <p:strVal val="#ppt_h"/>
                                          </p:val>
                                        </p:tav>
                                      </p:tavLst>
                                    </p:anim>
                                    <p:animEffect transition="in" filter="fade">
                                      <p:cBhvr>
                                        <p:cTn id="75" dur="500"/>
                                        <p:tgtEl>
                                          <p:spTgt spid="10"/>
                                        </p:tgtEl>
                                      </p:cBhvr>
                                    </p:animEffect>
                                  </p:childTnLst>
                                </p:cTn>
                              </p:par>
                              <p:par>
                                <p:cTn id="76" presetID="53" presetClass="entr" presetSubtype="16" fill="hold" nodeType="withEffect">
                                  <p:stCondLst>
                                    <p:cond delay="0"/>
                                  </p:stCondLst>
                                  <p:childTnLst>
                                    <p:set>
                                      <p:cBhvr>
                                        <p:cTn id="77" dur="1" fill="hold">
                                          <p:stCondLst>
                                            <p:cond delay="0"/>
                                          </p:stCondLst>
                                        </p:cTn>
                                        <p:tgtEl>
                                          <p:spTgt spid="11"/>
                                        </p:tgtEl>
                                        <p:attrNameLst>
                                          <p:attrName>style.visibility</p:attrName>
                                        </p:attrNameLst>
                                      </p:cBhvr>
                                      <p:to>
                                        <p:strVal val="visible"/>
                                      </p:to>
                                    </p:set>
                                    <p:anim calcmode="lin" valueType="num">
                                      <p:cBhvr>
                                        <p:cTn id="78" dur="500" fill="hold"/>
                                        <p:tgtEl>
                                          <p:spTgt spid="11"/>
                                        </p:tgtEl>
                                        <p:attrNameLst>
                                          <p:attrName>ppt_w</p:attrName>
                                        </p:attrNameLst>
                                      </p:cBhvr>
                                      <p:tavLst>
                                        <p:tav tm="0">
                                          <p:val>
                                            <p:fltVal val="0"/>
                                          </p:val>
                                        </p:tav>
                                        <p:tav tm="100000">
                                          <p:val>
                                            <p:strVal val="#ppt_w"/>
                                          </p:val>
                                        </p:tav>
                                      </p:tavLst>
                                    </p:anim>
                                    <p:anim calcmode="lin" valueType="num">
                                      <p:cBhvr>
                                        <p:cTn id="79" dur="500" fill="hold"/>
                                        <p:tgtEl>
                                          <p:spTgt spid="11"/>
                                        </p:tgtEl>
                                        <p:attrNameLst>
                                          <p:attrName>ppt_h</p:attrName>
                                        </p:attrNameLst>
                                      </p:cBhvr>
                                      <p:tavLst>
                                        <p:tav tm="0">
                                          <p:val>
                                            <p:fltVal val="0"/>
                                          </p:val>
                                        </p:tav>
                                        <p:tav tm="100000">
                                          <p:val>
                                            <p:strVal val="#ppt_h"/>
                                          </p:val>
                                        </p:tav>
                                      </p:tavLst>
                                    </p:anim>
                                    <p:animEffect transition="in" filter="fade">
                                      <p:cBhvr>
                                        <p:cTn id="80"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491169-456F-4A91-9FC0-CADA7F1FDAE0}"/>
              </a:ext>
            </a:extLst>
          </p:cNvPr>
          <p:cNvSpPr/>
          <p:nvPr/>
        </p:nvSpPr>
        <p:spPr bwMode="auto">
          <a:xfrm>
            <a:off x="0" y="6060003"/>
            <a:ext cx="12436475" cy="93452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1" name="Oval 10">
            <a:extLst>
              <a:ext uri="{FF2B5EF4-FFF2-40B4-BE49-F238E27FC236}">
                <a16:creationId xmlns:a16="http://schemas.microsoft.com/office/drawing/2014/main" id="{F9BAE06B-FFA3-4676-BADE-16C9266BA820}"/>
              </a:ext>
            </a:extLst>
          </p:cNvPr>
          <p:cNvSpPr/>
          <p:nvPr/>
        </p:nvSpPr>
        <p:spPr>
          <a:xfrm>
            <a:off x="1565999" y="2015260"/>
            <a:ext cx="9304476" cy="3743339"/>
          </a:xfrm>
          <a:prstGeom prst="ellipse">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836">
              <a:solidFill>
                <a:prstClr val="white"/>
              </a:solidFill>
              <a:latin typeface="Segoe UI" panose="020B0502040204020203" pitchFamily="34" charset="0"/>
            </a:endParaRPr>
          </a:p>
        </p:txBody>
      </p:sp>
      <p:sp>
        <p:nvSpPr>
          <p:cNvPr id="2" name="Title 1"/>
          <p:cNvSpPr>
            <a:spLocks noGrp="1"/>
          </p:cNvSpPr>
          <p:nvPr>
            <p:ph type="title"/>
          </p:nvPr>
        </p:nvSpPr>
        <p:spPr/>
        <p:txBody>
          <a:bodyPr/>
          <a:lstStyle/>
          <a:p>
            <a:r>
              <a:rPr lang="en-US"/>
              <a:t>Delivering excellence in digital manufacturing</a:t>
            </a:r>
          </a:p>
        </p:txBody>
      </p:sp>
      <p:sp>
        <p:nvSpPr>
          <p:cNvPr id="3" name="TextBox 2"/>
          <p:cNvSpPr txBox="1"/>
          <p:nvPr/>
        </p:nvSpPr>
        <p:spPr>
          <a:xfrm>
            <a:off x="3745540" y="1472670"/>
            <a:ext cx="1833282" cy="489322"/>
          </a:xfrm>
          <a:prstGeom prst="rect">
            <a:avLst/>
          </a:prstGeom>
          <a:noFill/>
        </p:spPr>
        <p:txBody>
          <a:bodyPr wrap="square" lIns="182854" tIns="146283" rIns="182854" bIns="146283" rtlCol="0">
            <a:spAutoFit/>
          </a:bodyPr>
          <a:lstStyle/>
          <a:p>
            <a:pPr defTabSz="932597">
              <a:lnSpc>
                <a:spcPct val="90000"/>
              </a:lnSpc>
              <a:spcAft>
                <a:spcPts val="600"/>
              </a:spcAft>
            </a:pPr>
            <a:r>
              <a:rPr lang="en-US" sz="1400">
                <a:solidFill>
                  <a:schemeClr val="tx2"/>
                </a:solidFill>
                <a:latin typeface="Segoe UI" panose="020B0502040204020203" pitchFamily="34" charset="0"/>
              </a:rPr>
              <a:t>HoloLens</a:t>
            </a:r>
          </a:p>
        </p:txBody>
      </p:sp>
      <p:sp>
        <p:nvSpPr>
          <p:cNvPr id="64" name="TextBox 63"/>
          <p:cNvSpPr txBox="1"/>
          <p:nvPr/>
        </p:nvSpPr>
        <p:spPr>
          <a:xfrm>
            <a:off x="751609" y="1822621"/>
            <a:ext cx="2219381" cy="877121"/>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sz="1400">
                <a:solidFill>
                  <a:schemeClr val="tx2"/>
                </a:solidFill>
                <a:latin typeface="Segoe UI" panose="020B0502040204020203" pitchFamily="34" charset="0"/>
              </a:rPr>
              <a:t>Cortana Intelligence Suite and Cognitive Services</a:t>
            </a:r>
          </a:p>
        </p:txBody>
      </p:sp>
      <p:sp>
        <p:nvSpPr>
          <p:cNvPr id="68" name="TextBox 67"/>
          <p:cNvSpPr txBox="1"/>
          <p:nvPr/>
        </p:nvSpPr>
        <p:spPr>
          <a:xfrm>
            <a:off x="7432457" y="1537081"/>
            <a:ext cx="2834171" cy="489322"/>
          </a:xfrm>
          <a:prstGeom prst="rect">
            <a:avLst/>
          </a:prstGeom>
          <a:noFill/>
        </p:spPr>
        <p:txBody>
          <a:bodyPr wrap="square" lIns="182854" tIns="146283" rIns="182854" bIns="146283" rtlCol="0">
            <a:spAutoFit/>
          </a:bodyPr>
          <a:lstStyle/>
          <a:p>
            <a:pPr defTabSz="932597">
              <a:lnSpc>
                <a:spcPct val="90000"/>
              </a:lnSpc>
              <a:spcAft>
                <a:spcPts val="600"/>
              </a:spcAft>
            </a:pPr>
            <a:r>
              <a:rPr lang="en-US" sz="1400">
                <a:solidFill>
                  <a:schemeClr val="tx2"/>
                </a:solidFill>
                <a:latin typeface="Segoe UI" panose="020B0502040204020203" pitchFamily="34" charset="0"/>
              </a:rPr>
              <a:t>Azure IoT Suite</a:t>
            </a:r>
          </a:p>
        </p:txBody>
      </p:sp>
      <p:sp>
        <p:nvSpPr>
          <p:cNvPr id="72" name="TextBox 71"/>
          <p:cNvSpPr txBox="1"/>
          <p:nvPr/>
        </p:nvSpPr>
        <p:spPr>
          <a:xfrm>
            <a:off x="328039" y="3883203"/>
            <a:ext cx="1296078" cy="683222"/>
          </a:xfrm>
          <a:prstGeom prst="rect">
            <a:avLst/>
          </a:prstGeom>
          <a:noFill/>
        </p:spPr>
        <p:txBody>
          <a:bodyPr wrap="square" lIns="182854" tIns="146283" rIns="182854" bIns="146283" rtlCol="0">
            <a:spAutoFit/>
          </a:bodyPr>
          <a:lstStyle/>
          <a:p>
            <a:pPr algn="r" defTabSz="932597">
              <a:lnSpc>
                <a:spcPct val="90000"/>
              </a:lnSpc>
              <a:spcAft>
                <a:spcPts val="600"/>
              </a:spcAft>
            </a:pPr>
            <a:r>
              <a:rPr lang="en-US" sz="1400">
                <a:solidFill>
                  <a:schemeClr val="tx2"/>
                </a:solidFill>
                <a:latin typeface="Segoe UI" panose="020B0502040204020203" pitchFamily="34" charset="0"/>
              </a:rPr>
              <a:t>Automotive solutions</a:t>
            </a:r>
          </a:p>
        </p:txBody>
      </p:sp>
      <p:sp>
        <p:nvSpPr>
          <p:cNvPr id="74" name="TextBox 73"/>
          <p:cNvSpPr txBox="1"/>
          <p:nvPr/>
        </p:nvSpPr>
        <p:spPr>
          <a:xfrm>
            <a:off x="9778511" y="2166073"/>
            <a:ext cx="2291403" cy="683222"/>
          </a:xfrm>
          <a:prstGeom prst="rect">
            <a:avLst/>
          </a:prstGeom>
          <a:noFill/>
        </p:spPr>
        <p:txBody>
          <a:bodyPr wrap="square" lIns="182854" tIns="146283" rIns="182854" bIns="146283" rtlCol="0">
            <a:spAutoFit/>
          </a:bodyPr>
          <a:lstStyle/>
          <a:p>
            <a:pPr defTabSz="932597">
              <a:lnSpc>
                <a:spcPct val="90000"/>
              </a:lnSpc>
              <a:spcAft>
                <a:spcPts val="600"/>
              </a:spcAft>
            </a:pPr>
            <a:r>
              <a:rPr lang="en-US" sz="1400">
                <a:solidFill>
                  <a:schemeClr val="tx2"/>
                </a:solidFill>
                <a:latin typeface="Segoe UI" panose="020B0502040204020203" pitchFamily="34" charset="0"/>
              </a:rPr>
              <a:t>Microsoft 3D Tools and Windows 10 IoT Core</a:t>
            </a:r>
          </a:p>
        </p:txBody>
      </p:sp>
      <p:grpSp>
        <p:nvGrpSpPr>
          <p:cNvPr id="4" name="Group 3">
            <a:extLst>
              <a:ext uri="{FF2B5EF4-FFF2-40B4-BE49-F238E27FC236}">
                <a16:creationId xmlns:a16="http://schemas.microsoft.com/office/drawing/2014/main" id="{1A978E3D-D380-4555-A19A-3F848FC23226}"/>
              </a:ext>
            </a:extLst>
          </p:cNvPr>
          <p:cNvGrpSpPr/>
          <p:nvPr/>
        </p:nvGrpSpPr>
        <p:grpSpPr>
          <a:xfrm>
            <a:off x="3891372" y="4490108"/>
            <a:ext cx="4866000" cy="858467"/>
            <a:chOff x="3737026" y="4932535"/>
            <a:chExt cx="4866000" cy="858467"/>
          </a:xfrm>
        </p:grpSpPr>
        <p:sp>
          <p:nvSpPr>
            <p:cNvPr id="183" name="Rectangle 182">
              <a:extLst>
                <a:ext uri="{FF2B5EF4-FFF2-40B4-BE49-F238E27FC236}">
                  <a16:creationId xmlns:a16="http://schemas.microsoft.com/office/drawing/2014/main" id="{3CE063C1-18D3-4B9B-827E-BD2AAD736A7A}"/>
                </a:ext>
              </a:extLst>
            </p:cNvPr>
            <p:cNvSpPr>
              <a:spLocks noChangeAspect="1"/>
            </p:cNvSpPr>
            <p:nvPr/>
          </p:nvSpPr>
          <p:spPr bwMode="auto">
            <a:xfrm>
              <a:off x="3737026" y="5463852"/>
              <a:ext cx="4866000" cy="327150"/>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12246">
                <a:spcBef>
                  <a:spcPts val="200"/>
                </a:spcBef>
                <a:defRPr/>
              </a:pPr>
              <a:r>
                <a:rPr lang="en-US" sz="1200" kern="0">
                  <a:solidFill>
                    <a:schemeClr val="accent5"/>
                  </a:solidFill>
                </a:rPr>
                <a:t>Vertical integration  |  Horizontal integration  |  End-to-end engineering </a:t>
              </a:r>
            </a:p>
          </p:txBody>
        </p:sp>
        <p:sp>
          <p:nvSpPr>
            <p:cNvPr id="185" name="TextBox 184">
              <a:extLst>
                <a:ext uri="{FF2B5EF4-FFF2-40B4-BE49-F238E27FC236}">
                  <a16:creationId xmlns:a16="http://schemas.microsoft.com/office/drawing/2014/main" id="{28A8B957-1A5A-4CE3-87A7-35BB2E2F9EFC}"/>
                </a:ext>
              </a:extLst>
            </p:cNvPr>
            <p:cNvSpPr txBox="1"/>
            <p:nvPr/>
          </p:nvSpPr>
          <p:spPr>
            <a:xfrm>
              <a:off x="3869981" y="4932535"/>
              <a:ext cx="443561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kern="0">
                  <a:solidFill>
                    <a:schemeClr val="tx2"/>
                  </a:solidFill>
                </a:rPr>
                <a:t>Industry 4.0 Design Principles</a:t>
              </a:r>
              <a:endParaRPr lang="en-US" sz="2400">
                <a:solidFill>
                  <a:schemeClr val="tx2"/>
                </a:solidFill>
              </a:endParaRPr>
            </a:p>
          </p:txBody>
        </p:sp>
      </p:grpSp>
      <p:sp>
        <p:nvSpPr>
          <p:cNvPr id="171" name="TextBox 170">
            <a:extLst>
              <a:ext uri="{FF2B5EF4-FFF2-40B4-BE49-F238E27FC236}">
                <a16:creationId xmlns:a16="http://schemas.microsoft.com/office/drawing/2014/main" id="{93A95756-CEB6-4168-AE9C-81A57B32A3A4}"/>
              </a:ext>
            </a:extLst>
          </p:cNvPr>
          <p:cNvSpPr txBox="1"/>
          <p:nvPr/>
        </p:nvSpPr>
        <p:spPr>
          <a:xfrm>
            <a:off x="10628669" y="4026816"/>
            <a:ext cx="1696986" cy="1071020"/>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sz="1400">
                <a:solidFill>
                  <a:schemeClr val="tx2"/>
                </a:solidFill>
                <a:latin typeface="Segoe UI" panose="020B0502040204020203" pitchFamily="34" charset="0"/>
              </a:rPr>
              <a:t>Machine Learning, Stream Analytics, and Edge analytics</a:t>
            </a:r>
          </a:p>
        </p:txBody>
      </p:sp>
      <p:sp>
        <p:nvSpPr>
          <p:cNvPr id="189" name="TextBox 188">
            <a:extLst>
              <a:ext uri="{FF2B5EF4-FFF2-40B4-BE49-F238E27FC236}">
                <a16:creationId xmlns:a16="http://schemas.microsoft.com/office/drawing/2014/main" id="{EAE95418-1D06-4F40-B433-5649A0114936}"/>
              </a:ext>
            </a:extLst>
          </p:cNvPr>
          <p:cNvSpPr txBox="1"/>
          <p:nvPr/>
        </p:nvSpPr>
        <p:spPr>
          <a:xfrm>
            <a:off x="4364908" y="6331456"/>
            <a:ext cx="3588862" cy="489322"/>
          </a:xfrm>
          <a:prstGeom prst="rect">
            <a:avLst/>
          </a:prstGeom>
          <a:noFill/>
        </p:spPr>
        <p:txBody>
          <a:bodyPr wrap="square" lIns="182854" tIns="146283" rIns="182854" bIns="146283" rtlCol="0">
            <a:spAutoFit/>
          </a:bodyPr>
          <a:lstStyle/>
          <a:p>
            <a:pPr algn="ctr" defTabSz="932597">
              <a:lnSpc>
                <a:spcPct val="90000"/>
              </a:lnSpc>
              <a:spcAft>
                <a:spcPts val="600"/>
              </a:spcAft>
            </a:pPr>
            <a:r>
              <a:rPr lang="en-US" sz="1400">
                <a:solidFill>
                  <a:schemeClr val="tx2">
                    <a:lumMod val="40000"/>
                    <a:lumOff val="60000"/>
                  </a:schemeClr>
                </a:solidFill>
                <a:latin typeface="Segoe UI" panose="020B0502040204020203" pitchFamily="34" charset="0"/>
              </a:rPr>
              <a:t>Trusted    </a:t>
            </a:r>
            <a:r>
              <a:rPr lang="en-US" sz="1400">
                <a:solidFill>
                  <a:schemeClr val="tx2">
                    <a:lumMod val="60000"/>
                    <a:lumOff val="40000"/>
                  </a:schemeClr>
                </a:solidFill>
                <a:latin typeface="Segoe UI" panose="020B0502040204020203" pitchFamily="34" charset="0"/>
              </a:rPr>
              <a:t>|</a:t>
            </a:r>
            <a:r>
              <a:rPr lang="en-US" sz="1400">
                <a:solidFill>
                  <a:schemeClr val="tx2">
                    <a:lumMod val="40000"/>
                    <a:lumOff val="60000"/>
                  </a:schemeClr>
                </a:solidFill>
                <a:latin typeface="Segoe UI" panose="020B0502040204020203" pitchFamily="34" charset="0"/>
              </a:rPr>
              <a:t>    Secure    </a:t>
            </a:r>
            <a:r>
              <a:rPr lang="en-US" sz="1400">
                <a:solidFill>
                  <a:schemeClr val="tx2">
                    <a:lumMod val="60000"/>
                    <a:lumOff val="40000"/>
                  </a:schemeClr>
                </a:solidFill>
                <a:latin typeface="Segoe UI" panose="020B0502040204020203" pitchFamily="34" charset="0"/>
              </a:rPr>
              <a:t>|</a:t>
            </a:r>
            <a:r>
              <a:rPr lang="en-US" sz="1400">
                <a:solidFill>
                  <a:schemeClr val="tx2">
                    <a:lumMod val="40000"/>
                    <a:lumOff val="60000"/>
                  </a:schemeClr>
                </a:solidFill>
                <a:latin typeface="Segoe UI" panose="020B0502040204020203" pitchFamily="34" charset="0"/>
              </a:rPr>
              <a:t>    Compliant</a:t>
            </a:r>
          </a:p>
        </p:txBody>
      </p:sp>
      <p:sp>
        <p:nvSpPr>
          <p:cNvPr id="175" name="Oval 174">
            <a:extLst>
              <a:ext uri="{FF2B5EF4-FFF2-40B4-BE49-F238E27FC236}">
                <a16:creationId xmlns:a16="http://schemas.microsoft.com/office/drawing/2014/main" id="{411A72FF-8B68-4863-A45C-39753DFEFDE5}"/>
              </a:ext>
            </a:extLst>
          </p:cNvPr>
          <p:cNvSpPr/>
          <p:nvPr/>
        </p:nvSpPr>
        <p:spPr bwMode="auto">
          <a:xfrm>
            <a:off x="2762482" y="2124025"/>
            <a:ext cx="837896" cy="837896"/>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43" name="Group 42">
            <a:extLst>
              <a:ext uri="{FF2B5EF4-FFF2-40B4-BE49-F238E27FC236}">
                <a16:creationId xmlns:a16="http://schemas.microsoft.com/office/drawing/2014/main" id="{BEC543D5-0602-4C01-B92A-6682BDF69AA4}"/>
              </a:ext>
            </a:extLst>
          </p:cNvPr>
          <p:cNvGrpSpPr/>
          <p:nvPr/>
        </p:nvGrpSpPr>
        <p:grpSpPr>
          <a:xfrm>
            <a:off x="2925185" y="2306936"/>
            <a:ext cx="481231" cy="487705"/>
            <a:chOff x="6311901" y="5437188"/>
            <a:chExt cx="708025" cy="717549"/>
          </a:xfrm>
          <a:solidFill>
            <a:schemeClr val="bg1">
              <a:lumMod val="75000"/>
            </a:schemeClr>
          </a:solidFill>
        </p:grpSpPr>
        <p:sp>
          <p:nvSpPr>
            <p:cNvPr id="44" name="Freeform 18">
              <a:extLst>
                <a:ext uri="{FF2B5EF4-FFF2-40B4-BE49-F238E27FC236}">
                  <a16:creationId xmlns:a16="http://schemas.microsoft.com/office/drawing/2014/main" id="{899C2761-3CE7-442E-98A1-4F7C92365E26}"/>
                </a:ext>
              </a:extLst>
            </p:cNvPr>
            <p:cNvSpPr>
              <a:spLocks noEditPoints="1"/>
            </p:cNvSpPr>
            <p:nvPr/>
          </p:nvSpPr>
          <p:spPr bwMode="auto">
            <a:xfrm>
              <a:off x="6561138" y="5562600"/>
              <a:ext cx="146050" cy="290512"/>
            </a:xfrm>
            <a:custGeom>
              <a:avLst/>
              <a:gdLst>
                <a:gd name="T0" fmla="*/ 63 w 87"/>
                <a:gd name="T1" fmla="*/ 0 h 172"/>
                <a:gd name="T2" fmla="*/ 39 w 87"/>
                <a:gd name="T3" fmla="*/ 24 h 172"/>
                <a:gd name="T4" fmla="*/ 56 w 87"/>
                <a:gd name="T5" fmla="*/ 47 h 172"/>
                <a:gd name="T6" fmla="*/ 56 w 87"/>
                <a:gd name="T7" fmla="*/ 108 h 172"/>
                <a:gd name="T8" fmla="*/ 37 w 87"/>
                <a:gd name="T9" fmla="*/ 127 h 172"/>
                <a:gd name="T10" fmla="*/ 24 w 87"/>
                <a:gd name="T11" fmla="*/ 123 h 172"/>
                <a:gd name="T12" fmla="*/ 0 w 87"/>
                <a:gd name="T13" fmla="*/ 148 h 172"/>
                <a:gd name="T14" fmla="*/ 24 w 87"/>
                <a:gd name="T15" fmla="*/ 172 h 172"/>
                <a:gd name="T16" fmla="*/ 48 w 87"/>
                <a:gd name="T17" fmla="*/ 148 h 172"/>
                <a:gd name="T18" fmla="*/ 46 w 87"/>
                <a:gd name="T19" fmla="*/ 138 h 172"/>
                <a:gd name="T20" fmla="*/ 70 w 87"/>
                <a:gd name="T21" fmla="*/ 114 h 172"/>
                <a:gd name="T22" fmla="*/ 70 w 87"/>
                <a:gd name="T23" fmla="*/ 47 h 172"/>
                <a:gd name="T24" fmla="*/ 87 w 87"/>
                <a:gd name="T25" fmla="*/ 24 h 172"/>
                <a:gd name="T26" fmla="*/ 63 w 87"/>
                <a:gd name="T27" fmla="*/ 0 h 172"/>
                <a:gd name="T28" fmla="*/ 24 w 87"/>
                <a:gd name="T29" fmla="*/ 158 h 172"/>
                <a:gd name="T30" fmla="*/ 14 w 87"/>
                <a:gd name="T31" fmla="*/ 148 h 172"/>
                <a:gd name="T32" fmla="*/ 24 w 87"/>
                <a:gd name="T33" fmla="*/ 137 h 172"/>
                <a:gd name="T34" fmla="*/ 34 w 87"/>
                <a:gd name="T35" fmla="*/ 148 h 172"/>
                <a:gd name="T36" fmla="*/ 24 w 87"/>
                <a:gd name="T37" fmla="*/ 158 h 172"/>
                <a:gd name="T38" fmla="*/ 63 w 87"/>
                <a:gd name="T39" fmla="*/ 34 h 172"/>
                <a:gd name="T40" fmla="*/ 53 w 87"/>
                <a:gd name="T41" fmla="*/ 24 h 172"/>
                <a:gd name="T42" fmla="*/ 63 w 87"/>
                <a:gd name="T43" fmla="*/ 14 h 172"/>
                <a:gd name="T44" fmla="*/ 73 w 87"/>
                <a:gd name="T45" fmla="*/ 24 h 172"/>
                <a:gd name="T46" fmla="*/ 63 w 87"/>
                <a:gd name="T47" fmla="*/ 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7" h="172">
                  <a:moveTo>
                    <a:pt x="63" y="0"/>
                  </a:moveTo>
                  <a:cubicBezTo>
                    <a:pt x="50" y="0"/>
                    <a:pt x="39" y="11"/>
                    <a:pt x="39" y="24"/>
                  </a:cubicBezTo>
                  <a:cubicBezTo>
                    <a:pt x="39" y="35"/>
                    <a:pt x="46" y="44"/>
                    <a:pt x="56" y="47"/>
                  </a:cubicBezTo>
                  <a:cubicBezTo>
                    <a:pt x="56" y="108"/>
                    <a:pt x="56" y="108"/>
                    <a:pt x="56" y="108"/>
                  </a:cubicBezTo>
                  <a:cubicBezTo>
                    <a:pt x="37" y="127"/>
                    <a:pt x="37" y="127"/>
                    <a:pt x="37" y="127"/>
                  </a:cubicBezTo>
                  <a:cubicBezTo>
                    <a:pt x="33" y="125"/>
                    <a:pt x="29" y="123"/>
                    <a:pt x="24" y="123"/>
                  </a:cubicBezTo>
                  <a:cubicBezTo>
                    <a:pt x="11" y="123"/>
                    <a:pt x="0" y="134"/>
                    <a:pt x="0" y="148"/>
                  </a:cubicBezTo>
                  <a:cubicBezTo>
                    <a:pt x="0" y="161"/>
                    <a:pt x="11" y="172"/>
                    <a:pt x="24" y="172"/>
                  </a:cubicBezTo>
                  <a:cubicBezTo>
                    <a:pt x="37" y="172"/>
                    <a:pt x="48" y="161"/>
                    <a:pt x="48" y="148"/>
                  </a:cubicBezTo>
                  <a:cubicBezTo>
                    <a:pt x="48" y="144"/>
                    <a:pt x="47" y="141"/>
                    <a:pt x="46" y="138"/>
                  </a:cubicBezTo>
                  <a:cubicBezTo>
                    <a:pt x="70" y="114"/>
                    <a:pt x="70" y="114"/>
                    <a:pt x="70" y="114"/>
                  </a:cubicBezTo>
                  <a:cubicBezTo>
                    <a:pt x="70" y="47"/>
                    <a:pt x="70" y="47"/>
                    <a:pt x="70" y="47"/>
                  </a:cubicBezTo>
                  <a:cubicBezTo>
                    <a:pt x="80" y="44"/>
                    <a:pt x="87" y="35"/>
                    <a:pt x="87" y="24"/>
                  </a:cubicBezTo>
                  <a:cubicBezTo>
                    <a:pt x="87" y="11"/>
                    <a:pt x="76" y="0"/>
                    <a:pt x="63" y="0"/>
                  </a:cubicBezTo>
                  <a:close/>
                  <a:moveTo>
                    <a:pt x="24" y="158"/>
                  </a:moveTo>
                  <a:cubicBezTo>
                    <a:pt x="19" y="158"/>
                    <a:pt x="14" y="153"/>
                    <a:pt x="14" y="148"/>
                  </a:cubicBezTo>
                  <a:cubicBezTo>
                    <a:pt x="14" y="142"/>
                    <a:pt x="19" y="137"/>
                    <a:pt x="24" y="137"/>
                  </a:cubicBezTo>
                  <a:cubicBezTo>
                    <a:pt x="30" y="137"/>
                    <a:pt x="34" y="142"/>
                    <a:pt x="34" y="148"/>
                  </a:cubicBezTo>
                  <a:cubicBezTo>
                    <a:pt x="34" y="153"/>
                    <a:pt x="30" y="158"/>
                    <a:pt x="24" y="158"/>
                  </a:cubicBezTo>
                  <a:close/>
                  <a:moveTo>
                    <a:pt x="63" y="34"/>
                  </a:moveTo>
                  <a:cubicBezTo>
                    <a:pt x="57" y="34"/>
                    <a:pt x="53" y="30"/>
                    <a:pt x="53" y="24"/>
                  </a:cubicBezTo>
                  <a:cubicBezTo>
                    <a:pt x="53" y="19"/>
                    <a:pt x="57" y="14"/>
                    <a:pt x="63" y="14"/>
                  </a:cubicBezTo>
                  <a:cubicBezTo>
                    <a:pt x="68" y="14"/>
                    <a:pt x="73" y="19"/>
                    <a:pt x="73" y="24"/>
                  </a:cubicBezTo>
                  <a:cubicBezTo>
                    <a:pt x="73" y="30"/>
                    <a:pt x="68" y="34"/>
                    <a:pt x="63"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45" name="Freeform 19">
              <a:extLst>
                <a:ext uri="{FF2B5EF4-FFF2-40B4-BE49-F238E27FC236}">
                  <a16:creationId xmlns:a16="http://schemas.microsoft.com/office/drawing/2014/main" id="{CD6ABAB5-E91E-4971-9932-60D2F83F3EA6}"/>
                </a:ext>
              </a:extLst>
            </p:cNvPr>
            <p:cNvSpPr>
              <a:spLocks noEditPoints="1"/>
            </p:cNvSpPr>
            <p:nvPr/>
          </p:nvSpPr>
          <p:spPr bwMode="auto">
            <a:xfrm>
              <a:off x="6818313" y="5829300"/>
              <a:ext cx="87313" cy="277812"/>
            </a:xfrm>
            <a:custGeom>
              <a:avLst/>
              <a:gdLst>
                <a:gd name="T0" fmla="*/ 33 w 52"/>
                <a:gd name="T1" fmla="*/ 113 h 164"/>
                <a:gd name="T2" fmla="*/ 33 w 52"/>
                <a:gd name="T3" fmla="*/ 47 h 164"/>
                <a:gd name="T4" fmla="*/ 50 w 52"/>
                <a:gd name="T5" fmla="*/ 24 h 164"/>
                <a:gd name="T6" fmla="*/ 26 w 52"/>
                <a:gd name="T7" fmla="*/ 0 h 164"/>
                <a:gd name="T8" fmla="*/ 2 w 52"/>
                <a:gd name="T9" fmla="*/ 24 h 164"/>
                <a:gd name="T10" fmla="*/ 19 w 52"/>
                <a:gd name="T11" fmla="*/ 47 h 164"/>
                <a:gd name="T12" fmla="*/ 19 w 52"/>
                <a:gd name="T13" fmla="*/ 113 h 164"/>
                <a:gd name="T14" fmla="*/ 0 w 52"/>
                <a:gd name="T15" fmla="*/ 138 h 164"/>
                <a:gd name="T16" fmla="*/ 26 w 52"/>
                <a:gd name="T17" fmla="*/ 164 h 164"/>
                <a:gd name="T18" fmla="*/ 52 w 52"/>
                <a:gd name="T19" fmla="*/ 138 h 164"/>
                <a:gd name="T20" fmla="*/ 33 w 52"/>
                <a:gd name="T21" fmla="*/ 113 h 164"/>
                <a:gd name="T22" fmla="*/ 16 w 52"/>
                <a:gd name="T23" fmla="*/ 24 h 164"/>
                <a:gd name="T24" fmla="*/ 26 w 52"/>
                <a:gd name="T25" fmla="*/ 14 h 164"/>
                <a:gd name="T26" fmla="*/ 36 w 52"/>
                <a:gd name="T27" fmla="*/ 24 h 164"/>
                <a:gd name="T28" fmla="*/ 26 w 52"/>
                <a:gd name="T29" fmla="*/ 34 h 164"/>
                <a:gd name="T30" fmla="*/ 16 w 52"/>
                <a:gd name="T31" fmla="*/ 24 h 164"/>
                <a:gd name="T32" fmla="*/ 26 w 52"/>
                <a:gd name="T33" fmla="*/ 150 h 164"/>
                <a:gd name="T34" fmla="*/ 14 w 52"/>
                <a:gd name="T35" fmla="*/ 138 h 164"/>
                <a:gd name="T36" fmla="*/ 26 w 52"/>
                <a:gd name="T37" fmla="*/ 126 h 164"/>
                <a:gd name="T38" fmla="*/ 38 w 52"/>
                <a:gd name="T39" fmla="*/ 138 h 164"/>
                <a:gd name="T40" fmla="*/ 26 w 52"/>
                <a:gd name="T41" fmla="*/ 1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164">
                  <a:moveTo>
                    <a:pt x="33" y="113"/>
                  </a:moveTo>
                  <a:cubicBezTo>
                    <a:pt x="33" y="47"/>
                    <a:pt x="33" y="47"/>
                    <a:pt x="33" y="47"/>
                  </a:cubicBezTo>
                  <a:cubicBezTo>
                    <a:pt x="43" y="44"/>
                    <a:pt x="50" y="35"/>
                    <a:pt x="50" y="24"/>
                  </a:cubicBezTo>
                  <a:cubicBezTo>
                    <a:pt x="50" y="11"/>
                    <a:pt x="39" y="0"/>
                    <a:pt x="26" y="0"/>
                  </a:cubicBezTo>
                  <a:cubicBezTo>
                    <a:pt x="13" y="0"/>
                    <a:pt x="2" y="11"/>
                    <a:pt x="2" y="24"/>
                  </a:cubicBezTo>
                  <a:cubicBezTo>
                    <a:pt x="2" y="35"/>
                    <a:pt x="9" y="44"/>
                    <a:pt x="19" y="47"/>
                  </a:cubicBezTo>
                  <a:cubicBezTo>
                    <a:pt x="19" y="113"/>
                    <a:pt x="19" y="113"/>
                    <a:pt x="19" y="113"/>
                  </a:cubicBezTo>
                  <a:cubicBezTo>
                    <a:pt x="8" y="116"/>
                    <a:pt x="0" y="126"/>
                    <a:pt x="0" y="138"/>
                  </a:cubicBezTo>
                  <a:cubicBezTo>
                    <a:pt x="0" y="152"/>
                    <a:pt x="12" y="164"/>
                    <a:pt x="26" y="164"/>
                  </a:cubicBezTo>
                  <a:cubicBezTo>
                    <a:pt x="40" y="164"/>
                    <a:pt x="52" y="152"/>
                    <a:pt x="52" y="138"/>
                  </a:cubicBezTo>
                  <a:cubicBezTo>
                    <a:pt x="52" y="126"/>
                    <a:pt x="44" y="116"/>
                    <a:pt x="33" y="113"/>
                  </a:cubicBezTo>
                  <a:close/>
                  <a:moveTo>
                    <a:pt x="16" y="24"/>
                  </a:moveTo>
                  <a:cubicBezTo>
                    <a:pt x="16" y="19"/>
                    <a:pt x="21" y="14"/>
                    <a:pt x="26" y="14"/>
                  </a:cubicBezTo>
                  <a:cubicBezTo>
                    <a:pt x="32" y="14"/>
                    <a:pt x="36" y="19"/>
                    <a:pt x="36" y="24"/>
                  </a:cubicBezTo>
                  <a:cubicBezTo>
                    <a:pt x="36" y="30"/>
                    <a:pt x="32" y="34"/>
                    <a:pt x="26" y="34"/>
                  </a:cubicBezTo>
                  <a:cubicBezTo>
                    <a:pt x="21" y="34"/>
                    <a:pt x="16" y="30"/>
                    <a:pt x="16" y="24"/>
                  </a:cubicBezTo>
                  <a:close/>
                  <a:moveTo>
                    <a:pt x="26" y="150"/>
                  </a:moveTo>
                  <a:cubicBezTo>
                    <a:pt x="20" y="150"/>
                    <a:pt x="14" y="145"/>
                    <a:pt x="14" y="138"/>
                  </a:cubicBezTo>
                  <a:cubicBezTo>
                    <a:pt x="14" y="132"/>
                    <a:pt x="20" y="126"/>
                    <a:pt x="26" y="126"/>
                  </a:cubicBezTo>
                  <a:cubicBezTo>
                    <a:pt x="33" y="126"/>
                    <a:pt x="38" y="132"/>
                    <a:pt x="38" y="138"/>
                  </a:cubicBezTo>
                  <a:cubicBezTo>
                    <a:pt x="38" y="145"/>
                    <a:pt x="33" y="150"/>
                    <a:pt x="26"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46" name="Freeform 20">
              <a:extLst>
                <a:ext uri="{FF2B5EF4-FFF2-40B4-BE49-F238E27FC236}">
                  <a16:creationId xmlns:a16="http://schemas.microsoft.com/office/drawing/2014/main" id="{342554CB-323C-4503-9392-0B18B2268ADC}"/>
                </a:ext>
              </a:extLst>
            </p:cNvPr>
            <p:cNvSpPr>
              <a:spLocks noEditPoints="1"/>
            </p:cNvSpPr>
            <p:nvPr/>
          </p:nvSpPr>
          <p:spPr bwMode="auto">
            <a:xfrm>
              <a:off x="6718301" y="5838825"/>
              <a:ext cx="90488" cy="315912"/>
            </a:xfrm>
            <a:custGeom>
              <a:avLst/>
              <a:gdLst>
                <a:gd name="T0" fmla="*/ 34 w 54"/>
                <a:gd name="T1" fmla="*/ 137 h 187"/>
                <a:gd name="T2" fmla="*/ 34 w 54"/>
                <a:gd name="T3" fmla="*/ 51 h 187"/>
                <a:gd name="T4" fmla="*/ 44 w 54"/>
                <a:gd name="T5" fmla="*/ 45 h 187"/>
                <a:gd name="T6" fmla="*/ 44 w 54"/>
                <a:gd name="T7" fmla="*/ 10 h 187"/>
                <a:gd name="T8" fmla="*/ 10 w 54"/>
                <a:gd name="T9" fmla="*/ 10 h 187"/>
                <a:gd name="T10" fmla="*/ 10 w 54"/>
                <a:gd name="T11" fmla="*/ 45 h 187"/>
                <a:gd name="T12" fmla="*/ 20 w 54"/>
                <a:gd name="T13" fmla="*/ 51 h 187"/>
                <a:gd name="T14" fmla="*/ 20 w 54"/>
                <a:gd name="T15" fmla="*/ 137 h 187"/>
                <a:gd name="T16" fmla="*/ 1 w 54"/>
                <a:gd name="T17" fmla="*/ 161 h 187"/>
                <a:gd name="T18" fmla="*/ 27 w 54"/>
                <a:gd name="T19" fmla="*/ 187 h 187"/>
                <a:gd name="T20" fmla="*/ 53 w 54"/>
                <a:gd name="T21" fmla="*/ 161 h 187"/>
                <a:gd name="T22" fmla="*/ 34 w 54"/>
                <a:gd name="T23" fmla="*/ 137 h 187"/>
                <a:gd name="T24" fmla="*/ 20 w 54"/>
                <a:gd name="T25" fmla="*/ 20 h 187"/>
                <a:gd name="T26" fmla="*/ 27 w 54"/>
                <a:gd name="T27" fmla="*/ 17 h 187"/>
                <a:gd name="T28" fmla="*/ 34 w 54"/>
                <a:gd name="T29" fmla="*/ 20 h 187"/>
                <a:gd name="T30" fmla="*/ 34 w 54"/>
                <a:gd name="T31" fmla="*/ 35 h 187"/>
                <a:gd name="T32" fmla="*/ 20 w 54"/>
                <a:gd name="T33" fmla="*/ 35 h 187"/>
                <a:gd name="T34" fmla="*/ 20 w 54"/>
                <a:gd name="T35" fmla="*/ 20 h 187"/>
                <a:gd name="T36" fmla="*/ 27 w 54"/>
                <a:gd name="T37" fmla="*/ 173 h 187"/>
                <a:gd name="T38" fmla="*/ 15 w 54"/>
                <a:gd name="T39" fmla="*/ 161 h 187"/>
                <a:gd name="T40" fmla="*/ 27 w 54"/>
                <a:gd name="T41" fmla="*/ 150 h 187"/>
                <a:gd name="T42" fmla="*/ 39 w 54"/>
                <a:gd name="T43" fmla="*/ 161 h 187"/>
                <a:gd name="T44" fmla="*/ 27 w 54"/>
                <a:gd name="T45" fmla="*/ 17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187">
                  <a:moveTo>
                    <a:pt x="34" y="137"/>
                  </a:moveTo>
                  <a:cubicBezTo>
                    <a:pt x="34" y="51"/>
                    <a:pt x="34" y="51"/>
                    <a:pt x="34" y="51"/>
                  </a:cubicBezTo>
                  <a:cubicBezTo>
                    <a:pt x="38" y="50"/>
                    <a:pt x="41" y="48"/>
                    <a:pt x="44" y="45"/>
                  </a:cubicBezTo>
                  <a:cubicBezTo>
                    <a:pt x="54" y="35"/>
                    <a:pt x="54" y="20"/>
                    <a:pt x="44" y="10"/>
                  </a:cubicBezTo>
                  <a:cubicBezTo>
                    <a:pt x="35" y="0"/>
                    <a:pt x="19" y="0"/>
                    <a:pt x="10" y="10"/>
                  </a:cubicBezTo>
                  <a:cubicBezTo>
                    <a:pt x="0" y="20"/>
                    <a:pt x="0" y="35"/>
                    <a:pt x="10" y="45"/>
                  </a:cubicBezTo>
                  <a:cubicBezTo>
                    <a:pt x="13" y="48"/>
                    <a:pt x="16" y="50"/>
                    <a:pt x="20" y="51"/>
                  </a:cubicBezTo>
                  <a:cubicBezTo>
                    <a:pt x="20" y="137"/>
                    <a:pt x="20" y="137"/>
                    <a:pt x="20" y="137"/>
                  </a:cubicBezTo>
                  <a:cubicBezTo>
                    <a:pt x="9" y="140"/>
                    <a:pt x="1" y="150"/>
                    <a:pt x="1" y="161"/>
                  </a:cubicBezTo>
                  <a:cubicBezTo>
                    <a:pt x="1" y="175"/>
                    <a:pt x="13" y="187"/>
                    <a:pt x="27" y="187"/>
                  </a:cubicBezTo>
                  <a:cubicBezTo>
                    <a:pt x="41" y="187"/>
                    <a:pt x="53" y="175"/>
                    <a:pt x="53" y="161"/>
                  </a:cubicBezTo>
                  <a:cubicBezTo>
                    <a:pt x="53" y="150"/>
                    <a:pt x="45" y="140"/>
                    <a:pt x="34" y="137"/>
                  </a:cubicBezTo>
                  <a:close/>
                  <a:moveTo>
                    <a:pt x="20" y="20"/>
                  </a:moveTo>
                  <a:cubicBezTo>
                    <a:pt x="22" y="18"/>
                    <a:pt x="24" y="17"/>
                    <a:pt x="27" y="17"/>
                  </a:cubicBezTo>
                  <a:cubicBezTo>
                    <a:pt x="30" y="17"/>
                    <a:pt x="32" y="18"/>
                    <a:pt x="34" y="20"/>
                  </a:cubicBezTo>
                  <a:cubicBezTo>
                    <a:pt x="39" y="24"/>
                    <a:pt x="39" y="31"/>
                    <a:pt x="34" y="35"/>
                  </a:cubicBezTo>
                  <a:cubicBezTo>
                    <a:pt x="30" y="39"/>
                    <a:pt x="24" y="39"/>
                    <a:pt x="20" y="35"/>
                  </a:cubicBezTo>
                  <a:cubicBezTo>
                    <a:pt x="15" y="31"/>
                    <a:pt x="15" y="24"/>
                    <a:pt x="20" y="20"/>
                  </a:cubicBezTo>
                  <a:close/>
                  <a:moveTo>
                    <a:pt x="27" y="173"/>
                  </a:moveTo>
                  <a:cubicBezTo>
                    <a:pt x="21" y="173"/>
                    <a:pt x="15" y="168"/>
                    <a:pt x="15" y="161"/>
                  </a:cubicBezTo>
                  <a:cubicBezTo>
                    <a:pt x="15" y="155"/>
                    <a:pt x="21" y="150"/>
                    <a:pt x="27" y="150"/>
                  </a:cubicBezTo>
                  <a:cubicBezTo>
                    <a:pt x="33" y="150"/>
                    <a:pt x="39" y="155"/>
                    <a:pt x="39" y="161"/>
                  </a:cubicBezTo>
                  <a:cubicBezTo>
                    <a:pt x="39" y="168"/>
                    <a:pt x="33" y="173"/>
                    <a:pt x="27"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47" name="Freeform 21">
              <a:extLst>
                <a:ext uri="{FF2B5EF4-FFF2-40B4-BE49-F238E27FC236}">
                  <a16:creationId xmlns:a16="http://schemas.microsoft.com/office/drawing/2014/main" id="{C38A09E2-C0FB-412B-9364-98F97309E678}"/>
                </a:ext>
              </a:extLst>
            </p:cNvPr>
            <p:cNvSpPr>
              <a:spLocks noEditPoints="1"/>
            </p:cNvSpPr>
            <p:nvPr/>
          </p:nvSpPr>
          <p:spPr bwMode="auto">
            <a:xfrm>
              <a:off x="6819901" y="5640388"/>
              <a:ext cx="200025" cy="307975"/>
            </a:xfrm>
            <a:custGeom>
              <a:avLst/>
              <a:gdLst>
                <a:gd name="T0" fmla="*/ 102 w 120"/>
                <a:gd name="T1" fmla="*/ 111 h 182"/>
                <a:gd name="T2" fmla="*/ 120 w 120"/>
                <a:gd name="T3" fmla="*/ 88 h 182"/>
                <a:gd name="T4" fmla="*/ 95 w 120"/>
                <a:gd name="T5" fmla="*/ 64 h 182"/>
                <a:gd name="T6" fmla="*/ 81 w 120"/>
                <a:gd name="T7" fmla="*/ 69 h 182"/>
                <a:gd name="T8" fmla="*/ 49 w 120"/>
                <a:gd name="T9" fmla="*/ 37 h 182"/>
                <a:gd name="T10" fmla="*/ 51 w 120"/>
                <a:gd name="T11" fmla="*/ 26 h 182"/>
                <a:gd name="T12" fmla="*/ 26 w 120"/>
                <a:gd name="T13" fmla="*/ 0 h 182"/>
                <a:gd name="T14" fmla="*/ 0 w 120"/>
                <a:gd name="T15" fmla="*/ 26 h 182"/>
                <a:gd name="T16" fmla="*/ 26 w 120"/>
                <a:gd name="T17" fmla="*/ 52 h 182"/>
                <a:gd name="T18" fmla="*/ 40 w 120"/>
                <a:gd name="T19" fmla="*/ 47 h 182"/>
                <a:gd name="T20" fmla="*/ 73 w 120"/>
                <a:gd name="T21" fmla="*/ 80 h 182"/>
                <a:gd name="T22" fmla="*/ 71 w 120"/>
                <a:gd name="T23" fmla="*/ 88 h 182"/>
                <a:gd name="T24" fmla="*/ 88 w 120"/>
                <a:gd name="T25" fmla="*/ 111 h 182"/>
                <a:gd name="T26" fmla="*/ 88 w 120"/>
                <a:gd name="T27" fmla="*/ 134 h 182"/>
                <a:gd name="T28" fmla="*/ 88 w 120"/>
                <a:gd name="T29" fmla="*/ 135 h 182"/>
                <a:gd name="T30" fmla="*/ 71 w 120"/>
                <a:gd name="T31" fmla="*/ 158 h 182"/>
                <a:gd name="T32" fmla="*/ 95 w 120"/>
                <a:gd name="T33" fmla="*/ 182 h 182"/>
                <a:gd name="T34" fmla="*/ 120 w 120"/>
                <a:gd name="T35" fmla="*/ 158 h 182"/>
                <a:gd name="T36" fmla="*/ 102 w 120"/>
                <a:gd name="T37" fmla="*/ 135 h 182"/>
                <a:gd name="T38" fmla="*/ 102 w 120"/>
                <a:gd name="T39" fmla="*/ 134 h 182"/>
                <a:gd name="T40" fmla="*/ 102 w 120"/>
                <a:gd name="T41" fmla="*/ 111 h 182"/>
                <a:gd name="T42" fmla="*/ 14 w 120"/>
                <a:gd name="T43" fmla="*/ 26 h 182"/>
                <a:gd name="T44" fmla="*/ 26 w 120"/>
                <a:gd name="T45" fmla="*/ 14 h 182"/>
                <a:gd name="T46" fmla="*/ 37 w 120"/>
                <a:gd name="T47" fmla="*/ 26 h 182"/>
                <a:gd name="T48" fmla="*/ 26 w 120"/>
                <a:gd name="T49" fmla="*/ 38 h 182"/>
                <a:gd name="T50" fmla="*/ 14 w 120"/>
                <a:gd name="T51" fmla="*/ 26 h 182"/>
                <a:gd name="T52" fmla="*/ 85 w 120"/>
                <a:gd name="T53" fmla="*/ 88 h 182"/>
                <a:gd name="T54" fmla="*/ 95 w 120"/>
                <a:gd name="T55" fmla="*/ 78 h 182"/>
                <a:gd name="T56" fmla="*/ 106 w 120"/>
                <a:gd name="T57" fmla="*/ 88 h 182"/>
                <a:gd name="T58" fmla="*/ 95 w 120"/>
                <a:gd name="T59" fmla="*/ 98 h 182"/>
                <a:gd name="T60" fmla="*/ 85 w 120"/>
                <a:gd name="T61" fmla="*/ 88 h 182"/>
                <a:gd name="T62" fmla="*/ 106 w 120"/>
                <a:gd name="T63" fmla="*/ 158 h 182"/>
                <a:gd name="T64" fmla="*/ 95 w 120"/>
                <a:gd name="T65" fmla="*/ 168 h 182"/>
                <a:gd name="T66" fmla="*/ 85 w 120"/>
                <a:gd name="T67" fmla="*/ 158 h 182"/>
                <a:gd name="T68" fmla="*/ 95 w 120"/>
                <a:gd name="T69" fmla="*/ 148 h 182"/>
                <a:gd name="T70" fmla="*/ 106 w 120"/>
                <a:gd name="T71" fmla="*/ 1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82">
                  <a:moveTo>
                    <a:pt x="102" y="111"/>
                  </a:moveTo>
                  <a:cubicBezTo>
                    <a:pt x="112" y="108"/>
                    <a:pt x="120" y="99"/>
                    <a:pt x="120" y="88"/>
                  </a:cubicBezTo>
                  <a:cubicBezTo>
                    <a:pt x="120" y="75"/>
                    <a:pt x="109" y="64"/>
                    <a:pt x="95" y="64"/>
                  </a:cubicBezTo>
                  <a:cubicBezTo>
                    <a:pt x="90" y="64"/>
                    <a:pt x="85" y="66"/>
                    <a:pt x="81" y="69"/>
                  </a:cubicBezTo>
                  <a:cubicBezTo>
                    <a:pt x="49" y="37"/>
                    <a:pt x="49" y="37"/>
                    <a:pt x="49" y="37"/>
                  </a:cubicBezTo>
                  <a:cubicBezTo>
                    <a:pt x="50" y="33"/>
                    <a:pt x="51" y="30"/>
                    <a:pt x="51" y="26"/>
                  </a:cubicBezTo>
                  <a:cubicBezTo>
                    <a:pt x="51" y="12"/>
                    <a:pt x="40" y="0"/>
                    <a:pt x="26" y="0"/>
                  </a:cubicBezTo>
                  <a:cubicBezTo>
                    <a:pt x="11" y="0"/>
                    <a:pt x="0" y="12"/>
                    <a:pt x="0" y="26"/>
                  </a:cubicBezTo>
                  <a:cubicBezTo>
                    <a:pt x="0" y="40"/>
                    <a:pt x="11" y="52"/>
                    <a:pt x="26" y="52"/>
                  </a:cubicBezTo>
                  <a:cubicBezTo>
                    <a:pt x="31" y="52"/>
                    <a:pt x="36" y="50"/>
                    <a:pt x="40" y="47"/>
                  </a:cubicBezTo>
                  <a:cubicBezTo>
                    <a:pt x="73" y="80"/>
                    <a:pt x="73" y="80"/>
                    <a:pt x="73" y="80"/>
                  </a:cubicBezTo>
                  <a:cubicBezTo>
                    <a:pt x="72" y="83"/>
                    <a:pt x="71" y="85"/>
                    <a:pt x="71" y="88"/>
                  </a:cubicBezTo>
                  <a:cubicBezTo>
                    <a:pt x="71" y="99"/>
                    <a:pt x="79" y="108"/>
                    <a:pt x="88" y="111"/>
                  </a:cubicBezTo>
                  <a:cubicBezTo>
                    <a:pt x="88" y="134"/>
                    <a:pt x="88" y="134"/>
                    <a:pt x="88" y="134"/>
                  </a:cubicBezTo>
                  <a:cubicBezTo>
                    <a:pt x="88" y="134"/>
                    <a:pt x="88" y="134"/>
                    <a:pt x="88" y="135"/>
                  </a:cubicBezTo>
                  <a:cubicBezTo>
                    <a:pt x="79" y="138"/>
                    <a:pt x="71" y="147"/>
                    <a:pt x="71" y="158"/>
                  </a:cubicBezTo>
                  <a:cubicBezTo>
                    <a:pt x="71" y="171"/>
                    <a:pt x="82" y="182"/>
                    <a:pt x="95" y="182"/>
                  </a:cubicBezTo>
                  <a:cubicBezTo>
                    <a:pt x="109" y="182"/>
                    <a:pt x="120" y="171"/>
                    <a:pt x="120" y="158"/>
                  </a:cubicBezTo>
                  <a:cubicBezTo>
                    <a:pt x="120" y="147"/>
                    <a:pt x="112" y="138"/>
                    <a:pt x="102" y="135"/>
                  </a:cubicBezTo>
                  <a:cubicBezTo>
                    <a:pt x="102" y="134"/>
                    <a:pt x="102" y="134"/>
                    <a:pt x="102" y="134"/>
                  </a:cubicBezTo>
                  <a:lnTo>
                    <a:pt x="102" y="111"/>
                  </a:lnTo>
                  <a:close/>
                  <a:moveTo>
                    <a:pt x="14" y="26"/>
                  </a:moveTo>
                  <a:cubicBezTo>
                    <a:pt x="14" y="20"/>
                    <a:pt x="19" y="14"/>
                    <a:pt x="26" y="14"/>
                  </a:cubicBezTo>
                  <a:cubicBezTo>
                    <a:pt x="32" y="14"/>
                    <a:pt x="37" y="20"/>
                    <a:pt x="37" y="26"/>
                  </a:cubicBezTo>
                  <a:cubicBezTo>
                    <a:pt x="37" y="32"/>
                    <a:pt x="32" y="38"/>
                    <a:pt x="26" y="38"/>
                  </a:cubicBezTo>
                  <a:cubicBezTo>
                    <a:pt x="19" y="38"/>
                    <a:pt x="14" y="32"/>
                    <a:pt x="14" y="26"/>
                  </a:cubicBezTo>
                  <a:close/>
                  <a:moveTo>
                    <a:pt x="85" y="88"/>
                  </a:moveTo>
                  <a:cubicBezTo>
                    <a:pt x="85" y="83"/>
                    <a:pt x="90" y="78"/>
                    <a:pt x="95" y="78"/>
                  </a:cubicBezTo>
                  <a:cubicBezTo>
                    <a:pt x="101" y="78"/>
                    <a:pt x="106" y="83"/>
                    <a:pt x="106" y="88"/>
                  </a:cubicBezTo>
                  <a:cubicBezTo>
                    <a:pt x="106" y="94"/>
                    <a:pt x="101" y="98"/>
                    <a:pt x="95" y="98"/>
                  </a:cubicBezTo>
                  <a:cubicBezTo>
                    <a:pt x="90" y="98"/>
                    <a:pt x="85" y="94"/>
                    <a:pt x="85" y="88"/>
                  </a:cubicBezTo>
                  <a:close/>
                  <a:moveTo>
                    <a:pt x="106" y="158"/>
                  </a:moveTo>
                  <a:cubicBezTo>
                    <a:pt x="106" y="163"/>
                    <a:pt x="101" y="168"/>
                    <a:pt x="95" y="168"/>
                  </a:cubicBezTo>
                  <a:cubicBezTo>
                    <a:pt x="90" y="168"/>
                    <a:pt x="85" y="163"/>
                    <a:pt x="85" y="158"/>
                  </a:cubicBezTo>
                  <a:cubicBezTo>
                    <a:pt x="85" y="152"/>
                    <a:pt x="90" y="148"/>
                    <a:pt x="95" y="148"/>
                  </a:cubicBezTo>
                  <a:cubicBezTo>
                    <a:pt x="101" y="148"/>
                    <a:pt x="106" y="152"/>
                    <a:pt x="106"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48" name="Freeform 22">
              <a:extLst>
                <a:ext uri="{FF2B5EF4-FFF2-40B4-BE49-F238E27FC236}">
                  <a16:creationId xmlns:a16="http://schemas.microsoft.com/office/drawing/2014/main" id="{9F1F21DA-747A-419B-A4A8-99602908FA5E}"/>
                </a:ext>
              </a:extLst>
            </p:cNvPr>
            <p:cNvSpPr>
              <a:spLocks noEditPoints="1"/>
            </p:cNvSpPr>
            <p:nvPr/>
          </p:nvSpPr>
          <p:spPr bwMode="auto">
            <a:xfrm>
              <a:off x="6311901" y="5667375"/>
              <a:ext cx="280988" cy="85725"/>
            </a:xfrm>
            <a:custGeom>
              <a:avLst/>
              <a:gdLst>
                <a:gd name="T0" fmla="*/ 51 w 169"/>
                <a:gd name="T1" fmla="*/ 33 h 51"/>
                <a:gd name="T2" fmla="*/ 122 w 169"/>
                <a:gd name="T3" fmla="*/ 33 h 51"/>
                <a:gd name="T4" fmla="*/ 145 w 169"/>
                <a:gd name="T5" fmla="*/ 50 h 51"/>
                <a:gd name="T6" fmla="*/ 169 w 169"/>
                <a:gd name="T7" fmla="*/ 26 h 51"/>
                <a:gd name="T8" fmla="*/ 145 w 169"/>
                <a:gd name="T9" fmla="*/ 2 h 51"/>
                <a:gd name="T10" fmla="*/ 122 w 169"/>
                <a:gd name="T11" fmla="*/ 19 h 51"/>
                <a:gd name="T12" fmla="*/ 51 w 169"/>
                <a:gd name="T13" fmla="*/ 19 h 51"/>
                <a:gd name="T14" fmla="*/ 26 w 169"/>
                <a:gd name="T15" fmla="*/ 0 h 51"/>
                <a:gd name="T16" fmla="*/ 0 w 169"/>
                <a:gd name="T17" fmla="*/ 26 h 51"/>
                <a:gd name="T18" fmla="*/ 26 w 169"/>
                <a:gd name="T19" fmla="*/ 51 h 51"/>
                <a:gd name="T20" fmla="*/ 51 w 169"/>
                <a:gd name="T21" fmla="*/ 33 h 51"/>
                <a:gd name="T22" fmla="*/ 145 w 169"/>
                <a:gd name="T23" fmla="*/ 16 h 51"/>
                <a:gd name="T24" fmla="*/ 155 w 169"/>
                <a:gd name="T25" fmla="*/ 26 h 51"/>
                <a:gd name="T26" fmla="*/ 145 w 169"/>
                <a:gd name="T27" fmla="*/ 36 h 51"/>
                <a:gd name="T28" fmla="*/ 135 w 169"/>
                <a:gd name="T29" fmla="*/ 26 h 51"/>
                <a:gd name="T30" fmla="*/ 145 w 169"/>
                <a:gd name="T31" fmla="*/ 16 h 51"/>
                <a:gd name="T32" fmla="*/ 26 w 169"/>
                <a:gd name="T33" fmla="*/ 37 h 51"/>
                <a:gd name="T34" fmla="*/ 14 w 169"/>
                <a:gd name="T35" fmla="*/ 26 h 51"/>
                <a:gd name="T36" fmla="*/ 26 w 169"/>
                <a:gd name="T37" fmla="*/ 14 h 51"/>
                <a:gd name="T38" fmla="*/ 38 w 169"/>
                <a:gd name="T39" fmla="*/ 26 h 51"/>
                <a:gd name="T40" fmla="*/ 26 w 169"/>
                <a:gd name="T41"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51">
                  <a:moveTo>
                    <a:pt x="51" y="33"/>
                  </a:moveTo>
                  <a:cubicBezTo>
                    <a:pt x="122" y="33"/>
                    <a:pt x="122" y="33"/>
                    <a:pt x="122" y="33"/>
                  </a:cubicBezTo>
                  <a:cubicBezTo>
                    <a:pt x="125" y="43"/>
                    <a:pt x="134" y="50"/>
                    <a:pt x="145" y="50"/>
                  </a:cubicBezTo>
                  <a:cubicBezTo>
                    <a:pt x="158" y="50"/>
                    <a:pt x="169" y="39"/>
                    <a:pt x="169" y="26"/>
                  </a:cubicBezTo>
                  <a:cubicBezTo>
                    <a:pt x="169" y="12"/>
                    <a:pt x="158" y="2"/>
                    <a:pt x="145" y="2"/>
                  </a:cubicBezTo>
                  <a:cubicBezTo>
                    <a:pt x="134" y="2"/>
                    <a:pt x="125" y="9"/>
                    <a:pt x="122" y="19"/>
                  </a:cubicBezTo>
                  <a:cubicBezTo>
                    <a:pt x="51" y="19"/>
                    <a:pt x="51" y="19"/>
                    <a:pt x="51" y="19"/>
                  </a:cubicBezTo>
                  <a:cubicBezTo>
                    <a:pt x="47" y="8"/>
                    <a:pt x="38" y="0"/>
                    <a:pt x="26" y="0"/>
                  </a:cubicBezTo>
                  <a:cubicBezTo>
                    <a:pt x="12" y="0"/>
                    <a:pt x="0" y="11"/>
                    <a:pt x="0" y="26"/>
                  </a:cubicBezTo>
                  <a:cubicBezTo>
                    <a:pt x="0" y="40"/>
                    <a:pt x="12" y="51"/>
                    <a:pt x="26" y="51"/>
                  </a:cubicBezTo>
                  <a:cubicBezTo>
                    <a:pt x="38" y="51"/>
                    <a:pt x="47" y="43"/>
                    <a:pt x="51" y="33"/>
                  </a:cubicBezTo>
                  <a:close/>
                  <a:moveTo>
                    <a:pt x="145" y="16"/>
                  </a:moveTo>
                  <a:cubicBezTo>
                    <a:pt x="150" y="16"/>
                    <a:pt x="155" y="20"/>
                    <a:pt x="155" y="26"/>
                  </a:cubicBezTo>
                  <a:cubicBezTo>
                    <a:pt x="155" y="31"/>
                    <a:pt x="150" y="36"/>
                    <a:pt x="145" y="36"/>
                  </a:cubicBezTo>
                  <a:cubicBezTo>
                    <a:pt x="139" y="36"/>
                    <a:pt x="135" y="31"/>
                    <a:pt x="135" y="26"/>
                  </a:cubicBezTo>
                  <a:cubicBezTo>
                    <a:pt x="135" y="20"/>
                    <a:pt x="139" y="16"/>
                    <a:pt x="145" y="16"/>
                  </a:cubicBezTo>
                  <a:close/>
                  <a:moveTo>
                    <a:pt x="26" y="37"/>
                  </a:moveTo>
                  <a:cubicBezTo>
                    <a:pt x="19" y="37"/>
                    <a:pt x="14" y="32"/>
                    <a:pt x="14" y="26"/>
                  </a:cubicBezTo>
                  <a:cubicBezTo>
                    <a:pt x="14" y="19"/>
                    <a:pt x="19" y="14"/>
                    <a:pt x="26" y="14"/>
                  </a:cubicBezTo>
                  <a:cubicBezTo>
                    <a:pt x="32" y="14"/>
                    <a:pt x="38" y="19"/>
                    <a:pt x="38" y="26"/>
                  </a:cubicBezTo>
                  <a:cubicBezTo>
                    <a:pt x="38" y="32"/>
                    <a:pt x="32" y="37"/>
                    <a:pt x="26"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49" name="Freeform 23">
              <a:extLst>
                <a:ext uri="{FF2B5EF4-FFF2-40B4-BE49-F238E27FC236}">
                  <a16:creationId xmlns:a16="http://schemas.microsoft.com/office/drawing/2014/main" id="{B42D024C-C976-4652-A9E7-8FF623DBC6A1}"/>
                </a:ext>
              </a:extLst>
            </p:cNvPr>
            <p:cNvSpPr>
              <a:spLocks noEditPoints="1"/>
            </p:cNvSpPr>
            <p:nvPr/>
          </p:nvSpPr>
          <p:spPr bwMode="auto">
            <a:xfrm>
              <a:off x="6337301" y="5487988"/>
              <a:ext cx="244475" cy="134937"/>
            </a:xfrm>
            <a:custGeom>
              <a:avLst/>
              <a:gdLst>
                <a:gd name="T0" fmla="*/ 27 w 147"/>
                <a:gd name="T1" fmla="*/ 80 h 80"/>
                <a:gd name="T2" fmla="*/ 44 w 147"/>
                <a:gd name="T3" fmla="*/ 73 h 80"/>
                <a:gd name="T4" fmla="*/ 48 w 147"/>
                <a:gd name="T5" fmla="*/ 45 h 80"/>
                <a:gd name="T6" fmla="*/ 76 w 147"/>
                <a:gd name="T7" fmla="*/ 14 h 80"/>
                <a:gd name="T8" fmla="*/ 86 w 147"/>
                <a:gd name="T9" fmla="*/ 14 h 80"/>
                <a:gd name="T10" fmla="*/ 98 w 147"/>
                <a:gd name="T11" fmla="*/ 27 h 80"/>
                <a:gd name="T12" fmla="*/ 103 w 147"/>
                <a:gd name="T13" fmla="*/ 54 h 80"/>
                <a:gd name="T14" fmla="*/ 120 w 147"/>
                <a:gd name="T15" fmla="*/ 61 h 80"/>
                <a:gd name="T16" fmla="*/ 137 w 147"/>
                <a:gd name="T17" fmla="*/ 54 h 80"/>
                <a:gd name="T18" fmla="*/ 137 w 147"/>
                <a:gd name="T19" fmla="*/ 20 h 80"/>
                <a:gd name="T20" fmla="*/ 137 w 147"/>
                <a:gd name="T21" fmla="*/ 20 h 80"/>
                <a:gd name="T22" fmla="*/ 108 w 147"/>
                <a:gd name="T23" fmla="*/ 16 h 80"/>
                <a:gd name="T24" fmla="*/ 92 w 147"/>
                <a:gd name="T25" fmla="*/ 0 h 80"/>
                <a:gd name="T26" fmla="*/ 69 w 147"/>
                <a:gd name="T27" fmla="*/ 0 h 80"/>
                <a:gd name="T28" fmla="*/ 38 w 147"/>
                <a:gd name="T29" fmla="*/ 35 h 80"/>
                <a:gd name="T30" fmla="*/ 10 w 147"/>
                <a:gd name="T31" fmla="*/ 39 h 80"/>
                <a:gd name="T32" fmla="*/ 10 w 147"/>
                <a:gd name="T33" fmla="*/ 73 h 80"/>
                <a:gd name="T34" fmla="*/ 27 w 147"/>
                <a:gd name="T35" fmla="*/ 80 h 80"/>
                <a:gd name="T36" fmla="*/ 127 w 147"/>
                <a:gd name="T37" fmla="*/ 30 h 80"/>
                <a:gd name="T38" fmla="*/ 127 w 147"/>
                <a:gd name="T39" fmla="*/ 44 h 80"/>
                <a:gd name="T40" fmla="*/ 113 w 147"/>
                <a:gd name="T41" fmla="*/ 44 h 80"/>
                <a:gd name="T42" fmla="*/ 111 w 147"/>
                <a:gd name="T43" fmla="*/ 32 h 80"/>
                <a:gd name="T44" fmla="*/ 113 w 147"/>
                <a:gd name="T45" fmla="*/ 31 h 80"/>
                <a:gd name="T46" fmla="*/ 114 w 147"/>
                <a:gd name="T47" fmla="*/ 28 h 80"/>
                <a:gd name="T48" fmla="*/ 120 w 147"/>
                <a:gd name="T49" fmla="*/ 27 h 80"/>
                <a:gd name="T50" fmla="*/ 127 w 147"/>
                <a:gd name="T51" fmla="*/ 30 h 80"/>
                <a:gd name="T52" fmla="*/ 20 w 147"/>
                <a:gd name="T53" fmla="*/ 49 h 80"/>
                <a:gd name="T54" fmla="*/ 27 w 147"/>
                <a:gd name="T55" fmla="*/ 46 h 80"/>
                <a:gd name="T56" fmla="*/ 34 w 147"/>
                <a:gd name="T57" fmla="*/ 49 h 80"/>
                <a:gd name="T58" fmla="*/ 34 w 147"/>
                <a:gd name="T59" fmla="*/ 63 h 80"/>
                <a:gd name="T60" fmla="*/ 20 w 147"/>
                <a:gd name="T61" fmla="*/ 63 h 80"/>
                <a:gd name="T62" fmla="*/ 20 w 147"/>
                <a:gd name="T63" fmla="*/ 4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7" h="80">
                  <a:moveTo>
                    <a:pt x="27" y="80"/>
                  </a:moveTo>
                  <a:cubicBezTo>
                    <a:pt x="33" y="80"/>
                    <a:pt x="39" y="78"/>
                    <a:pt x="44" y="73"/>
                  </a:cubicBezTo>
                  <a:cubicBezTo>
                    <a:pt x="51" y="65"/>
                    <a:pt x="53" y="54"/>
                    <a:pt x="48" y="45"/>
                  </a:cubicBezTo>
                  <a:cubicBezTo>
                    <a:pt x="76" y="14"/>
                    <a:pt x="76" y="14"/>
                    <a:pt x="76" y="14"/>
                  </a:cubicBezTo>
                  <a:cubicBezTo>
                    <a:pt x="86" y="14"/>
                    <a:pt x="86" y="14"/>
                    <a:pt x="86" y="14"/>
                  </a:cubicBezTo>
                  <a:cubicBezTo>
                    <a:pt x="98" y="27"/>
                    <a:pt x="98" y="27"/>
                    <a:pt x="98" y="27"/>
                  </a:cubicBezTo>
                  <a:cubicBezTo>
                    <a:pt x="94" y="35"/>
                    <a:pt x="96" y="46"/>
                    <a:pt x="103" y="54"/>
                  </a:cubicBezTo>
                  <a:cubicBezTo>
                    <a:pt x="108" y="58"/>
                    <a:pt x="114" y="61"/>
                    <a:pt x="120" y="61"/>
                  </a:cubicBezTo>
                  <a:cubicBezTo>
                    <a:pt x="126" y="61"/>
                    <a:pt x="132" y="58"/>
                    <a:pt x="137" y="54"/>
                  </a:cubicBezTo>
                  <a:cubicBezTo>
                    <a:pt x="147" y="44"/>
                    <a:pt x="147" y="29"/>
                    <a:pt x="137" y="20"/>
                  </a:cubicBezTo>
                  <a:cubicBezTo>
                    <a:pt x="137" y="20"/>
                    <a:pt x="137" y="20"/>
                    <a:pt x="137" y="20"/>
                  </a:cubicBezTo>
                  <a:cubicBezTo>
                    <a:pt x="129" y="12"/>
                    <a:pt x="117" y="11"/>
                    <a:pt x="108" y="16"/>
                  </a:cubicBezTo>
                  <a:cubicBezTo>
                    <a:pt x="92" y="0"/>
                    <a:pt x="92" y="0"/>
                    <a:pt x="92" y="0"/>
                  </a:cubicBezTo>
                  <a:cubicBezTo>
                    <a:pt x="69" y="0"/>
                    <a:pt x="69" y="0"/>
                    <a:pt x="69" y="0"/>
                  </a:cubicBezTo>
                  <a:cubicBezTo>
                    <a:pt x="38" y="35"/>
                    <a:pt x="38" y="35"/>
                    <a:pt x="38" y="35"/>
                  </a:cubicBezTo>
                  <a:cubicBezTo>
                    <a:pt x="29" y="30"/>
                    <a:pt x="17" y="31"/>
                    <a:pt x="10" y="39"/>
                  </a:cubicBezTo>
                  <a:cubicBezTo>
                    <a:pt x="0" y="48"/>
                    <a:pt x="0" y="64"/>
                    <a:pt x="10" y="73"/>
                  </a:cubicBezTo>
                  <a:cubicBezTo>
                    <a:pt x="14" y="78"/>
                    <a:pt x="21" y="80"/>
                    <a:pt x="27" y="80"/>
                  </a:cubicBezTo>
                  <a:close/>
                  <a:moveTo>
                    <a:pt x="127" y="30"/>
                  </a:moveTo>
                  <a:cubicBezTo>
                    <a:pt x="131" y="33"/>
                    <a:pt x="131" y="40"/>
                    <a:pt x="127" y="44"/>
                  </a:cubicBezTo>
                  <a:cubicBezTo>
                    <a:pt x="123" y="48"/>
                    <a:pt x="117" y="48"/>
                    <a:pt x="113" y="44"/>
                  </a:cubicBezTo>
                  <a:cubicBezTo>
                    <a:pt x="110" y="41"/>
                    <a:pt x="109" y="36"/>
                    <a:pt x="111" y="32"/>
                  </a:cubicBezTo>
                  <a:cubicBezTo>
                    <a:pt x="112" y="32"/>
                    <a:pt x="112" y="31"/>
                    <a:pt x="113" y="31"/>
                  </a:cubicBezTo>
                  <a:cubicBezTo>
                    <a:pt x="113" y="30"/>
                    <a:pt x="114" y="29"/>
                    <a:pt x="114" y="28"/>
                  </a:cubicBezTo>
                  <a:cubicBezTo>
                    <a:pt x="116" y="27"/>
                    <a:pt x="118" y="27"/>
                    <a:pt x="120" y="27"/>
                  </a:cubicBezTo>
                  <a:cubicBezTo>
                    <a:pt x="123" y="27"/>
                    <a:pt x="125" y="28"/>
                    <a:pt x="127" y="30"/>
                  </a:cubicBezTo>
                  <a:close/>
                  <a:moveTo>
                    <a:pt x="20" y="49"/>
                  </a:moveTo>
                  <a:cubicBezTo>
                    <a:pt x="22" y="47"/>
                    <a:pt x="24" y="46"/>
                    <a:pt x="27" y="46"/>
                  </a:cubicBezTo>
                  <a:cubicBezTo>
                    <a:pt x="29" y="46"/>
                    <a:pt x="32" y="47"/>
                    <a:pt x="34" y="49"/>
                  </a:cubicBezTo>
                  <a:cubicBezTo>
                    <a:pt x="38" y="53"/>
                    <a:pt x="38" y="59"/>
                    <a:pt x="34" y="63"/>
                  </a:cubicBezTo>
                  <a:cubicBezTo>
                    <a:pt x="30" y="67"/>
                    <a:pt x="23" y="67"/>
                    <a:pt x="20" y="63"/>
                  </a:cubicBezTo>
                  <a:cubicBezTo>
                    <a:pt x="16" y="59"/>
                    <a:pt x="16" y="53"/>
                    <a:pt x="20"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50" name="Freeform 24">
              <a:extLst>
                <a:ext uri="{FF2B5EF4-FFF2-40B4-BE49-F238E27FC236}">
                  <a16:creationId xmlns:a16="http://schemas.microsoft.com/office/drawing/2014/main" id="{512EBDD3-9C26-48CC-8975-54898FEC1A0B}"/>
                </a:ext>
              </a:extLst>
            </p:cNvPr>
            <p:cNvSpPr>
              <a:spLocks noEditPoints="1"/>
            </p:cNvSpPr>
            <p:nvPr/>
          </p:nvSpPr>
          <p:spPr bwMode="auto">
            <a:xfrm>
              <a:off x="6815138" y="5505450"/>
              <a:ext cx="204788" cy="198437"/>
            </a:xfrm>
            <a:custGeom>
              <a:avLst/>
              <a:gdLst>
                <a:gd name="T0" fmla="*/ 25 w 123"/>
                <a:gd name="T1" fmla="*/ 49 h 118"/>
                <a:gd name="T2" fmla="*/ 48 w 123"/>
                <a:gd name="T3" fmla="*/ 32 h 118"/>
                <a:gd name="T4" fmla="*/ 79 w 123"/>
                <a:gd name="T5" fmla="*/ 32 h 118"/>
                <a:gd name="T6" fmla="*/ 93 w 123"/>
                <a:gd name="T7" fmla="*/ 46 h 118"/>
                <a:gd name="T8" fmla="*/ 93 w 123"/>
                <a:gd name="T9" fmla="*/ 69 h 118"/>
                <a:gd name="T10" fmla="*/ 74 w 123"/>
                <a:gd name="T11" fmla="*/ 93 h 118"/>
                <a:gd name="T12" fmla="*/ 98 w 123"/>
                <a:gd name="T13" fmla="*/ 118 h 118"/>
                <a:gd name="T14" fmla="*/ 123 w 123"/>
                <a:gd name="T15" fmla="*/ 93 h 118"/>
                <a:gd name="T16" fmla="*/ 107 w 123"/>
                <a:gd name="T17" fmla="*/ 70 h 118"/>
                <a:gd name="T18" fmla="*/ 107 w 123"/>
                <a:gd name="T19" fmla="*/ 40 h 118"/>
                <a:gd name="T20" fmla="*/ 85 w 123"/>
                <a:gd name="T21" fmla="*/ 18 h 118"/>
                <a:gd name="T22" fmla="*/ 48 w 123"/>
                <a:gd name="T23" fmla="*/ 18 h 118"/>
                <a:gd name="T24" fmla="*/ 25 w 123"/>
                <a:gd name="T25" fmla="*/ 0 h 118"/>
                <a:gd name="T26" fmla="*/ 0 w 123"/>
                <a:gd name="T27" fmla="*/ 25 h 118"/>
                <a:gd name="T28" fmla="*/ 25 w 123"/>
                <a:gd name="T29" fmla="*/ 49 h 118"/>
                <a:gd name="T30" fmla="*/ 98 w 123"/>
                <a:gd name="T31" fmla="*/ 104 h 118"/>
                <a:gd name="T32" fmla="*/ 88 w 123"/>
                <a:gd name="T33" fmla="*/ 93 h 118"/>
                <a:gd name="T34" fmla="*/ 98 w 123"/>
                <a:gd name="T35" fmla="*/ 83 h 118"/>
                <a:gd name="T36" fmla="*/ 109 w 123"/>
                <a:gd name="T37" fmla="*/ 93 h 118"/>
                <a:gd name="T38" fmla="*/ 98 w 123"/>
                <a:gd name="T39" fmla="*/ 104 h 118"/>
                <a:gd name="T40" fmla="*/ 25 w 123"/>
                <a:gd name="T41" fmla="*/ 14 h 118"/>
                <a:gd name="T42" fmla="*/ 35 w 123"/>
                <a:gd name="T43" fmla="*/ 25 h 118"/>
                <a:gd name="T44" fmla="*/ 25 w 123"/>
                <a:gd name="T45" fmla="*/ 35 h 118"/>
                <a:gd name="T46" fmla="*/ 14 w 123"/>
                <a:gd name="T47" fmla="*/ 25 h 118"/>
                <a:gd name="T48" fmla="*/ 25 w 123"/>
                <a:gd name="T49" fmla="*/ 1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 h="118">
                  <a:moveTo>
                    <a:pt x="25" y="49"/>
                  </a:moveTo>
                  <a:cubicBezTo>
                    <a:pt x="36" y="49"/>
                    <a:pt x="45" y="42"/>
                    <a:pt x="48" y="32"/>
                  </a:cubicBezTo>
                  <a:cubicBezTo>
                    <a:pt x="79" y="32"/>
                    <a:pt x="79" y="32"/>
                    <a:pt x="79" y="32"/>
                  </a:cubicBezTo>
                  <a:cubicBezTo>
                    <a:pt x="93" y="46"/>
                    <a:pt x="93" y="46"/>
                    <a:pt x="93" y="46"/>
                  </a:cubicBezTo>
                  <a:cubicBezTo>
                    <a:pt x="93" y="69"/>
                    <a:pt x="93" y="69"/>
                    <a:pt x="93" y="69"/>
                  </a:cubicBezTo>
                  <a:cubicBezTo>
                    <a:pt x="82" y="72"/>
                    <a:pt x="74" y="82"/>
                    <a:pt x="74" y="93"/>
                  </a:cubicBezTo>
                  <a:cubicBezTo>
                    <a:pt x="74" y="107"/>
                    <a:pt x="85" y="118"/>
                    <a:pt x="98" y="118"/>
                  </a:cubicBezTo>
                  <a:cubicBezTo>
                    <a:pt x="112" y="118"/>
                    <a:pt x="123" y="107"/>
                    <a:pt x="123" y="93"/>
                  </a:cubicBezTo>
                  <a:cubicBezTo>
                    <a:pt x="123" y="83"/>
                    <a:pt x="116" y="74"/>
                    <a:pt x="107" y="70"/>
                  </a:cubicBezTo>
                  <a:cubicBezTo>
                    <a:pt x="107" y="40"/>
                    <a:pt x="107" y="40"/>
                    <a:pt x="107" y="40"/>
                  </a:cubicBezTo>
                  <a:cubicBezTo>
                    <a:pt x="85" y="18"/>
                    <a:pt x="85" y="18"/>
                    <a:pt x="85" y="18"/>
                  </a:cubicBezTo>
                  <a:cubicBezTo>
                    <a:pt x="48" y="18"/>
                    <a:pt x="48" y="18"/>
                    <a:pt x="48" y="18"/>
                  </a:cubicBezTo>
                  <a:cubicBezTo>
                    <a:pt x="45" y="7"/>
                    <a:pt x="36" y="0"/>
                    <a:pt x="25" y="0"/>
                  </a:cubicBezTo>
                  <a:cubicBezTo>
                    <a:pt x="11" y="0"/>
                    <a:pt x="0" y="11"/>
                    <a:pt x="0" y="25"/>
                  </a:cubicBezTo>
                  <a:cubicBezTo>
                    <a:pt x="0" y="38"/>
                    <a:pt x="11" y="49"/>
                    <a:pt x="25" y="49"/>
                  </a:cubicBezTo>
                  <a:close/>
                  <a:moveTo>
                    <a:pt x="98" y="104"/>
                  </a:moveTo>
                  <a:cubicBezTo>
                    <a:pt x="93" y="104"/>
                    <a:pt x="88" y="99"/>
                    <a:pt x="88" y="93"/>
                  </a:cubicBezTo>
                  <a:cubicBezTo>
                    <a:pt x="88" y="87"/>
                    <a:pt x="93" y="83"/>
                    <a:pt x="98" y="83"/>
                  </a:cubicBezTo>
                  <a:cubicBezTo>
                    <a:pt x="104" y="83"/>
                    <a:pt x="109" y="87"/>
                    <a:pt x="109" y="93"/>
                  </a:cubicBezTo>
                  <a:cubicBezTo>
                    <a:pt x="109" y="99"/>
                    <a:pt x="104" y="104"/>
                    <a:pt x="98" y="104"/>
                  </a:cubicBezTo>
                  <a:close/>
                  <a:moveTo>
                    <a:pt x="25" y="14"/>
                  </a:moveTo>
                  <a:cubicBezTo>
                    <a:pt x="30" y="14"/>
                    <a:pt x="35" y="19"/>
                    <a:pt x="35" y="25"/>
                  </a:cubicBezTo>
                  <a:cubicBezTo>
                    <a:pt x="35" y="30"/>
                    <a:pt x="30" y="35"/>
                    <a:pt x="25" y="35"/>
                  </a:cubicBezTo>
                  <a:cubicBezTo>
                    <a:pt x="19" y="35"/>
                    <a:pt x="14" y="30"/>
                    <a:pt x="14" y="25"/>
                  </a:cubicBezTo>
                  <a:cubicBezTo>
                    <a:pt x="14" y="19"/>
                    <a:pt x="19" y="14"/>
                    <a:pt x="2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51" name="Freeform 25">
              <a:extLst>
                <a:ext uri="{FF2B5EF4-FFF2-40B4-BE49-F238E27FC236}">
                  <a16:creationId xmlns:a16="http://schemas.microsoft.com/office/drawing/2014/main" id="{AF17B83E-0DA4-40AC-A03F-86E709414EB2}"/>
                </a:ext>
              </a:extLst>
            </p:cNvPr>
            <p:cNvSpPr>
              <a:spLocks noEditPoints="1"/>
            </p:cNvSpPr>
            <p:nvPr/>
          </p:nvSpPr>
          <p:spPr bwMode="auto">
            <a:xfrm>
              <a:off x="6564313" y="5437188"/>
              <a:ext cx="244475" cy="377825"/>
            </a:xfrm>
            <a:custGeom>
              <a:avLst/>
              <a:gdLst>
                <a:gd name="T0" fmla="*/ 129 w 146"/>
                <a:gd name="T1" fmla="*/ 175 h 223"/>
                <a:gd name="T2" fmla="*/ 129 w 146"/>
                <a:gd name="T3" fmla="*/ 48 h 223"/>
                <a:gd name="T4" fmla="*/ 146 w 146"/>
                <a:gd name="T5" fmla="*/ 25 h 223"/>
                <a:gd name="T6" fmla="*/ 122 w 146"/>
                <a:gd name="T7" fmla="*/ 1 h 223"/>
                <a:gd name="T8" fmla="*/ 98 w 146"/>
                <a:gd name="T9" fmla="*/ 21 h 223"/>
                <a:gd name="T10" fmla="*/ 51 w 146"/>
                <a:gd name="T11" fmla="*/ 21 h 223"/>
                <a:gd name="T12" fmla="*/ 41 w 146"/>
                <a:gd name="T13" fmla="*/ 6 h 223"/>
                <a:gd name="T14" fmla="*/ 23 w 146"/>
                <a:gd name="T15" fmla="*/ 1 h 223"/>
                <a:gd name="T16" fmla="*/ 2 w 146"/>
                <a:gd name="T17" fmla="*/ 29 h 223"/>
                <a:gd name="T18" fmla="*/ 12 w 146"/>
                <a:gd name="T19" fmla="*/ 45 h 223"/>
                <a:gd name="T20" fmla="*/ 27 w 146"/>
                <a:gd name="T21" fmla="*/ 50 h 223"/>
                <a:gd name="T22" fmla="*/ 30 w 146"/>
                <a:gd name="T23" fmla="*/ 50 h 223"/>
                <a:gd name="T24" fmla="*/ 49 w 146"/>
                <a:gd name="T25" fmla="*/ 35 h 223"/>
                <a:gd name="T26" fmla="*/ 100 w 146"/>
                <a:gd name="T27" fmla="*/ 35 h 223"/>
                <a:gd name="T28" fmla="*/ 115 w 146"/>
                <a:gd name="T29" fmla="*/ 48 h 223"/>
                <a:gd name="T30" fmla="*/ 115 w 146"/>
                <a:gd name="T31" fmla="*/ 175 h 223"/>
                <a:gd name="T32" fmla="*/ 97 w 146"/>
                <a:gd name="T33" fmla="*/ 198 h 223"/>
                <a:gd name="T34" fmla="*/ 122 w 146"/>
                <a:gd name="T35" fmla="*/ 223 h 223"/>
                <a:gd name="T36" fmla="*/ 146 w 146"/>
                <a:gd name="T37" fmla="*/ 198 h 223"/>
                <a:gd name="T38" fmla="*/ 129 w 146"/>
                <a:gd name="T39" fmla="*/ 175 h 223"/>
                <a:gd name="T40" fmla="*/ 28 w 146"/>
                <a:gd name="T41" fmla="*/ 36 h 223"/>
                <a:gd name="T42" fmla="*/ 16 w 146"/>
                <a:gd name="T43" fmla="*/ 27 h 223"/>
                <a:gd name="T44" fmla="*/ 25 w 146"/>
                <a:gd name="T45" fmla="*/ 15 h 223"/>
                <a:gd name="T46" fmla="*/ 33 w 146"/>
                <a:gd name="T47" fmla="*/ 17 h 223"/>
                <a:gd name="T48" fmla="*/ 37 w 146"/>
                <a:gd name="T49" fmla="*/ 24 h 223"/>
                <a:gd name="T50" fmla="*/ 28 w 146"/>
                <a:gd name="T51" fmla="*/ 36 h 223"/>
                <a:gd name="T52" fmla="*/ 112 w 146"/>
                <a:gd name="T53" fmla="*/ 25 h 223"/>
                <a:gd name="T54" fmla="*/ 122 w 146"/>
                <a:gd name="T55" fmla="*/ 15 h 223"/>
                <a:gd name="T56" fmla="*/ 132 w 146"/>
                <a:gd name="T57" fmla="*/ 25 h 223"/>
                <a:gd name="T58" fmla="*/ 122 w 146"/>
                <a:gd name="T59" fmla="*/ 35 h 223"/>
                <a:gd name="T60" fmla="*/ 122 w 146"/>
                <a:gd name="T61" fmla="*/ 35 h 223"/>
                <a:gd name="T62" fmla="*/ 122 w 146"/>
                <a:gd name="T63" fmla="*/ 35 h 223"/>
                <a:gd name="T64" fmla="*/ 112 w 146"/>
                <a:gd name="T65" fmla="*/ 25 h 223"/>
                <a:gd name="T66" fmla="*/ 122 w 146"/>
                <a:gd name="T67" fmla="*/ 209 h 223"/>
                <a:gd name="T68" fmla="*/ 111 w 146"/>
                <a:gd name="T69" fmla="*/ 198 h 223"/>
                <a:gd name="T70" fmla="*/ 122 w 146"/>
                <a:gd name="T71" fmla="*/ 188 h 223"/>
                <a:gd name="T72" fmla="*/ 132 w 146"/>
                <a:gd name="T73" fmla="*/ 198 h 223"/>
                <a:gd name="T74" fmla="*/ 122 w 146"/>
                <a:gd name="T75" fmla="*/ 20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 h="223">
                  <a:moveTo>
                    <a:pt x="129" y="175"/>
                  </a:moveTo>
                  <a:cubicBezTo>
                    <a:pt x="129" y="48"/>
                    <a:pt x="129" y="48"/>
                    <a:pt x="129" y="48"/>
                  </a:cubicBezTo>
                  <a:cubicBezTo>
                    <a:pt x="139" y="45"/>
                    <a:pt x="146" y="36"/>
                    <a:pt x="146" y="25"/>
                  </a:cubicBezTo>
                  <a:cubicBezTo>
                    <a:pt x="146" y="12"/>
                    <a:pt x="135" y="1"/>
                    <a:pt x="122" y="1"/>
                  </a:cubicBezTo>
                  <a:cubicBezTo>
                    <a:pt x="110" y="1"/>
                    <a:pt x="100" y="10"/>
                    <a:pt x="98" y="21"/>
                  </a:cubicBezTo>
                  <a:cubicBezTo>
                    <a:pt x="51" y="21"/>
                    <a:pt x="51" y="21"/>
                    <a:pt x="51" y="21"/>
                  </a:cubicBezTo>
                  <a:cubicBezTo>
                    <a:pt x="50" y="15"/>
                    <a:pt x="46" y="9"/>
                    <a:pt x="41" y="6"/>
                  </a:cubicBezTo>
                  <a:cubicBezTo>
                    <a:pt x="36" y="2"/>
                    <a:pt x="30" y="0"/>
                    <a:pt x="23" y="1"/>
                  </a:cubicBezTo>
                  <a:cubicBezTo>
                    <a:pt x="10" y="3"/>
                    <a:pt x="0" y="15"/>
                    <a:pt x="2" y="29"/>
                  </a:cubicBezTo>
                  <a:cubicBezTo>
                    <a:pt x="3" y="35"/>
                    <a:pt x="7" y="41"/>
                    <a:pt x="12" y="45"/>
                  </a:cubicBezTo>
                  <a:cubicBezTo>
                    <a:pt x="16" y="48"/>
                    <a:pt x="21" y="50"/>
                    <a:pt x="27" y="50"/>
                  </a:cubicBezTo>
                  <a:cubicBezTo>
                    <a:pt x="28" y="50"/>
                    <a:pt x="29" y="50"/>
                    <a:pt x="30" y="50"/>
                  </a:cubicBezTo>
                  <a:cubicBezTo>
                    <a:pt x="39" y="48"/>
                    <a:pt x="46" y="42"/>
                    <a:pt x="49" y="35"/>
                  </a:cubicBezTo>
                  <a:cubicBezTo>
                    <a:pt x="100" y="35"/>
                    <a:pt x="100" y="35"/>
                    <a:pt x="100" y="35"/>
                  </a:cubicBezTo>
                  <a:cubicBezTo>
                    <a:pt x="102" y="41"/>
                    <a:pt x="108" y="46"/>
                    <a:pt x="115" y="48"/>
                  </a:cubicBezTo>
                  <a:cubicBezTo>
                    <a:pt x="115" y="175"/>
                    <a:pt x="115" y="175"/>
                    <a:pt x="115" y="175"/>
                  </a:cubicBezTo>
                  <a:cubicBezTo>
                    <a:pt x="105" y="178"/>
                    <a:pt x="97" y="187"/>
                    <a:pt x="97" y="198"/>
                  </a:cubicBezTo>
                  <a:cubicBezTo>
                    <a:pt x="97" y="212"/>
                    <a:pt x="108" y="223"/>
                    <a:pt x="122" y="223"/>
                  </a:cubicBezTo>
                  <a:cubicBezTo>
                    <a:pt x="135" y="223"/>
                    <a:pt x="146" y="212"/>
                    <a:pt x="146" y="198"/>
                  </a:cubicBezTo>
                  <a:cubicBezTo>
                    <a:pt x="146" y="187"/>
                    <a:pt x="139" y="178"/>
                    <a:pt x="129" y="175"/>
                  </a:cubicBezTo>
                  <a:close/>
                  <a:moveTo>
                    <a:pt x="28" y="36"/>
                  </a:moveTo>
                  <a:cubicBezTo>
                    <a:pt x="22" y="37"/>
                    <a:pt x="17" y="33"/>
                    <a:pt x="16" y="27"/>
                  </a:cubicBezTo>
                  <a:cubicBezTo>
                    <a:pt x="15" y="21"/>
                    <a:pt x="19" y="16"/>
                    <a:pt x="25" y="15"/>
                  </a:cubicBezTo>
                  <a:cubicBezTo>
                    <a:pt x="28" y="14"/>
                    <a:pt x="31" y="15"/>
                    <a:pt x="33" y="17"/>
                  </a:cubicBezTo>
                  <a:cubicBezTo>
                    <a:pt x="35" y="19"/>
                    <a:pt x="37" y="21"/>
                    <a:pt x="37" y="24"/>
                  </a:cubicBezTo>
                  <a:cubicBezTo>
                    <a:pt x="38" y="30"/>
                    <a:pt x="34" y="35"/>
                    <a:pt x="28" y="36"/>
                  </a:cubicBezTo>
                  <a:close/>
                  <a:moveTo>
                    <a:pt x="112" y="25"/>
                  </a:moveTo>
                  <a:cubicBezTo>
                    <a:pt x="112" y="20"/>
                    <a:pt x="116" y="15"/>
                    <a:pt x="122" y="15"/>
                  </a:cubicBezTo>
                  <a:cubicBezTo>
                    <a:pt x="127" y="15"/>
                    <a:pt x="132" y="20"/>
                    <a:pt x="132" y="25"/>
                  </a:cubicBezTo>
                  <a:cubicBezTo>
                    <a:pt x="132" y="31"/>
                    <a:pt x="127" y="35"/>
                    <a:pt x="122" y="35"/>
                  </a:cubicBezTo>
                  <a:cubicBezTo>
                    <a:pt x="122" y="35"/>
                    <a:pt x="122" y="35"/>
                    <a:pt x="122" y="35"/>
                  </a:cubicBezTo>
                  <a:cubicBezTo>
                    <a:pt x="122" y="35"/>
                    <a:pt x="122" y="35"/>
                    <a:pt x="122" y="35"/>
                  </a:cubicBezTo>
                  <a:cubicBezTo>
                    <a:pt x="116" y="35"/>
                    <a:pt x="112" y="31"/>
                    <a:pt x="112" y="25"/>
                  </a:cubicBezTo>
                  <a:close/>
                  <a:moveTo>
                    <a:pt x="122" y="209"/>
                  </a:moveTo>
                  <a:cubicBezTo>
                    <a:pt x="116" y="209"/>
                    <a:pt x="111" y="204"/>
                    <a:pt x="111" y="198"/>
                  </a:cubicBezTo>
                  <a:cubicBezTo>
                    <a:pt x="111" y="192"/>
                    <a:pt x="116" y="188"/>
                    <a:pt x="122" y="188"/>
                  </a:cubicBezTo>
                  <a:cubicBezTo>
                    <a:pt x="128" y="188"/>
                    <a:pt x="132" y="192"/>
                    <a:pt x="132" y="198"/>
                  </a:cubicBezTo>
                  <a:cubicBezTo>
                    <a:pt x="132" y="204"/>
                    <a:pt x="128" y="209"/>
                    <a:pt x="122" y="2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52" name="Freeform 26">
              <a:extLst>
                <a:ext uri="{FF2B5EF4-FFF2-40B4-BE49-F238E27FC236}">
                  <a16:creationId xmlns:a16="http://schemas.microsoft.com/office/drawing/2014/main" id="{7A313D89-8C68-4999-B194-F0DB0AA5CB12}"/>
                </a:ext>
              </a:extLst>
            </p:cNvPr>
            <p:cNvSpPr>
              <a:spLocks noEditPoints="1"/>
            </p:cNvSpPr>
            <p:nvPr/>
          </p:nvSpPr>
          <p:spPr bwMode="auto">
            <a:xfrm>
              <a:off x="6380163" y="5794375"/>
              <a:ext cx="288925" cy="128587"/>
            </a:xfrm>
            <a:custGeom>
              <a:avLst/>
              <a:gdLst>
                <a:gd name="T0" fmla="*/ 166 w 173"/>
                <a:gd name="T1" fmla="*/ 62 h 76"/>
                <a:gd name="T2" fmla="*/ 70 w 173"/>
                <a:gd name="T3" fmla="*/ 62 h 76"/>
                <a:gd name="T4" fmla="*/ 48 w 173"/>
                <a:gd name="T5" fmla="*/ 40 h 76"/>
                <a:gd name="T6" fmla="*/ 44 w 173"/>
                <a:gd name="T7" fmla="*/ 9 h 76"/>
                <a:gd name="T8" fmla="*/ 10 w 173"/>
                <a:gd name="T9" fmla="*/ 9 h 76"/>
                <a:gd name="T10" fmla="*/ 10 w 173"/>
                <a:gd name="T11" fmla="*/ 44 h 76"/>
                <a:gd name="T12" fmla="*/ 27 w 173"/>
                <a:gd name="T13" fmla="*/ 51 h 76"/>
                <a:gd name="T14" fmla="*/ 37 w 173"/>
                <a:gd name="T15" fmla="*/ 49 h 76"/>
                <a:gd name="T16" fmla="*/ 37 w 173"/>
                <a:gd name="T17" fmla="*/ 49 h 76"/>
                <a:gd name="T18" fmla="*/ 65 w 173"/>
                <a:gd name="T19" fmla="*/ 76 h 76"/>
                <a:gd name="T20" fmla="*/ 166 w 173"/>
                <a:gd name="T21" fmla="*/ 76 h 76"/>
                <a:gd name="T22" fmla="*/ 173 w 173"/>
                <a:gd name="T23" fmla="*/ 69 h 76"/>
                <a:gd name="T24" fmla="*/ 166 w 173"/>
                <a:gd name="T25" fmla="*/ 62 h 76"/>
                <a:gd name="T26" fmla="*/ 20 w 173"/>
                <a:gd name="T27" fmla="*/ 34 h 76"/>
                <a:gd name="T28" fmla="*/ 20 w 173"/>
                <a:gd name="T29" fmla="*/ 19 h 76"/>
                <a:gd name="T30" fmla="*/ 27 w 173"/>
                <a:gd name="T31" fmla="*/ 16 h 76"/>
                <a:gd name="T32" fmla="*/ 35 w 173"/>
                <a:gd name="T33" fmla="*/ 19 h 76"/>
                <a:gd name="T34" fmla="*/ 35 w 173"/>
                <a:gd name="T35" fmla="*/ 34 h 76"/>
                <a:gd name="T36" fmla="*/ 20 w 173"/>
                <a:gd name="T37"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3" h="76">
                  <a:moveTo>
                    <a:pt x="166" y="62"/>
                  </a:moveTo>
                  <a:cubicBezTo>
                    <a:pt x="70" y="62"/>
                    <a:pt x="70" y="62"/>
                    <a:pt x="70" y="62"/>
                  </a:cubicBezTo>
                  <a:cubicBezTo>
                    <a:pt x="48" y="40"/>
                    <a:pt x="48" y="40"/>
                    <a:pt x="48" y="40"/>
                  </a:cubicBezTo>
                  <a:cubicBezTo>
                    <a:pt x="54" y="30"/>
                    <a:pt x="53" y="18"/>
                    <a:pt x="44" y="9"/>
                  </a:cubicBezTo>
                  <a:cubicBezTo>
                    <a:pt x="35" y="0"/>
                    <a:pt x="19" y="0"/>
                    <a:pt x="10" y="9"/>
                  </a:cubicBezTo>
                  <a:cubicBezTo>
                    <a:pt x="0" y="19"/>
                    <a:pt x="0" y="35"/>
                    <a:pt x="10" y="44"/>
                  </a:cubicBezTo>
                  <a:cubicBezTo>
                    <a:pt x="15" y="49"/>
                    <a:pt x="21" y="51"/>
                    <a:pt x="27" y="51"/>
                  </a:cubicBezTo>
                  <a:cubicBezTo>
                    <a:pt x="31" y="51"/>
                    <a:pt x="34" y="50"/>
                    <a:pt x="37" y="49"/>
                  </a:cubicBezTo>
                  <a:cubicBezTo>
                    <a:pt x="37" y="49"/>
                    <a:pt x="37" y="49"/>
                    <a:pt x="37" y="49"/>
                  </a:cubicBezTo>
                  <a:cubicBezTo>
                    <a:pt x="65" y="76"/>
                    <a:pt x="65" y="76"/>
                    <a:pt x="65" y="76"/>
                  </a:cubicBezTo>
                  <a:cubicBezTo>
                    <a:pt x="166" y="76"/>
                    <a:pt x="166" y="76"/>
                    <a:pt x="166" y="76"/>
                  </a:cubicBezTo>
                  <a:cubicBezTo>
                    <a:pt x="170" y="76"/>
                    <a:pt x="173" y="73"/>
                    <a:pt x="173" y="69"/>
                  </a:cubicBezTo>
                  <a:cubicBezTo>
                    <a:pt x="173" y="66"/>
                    <a:pt x="170" y="62"/>
                    <a:pt x="166" y="62"/>
                  </a:cubicBezTo>
                  <a:close/>
                  <a:moveTo>
                    <a:pt x="20" y="34"/>
                  </a:moveTo>
                  <a:cubicBezTo>
                    <a:pt x="16" y="30"/>
                    <a:pt x="16" y="23"/>
                    <a:pt x="20" y="19"/>
                  </a:cubicBezTo>
                  <a:cubicBezTo>
                    <a:pt x="22" y="17"/>
                    <a:pt x="24" y="16"/>
                    <a:pt x="27" y="16"/>
                  </a:cubicBezTo>
                  <a:cubicBezTo>
                    <a:pt x="30" y="16"/>
                    <a:pt x="33" y="17"/>
                    <a:pt x="35" y="19"/>
                  </a:cubicBezTo>
                  <a:cubicBezTo>
                    <a:pt x="39" y="23"/>
                    <a:pt x="39" y="30"/>
                    <a:pt x="35" y="34"/>
                  </a:cubicBezTo>
                  <a:cubicBezTo>
                    <a:pt x="30" y="38"/>
                    <a:pt x="24" y="38"/>
                    <a:pt x="2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grpSp>
      <p:grpSp>
        <p:nvGrpSpPr>
          <p:cNvPr id="5" name="Group 4">
            <a:extLst>
              <a:ext uri="{FF2B5EF4-FFF2-40B4-BE49-F238E27FC236}">
                <a16:creationId xmlns:a16="http://schemas.microsoft.com/office/drawing/2014/main" id="{CCECA350-6C06-49E4-A85C-780F7421B022}"/>
              </a:ext>
            </a:extLst>
          </p:cNvPr>
          <p:cNvGrpSpPr/>
          <p:nvPr/>
        </p:nvGrpSpPr>
        <p:grpSpPr>
          <a:xfrm>
            <a:off x="6640668" y="1608336"/>
            <a:ext cx="837896" cy="837896"/>
            <a:chOff x="6640668" y="1608336"/>
            <a:chExt cx="837896" cy="837896"/>
          </a:xfrm>
        </p:grpSpPr>
        <p:sp>
          <p:nvSpPr>
            <p:cNvPr id="177" name="Oval 176">
              <a:extLst>
                <a:ext uri="{FF2B5EF4-FFF2-40B4-BE49-F238E27FC236}">
                  <a16:creationId xmlns:a16="http://schemas.microsoft.com/office/drawing/2014/main" id="{F386266E-4CD0-43CD-A420-6EA1FC3A8E89}"/>
                </a:ext>
              </a:extLst>
            </p:cNvPr>
            <p:cNvSpPr/>
            <p:nvPr/>
          </p:nvSpPr>
          <p:spPr bwMode="auto">
            <a:xfrm>
              <a:off x="6640668" y="1608336"/>
              <a:ext cx="837896" cy="837896"/>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54" name="Group 53">
              <a:extLst>
                <a:ext uri="{FF2B5EF4-FFF2-40B4-BE49-F238E27FC236}">
                  <a16:creationId xmlns:a16="http://schemas.microsoft.com/office/drawing/2014/main" id="{3A528678-7BD0-4E68-A56E-DE315563257E}"/>
                </a:ext>
              </a:extLst>
            </p:cNvPr>
            <p:cNvGrpSpPr/>
            <p:nvPr/>
          </p:nvGrpSpPr>
          <p:grpSpPr>
            <a:xfrm>
              <a:off x="6805248" y="1823443"/>
              <a:ext cx="508736" cy="407682"/>
              <a:chOff x="7518401" y="7858125"/>
              <a:chExt cx="463550" cy="371475"/>
            </a:xfrm>
          </p:grpSpPr>
          <p:sp>
            <p:nvSpPr>
              <p:cNvPr id="55" name="Freeform 5">
                <a:extLst>
                  <a:ext uri="{FF2B5EF4-FFF2-40B4-BE49-F238E27FC236}">
                    <a16:creationId xmlns:a16="http://schemas.microsoft.com/office/drawing/2014/main" id="{7F1D0759-81A9-4D19-B29C-D8A1B8DD5430}"/>
                  </a:ext>
                </a:extLst>
              </p:cNvPr>
              <p:cNvSpPr>
                <a:spLocks/>
              </p:cNvSpPr>
              <p:nvPr/>
            </p:nvSpPr>
            <p:spPr bwMode="auto">
              <a:xfrm>
                <a:off x="7856538" y="7869238"/>
                <a:ext cx="125413" cy="130175"/>
              </a:xfrm>
              <a:custGeom>
                <a:avLst/>
                <a:gdLst>
                  <a:gd name="T0" fmla="*/ 0 w 160"/>
                  <a:gd name="T1" fmla="*/ 0 h 161"/>
                  <a:gd name="T2" fmla="*/ 160 w 160"/>
                  <a:gd name="T3" fmla="*/ 161 h 161"/>
                </a:gdLst>
                <a:ahLst/>
                <a:cxnLst>
                  <a:cxn ang="0">
                    <a:pos x="T0" y="T1"/>
                  </a:cxn>
                  <a:cxn ang="0">
                    <a:pos x="T2" y="T3"/>
                  </a:cxn>
                </a:cxnLst>
                <a:rect l="0" t="0" r="r" b="b"/>
                <a:pathLst>
                  <a:path w="160" h="161">
                    <a:moveTo>
                      <a:pt x="0" y="0"/>
                    </a:moveTo>
                    <a:cubicBezTo>
                      <a:pt x="88" y="0"/>
                      <a:pt x="160" y="72"/>
                      <a:pt x="160" y="161"/>
                    </a:cubicBezTo>
                  </a:path>
                </a:pathLst>
              </a:custGeom>
              <a:noFill/>
              <a:ln w="1905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56" name="Freeform 6">
                <a:extLst>
                  <a:ext uri="{FF2B5EF4-FFF2-40B4-BE49-F238E27FC236}">
                    <a16:creationId xmlns:a16="http://schemas.microsoft.com/office/drawing/2014/main" id="{4A3DBD34-FAC0-4A2F-9714-CAD555B502FF}"/>
                  </a:ext>
                </a:extLst>
              </p:cNvPr>
              <p:cNvSpPr>
                <a:spLocks/>
              </p:cNvSpPr>
              <p:nvPr/>
            </p:nvSpPr>
            <p:spPr bwMode="auto">
              <a:xfrm>
                <a:off x="7856538" y="7905750"/>
                <a:ext cx="92075" cy="93663"/>
              </a:xfrm>
              <a:custGeom>
                <a:avLst/>
                <a:gdLst>
                  <a:gd name="T0" fmla="*/ 0 w 116"/>
                  <a:gd name="T1" fmla="*/ 0 h 116"/>
                  <a:gd name="T2" fmla="*/ 116 w 116"/>
                  <a:gd name="T3" fmla="*/ 116 h 116"/>
                </a:gdLst>
                <a:ahLst/>
                <a:cxnLst>
                  <a:cxn ang="0">
                    <a:pos x="T0" y="T1"/>
                  </a:cxn>
                  <a:cxn ang="0">
                    <a:pos x="T2" y="T3"/>
                  </a:cxn>
                </a:cxnLst>
                <a:rect l="0" t="0" r="r" b="b"/>
                <a:pathLst>
                  <a:path w="116" h="116">
                    <a:moveTo>
                      <a:pt x="0" y="0"/>
                    </a:moveTo>
                    <a:cubicBezTo>
                      <a:pt x="64" y="0"/>
                      <a:pt x="116" y="52"/>
                      <a:pt x="116" y="116"/>
                    </a:cubicBezTo>
                  </a:path>
                </a:pathLst>
              </a:custGeom>
              <a:noFill/>
              <a:ln w="1905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57" name="Freeform 7">
                <a:extLst>
                  <a:ext uri="{FF2B5EF4-FFF2-40B4-BE49-F238E27FC236}">
                    <a16:creationId xmlns:a16="http://schemas.microsoft.com/office/drawing/2014/main" id="{74004F84-1BCE-461A-9EAF-A193A9488A3C}"/>
                  </a:ext>
                </a:extLst>
              </p:cNvPr>
              <p:cNvSpPr>
                <a:spLocks/>
              </p:cNvSpPr>
              <p:nvPr/>
            </p:nvSpPr>
            <p:spPr bwMode="auto">
              <a:xfrm>
                <a:off x="7856538" y="7943850"/>
                <a:ext cx="53975" cy="55563"/>
              </a:xfrm>
              <a:custGeom>
                <a:avLst/>
                <a:gdLst>
                  <a:gd name="T0" fmla="*/ 0 w 68"/>
                  <a:gd name="T1" fmla="*/ 0 h 68"/>
                  <a:gd name="T2" fmla="*/ 68 w 68"/>
                  <a:gd name="T3" fmla="*/ 68 h 68"/>
                </a:gdLst>
                <a:ahLst/>
                <a:cxnLst>
                  <a:cxn ang="0">
                    <a:pos x="T0" y="T1"/>
                  </a:cxn>
                  <a:cxn ang="0">
                    <a:pos x="T2" y="T3"/>
                  </a:cxn>
                </a:cxnLst>
                <a:rect l="0" t="0" r="r" b="b"/>
                <a:pathLst>
                  <a:path w="68" h="68">
                    <a:moveTo>
                      <a:pt x="0" y="0"/>
                    </a:moveTo>
                    <a:cubicBezTo>
                      <a:pt x="37" y="0"/>
                      <a:pt x="68" y="30"/>
                      <a:pt x="68" y="68"/>
                    </a:cubicBezTo>
                  </a:path>
                </a:pathLst>
              </a:custGeom>
              <a:noFill/>
              <a:ln w="1905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58" name="Line 8">
                <a:extLst>
                  <a:ext uri="{FF2B5EF4-FFF2-40B4-BE49-F238E27FC236}">
                    <a16:creationId xmlns:a16="http://schemas.microsoft.com/office/drawing/2014/main" id="{322C7F43-2E10-41AF-A94F-ADDE997309C4}"/>
                  </a:ext>
                </a:extLst>
              </p:cNvPr>
              <p:cNvSpPr>
                <a:spLocks noChangeShapeType="1"/>
              </p:cNvSpPr>
              <p:nvPr/>
            </p:nvSpPr>
            <p:spPr bwMode="auto">
              <a:xfrm flipH="1">
                <a:off x="7689851" y="8081963"/>
                <a:ext cx="65088" cy="71438"/>
              </a:xfrm>
              <a:prstGeom prst="line">
                <a:avLst/>
              </a:prstGeom>
              <a:noFill/>
              <a:ln w="19050" cap="flat">
                <a:solidFill>
                  <a:schemeClr val="bg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59" name="Line 9">
                <a:extLst>
                  <a:ext uri="{FF2B5EF4-FFF2-40B4-BE49-F238E27FC236}">
                    <a16:creationId xmlns:a16="http://schemas.microsoft.com/office/drawing/2014/main" id="{294BA9DE-84DE-465A-953E-DEB6CDDA8D35}"/>
                  </a:ext>
                </a:extLst>
              </p:cNvPr>
              <p:cNvSpPr>
                <a:spLocks noChangeShapeType="1"/>
              </p:cNvSpPr>
              <p:nvPr/>
            </p:nvSpPr>
            <p:spPr bwMode="auto">
              <a:xfrm flipH="1">
                <a:off x="7604126" y="8054975"/>
                <a:ext cx="133350" cy="34925"/>
              </a:xfrm>
              <a:prstGeom prst="line">
                <a:avLst/>
              </a:prstGeom>
              <a:noFill/>
              <a:ln w="19050" cap="flat">
                <a:solidFill>
                  <a:schemeClr val="bg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60" name="Line 10">
                <a:extLst>
                  <a:ext uri="{FF2B5EF4-FFF2-40B4-BE49-F238E27FC236}">
                    <a16:creationId xmlns:a16="http://schemas.microsoft.com/office/drawing/2014/main" id="{A7CC8B71-2EE2-4A9B-BB96-D915F7345B9A}"/>
                  </a:ext>
                </a:extLst>
              </p:cNvPr>
              <p:cNvSpPr>
                <a:spLocks noChangeShapeType="1"/>
              </p:cNvSpPr>
              <p:nvPr/>
            </p:nvSpPr>
            <p:spPr bwMode="auto">
              <a:xfrm flipH="1" flipV="1">
                <a:off x="7653338" y="7924800"/>
                <a:ext cx="95250" cy="77788"/>
              </a:xfrm>
              <a:prstGeom prst="line">
                <a:avLst/>
              </a:prstGeom>
              <a:noFill/>
              <a:ln w="19050" cap="flat">
                <a:solidFill>
                  <a:schemeClr val="bg1">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61" name="Oval 11">
                <a:extLst>
                  <a:ext uri="{FF2B5EF4-FFF2-40B4-BE49-F238E27FC236}">
                    <a16:creationId xmlns:a16="http://schemas.microsoft.com/office/drawing/2014/main" id="{1C6368FB-4494-4594-84A0-B3B567531319}"/>
                  </a:ext>
                </a:extLst>
              </p:cNvPr>
              <p:cNvSpPr>
                <a:spLocks noChangeArrowheads="1"/>
              </p:cNvSpPr>
              <p:nvPr/>
            </p:nvSpPr>
            <p:spPr bwMode="auto">
              <a:xfrm>
                <a:off x="7615238" y="8140700"/>
                <a:ext cx="87313" cy="88900"/>
              </a:xfrm>
              <a:prstGeom prst="ellipse">
                <a:avLst/>
              </a:prstGeom>
              <a:noFill/>
              <a:ln w="1905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62" name="Oval 12">
                <a:extLst>
                  <a:ext uri="{FF2B5EF4-FFF2-40B4-BE49-F238E27FC236}">
                    <a16:creationId xmlns:a16="http://schemas.microsoft.com/office/drawing/2014/main" id="{70B89B69-06D7-4666-ABFD-D1BBC2256811}"/>
                  </a:ext>
                </a:extLst>
              </p:cNvPr>
              <p:cNvSpPr>
                <a:spLocks noChangeArrowheads="1"/>
              </p:cNvSpPr>
              <p:nvPr/>
            </p:nvSpPr>
            <p:spPr bwMode="auto">
              <a:xfrm>
                <a:off x="7573963" y="7858125"/>
                <a:ext cx="87313" cy="88900"/>
              </a:xfrm>
              <a:prstGeom prst="ellipse">
                <a:avLst/>
              </a:prstGeom>
              <a:noFill/>
              <a:ln w="1905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82" name="Oval 13">
                <a:extLst>
                  <a:ext uri="{FF2B5EF4-FFF2-40B4-BE49-F238E27FC236}">
                    <a16:creationId xmlns:a16="http://schemas.microsoft.com/office/drawing/2014/main" id="{DB8590EC-3C2B-4851-87B6-84BD23FF5FC2}"/>
                  </a:ext>
                </a:extLst>
              </p:cNvPr>
              <p:cNvSpPr>
                <a:spLocks noChangeArrowheads="1"/>
              </p:cNvSpPr>
              <p:nvPr/>
            </p:nvSpPr>
            <p:spPr bwMode="auto">
              <a:xfrm>
                <a:off x="7737476" y="7978775"/>
                <a:ext cx="119063" cy="120650"/>
              </a:xfrm>
              <a:prstGeom prst="ellipse">
                <a:avLst/>
              </a:prstGeom>
              <a:noFill/>
              <a:ln w="1905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83" name="Oval 14">
                <a:extLst>
                  <a:ext uri="{FF2B5EF4-FFF2-40B4-BE49-F238E27FC236}">
                    <a16:creationId xmlns:a16="http://schemas.microsoft.com/office/drawing/2014/main" id="{C3353012-4048-4363-89A7-B9280AF739EE}"/>
                  </a:ext>
                </a:extLst>
              </p:cNvPr>
              <p:cNvSpPr>
                <a:spLocks noChangeArrowheads="1"/>
              </p:cNvSpPr>
              <p:nvPr/>
            </p:nvSpPr>
            <p:spPr bwMode="auto">
              <a:xfrm>
                <a:off x="7518401" y="8058150"/>
                <a:ext cx="87313" cy="88900"/>
              </a:xfrm>
              <a:prstGeom prst="ellipse">
                <a:avLst/>
              </a:prstGeom>
              <a:noFill/>
              <a:ln w="19050"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grpSp>
      </p:grpSp>
      <p:grpSp>
        <p:nvGrpSpPr>
          <p:cNvPr id="16" name="Group 15">
            <a:extLst>
              <a:ext uri="{FF2B5EF4-FFF2-40B4-BE49-F238E27FC236}">
                <a16:creationId xmlns:a16="http://schemas.microsoft.com/office/drawing/2014/main" id="{63D33651-2E9F-4191-B385-4CAD643B5730}"/>
              </a:ext>
            </a:extLst>
          </p:cNvPr>
          <p:cNvGrpSpPr/>
          <p:nvPr/>
        </p:nvGrpSpPr>
        <p:grpSpPr>
          <a:xfrm>
            <a:off x="4799818" y="1608336"/>
            <a:ext cx="837896" cy="837896"/>
            <a:chOff x="4479046" y="939355"/>
            <a:chExt cx="1106374" cy="1106374"/>
          </a:xfrm>
        </p:grpSpPr>
        <p:sp>
          <p:nvSpPr>
            <p:cNvPr id="176" name="Oval 175">
              <a:extLst>
                <a:ext uri="{FF2B5EF4-FFF2-40B4-BE49-F238E27FC236}">
                  <a16:creationId xmlns:a16="http://schemas.microsoft.com/office/drawing/2014/main" id="{F5809820-C5BB-406D-962C-C3BAAED25746}"/>
                </a:ext>
              </a:extLst>
            </p:cNvPr>
            <p:cNvSpPr/>
            <p:nvPr/>
          </p:nvSpPr>
          <p:spPr bwMode="auto">
            <a:xfrm>
              <a:off x="4479046" y="939355"/>
              <a:ext cx="1106374" cy="1106374"/>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85" name="Group 19">
              <a:extLst>
                <a:ext uri="{FF2B5EF4-FFF2-40B4-BE49-F238E27FC236}">
                  <a16:creationId xmlns:a16="http://schemas.microsoft.com/office/drawing/2014/main" id="{D6033E04-D216-43CB-84BF-12E983090A0D}"/>
                </a:ext>
              </a:extLst>
            </p:cNvPr>
            <p:cNvGrpSpPr>
              <a:grpSpLocks noChangeAspect="1"/>
            </p:cNvGrpSpPr>
            <p:nvPr/>
          </p:nvGrpSpPr>
          <p:grpSpPr bwMode="auto">
            <a:xfrm>
              <a:off x="4681086" y="1273241"/>
              <a:ext cx="702294" cy="438603"/>
              <a:chOff x="3836" y="2144"/>
              <a:chExt cx="530" cy="331"/>
            </a:xfrm>
          </p:grpSpPr>
          <p:sp>
            <p:nvSpPr>
              <p:cNvPr id="86" name="Freeform 20">
                <a:extLst>
                  <a:ext uri="{FF2B5EF4-FFF2-40B4-BE49-F238E27FC236}">
                    <a16:creationId xmlns:a16="http://schemas.microsoft.com/office/drawing/2014/main" id="{FF4CC983-1CEE-4661-B94C-77F92B876DF6}"/>
                  </a:ext>
                </a:extLst>
              </p:cNvPr>
              <p:cNvSpPr>
                <a:spLocks/>
              </p:cNvSpPr>
              <p:nvPr/>
            </p:nvSpPr>
            <p:spPr bwMode="auto">
              <a:xfrm>
                <a:off x="3836" y="2216"/>
                <a:ext cx="530" cy="83"/>
              </a:xfrm>
              <a:custGeom>
                <a:avLst/>
                <a:gdLst>
                  <a:gd name="T0" fmla="*/ 237 w 238"/>
                  <a:gd name="T1" fmla="*/ 0 h 37"/>
                  <a:gd name="T2" fmla="*/ 120 w 238"/>
                  <a:gd name="T3" fmla="*/ 32 h 37"/>
                  <a:gd name="T4" fmla="*/ 0 w 238"/>
                  <a:gd name="T5" fmla="*/ 18 h 37"/>
                </a:gdLst>
                <a:ahLst/>
                <a:cxnLst>
                  <a:cxn ang="0">
                    <a:pos x="T0" y="T1"/>
                  </a:cxn>
                  <a:cxn ang="0">
                    <a:pos x="T2" y="T3"/>
                  </a:cxn>
                  <a:cxn ang="0">
                    <a:pos x="T4" y="T5"/>
                  </a:cxn>
                </a:cxnLst>
                <a:rect l="0" t="0" r="r" b="b"/>
                <a:pathLst>
                  <a:path w="238" h="37">
                    <a:moveTo>
                      <a:pt x="237" y="0"/>
                    </a:moveTo>
                    <a:cubicBezTo>
                      <a:pt x="238" y="11"/>
                      <a:pt x="185" y="27"/>
                      <a:pt x="120" y="32"/>
                    </a:cubicBezTo>
                    <a:cubicBezTo>
                      <a:pt x="55" y="37"/>
                      <a:pt x="1" y="30"/>
                      <a:pt x="0" y="18"/>
                    </a:cubicBezTo>
                  </a:path>
                </a:pathLst>
              </a:custGeom>
              <a:noFill/>
              <a:ln w="2222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87" name="Freeform 21">
                <a:extLst>
                  <a:ext uri="{FF2B5EF4-FFF2-40B4-BE49-F238E27FC236}">
                    <a16:creationId xmlns:a16="http://schemas.microsoft.com/office/drawing/2014/main" id="{3C4CB675-4257-4EC1-9CC6-FD101E2D2DFA}"/>
                  </a:ext>
                </a:extLst>
              </p:cNvPr>
              <p:cNvSpPr>
                <a:spLocks/>
              </p:cNvSpPr>
              <p:nvPr/>
            </p:nvSpPr>
            <p:spPr bwMode="auto">
              <a:xfrm>
                <a:off x="3836" y="2144"/>
                <a:ext cx="527" cy="331"/>
              </a:xfrm>
              <a:custGeom>
                <a:avLst/>
                <a:gdLst>
                  <a:gd name="T0" fmla="*/ 35 w 237"/>
                  <a:gd name="T1" fmla="*/ 63 h 147"/>
                  <a:gd name="T2" fmla="*/ 168 w 237"/>
                  <a:gd name="T3" fmla="*/ 46 h 147"/>
                  <a:gd name="T4" fmla="*/ 186 w 237"/>
                  <a:gd name="T5" fmla="*/ 39 h 147"/>
                  <a:gd name="T6" fmla="*/ 187 w 237"/>
                  <a:gd name="T7" fmla="*/ 18 h 147"/>
                  <a:gd name="T8" fmla="*/ 165 w 237"/>
                  <a:gd name="T9" fmla="*/ 8 h 147"/>
                  <a:gd name="T10" fmla="*/ 0 w 237"/>
                  <a:gd name="T11" fmla="*/ 50 h 147"/>
                  <a:gd name="T12" fmla="*/ 0 w 237"/>
                  <a:gd name="T13" fmla="*/ 58 h 147"/>
                  <a:gd name="T14" fmla="*/ 0 w 237"/>
                  <a:gd name="T15" fmla="*/ 58 h 147"/>
                  <a:gd name="T16" fmla="*/ 45 w 237"/>
                  <a:gd name="T17" fmla="*/ 140 h 147"/>
                  <a:gd name="T18" fmla="*/ 50 w 237"/>
                  <a:gd name="T19" fmla="*/ 135 h 147"/>
                  <a:gd name="T20" fmla="*/ 63 w 237"/>
                  <a:gd name="T21" fmla="*/ 140 h 147"/>
                  <a:gd name="T22" fmla="*/ 101 w 237"/>
                  <a:gd name="T23" fmla="*/ 141 h 147"/>
                  <a:gd name="T24" fmla="*/ 129 w 237"/>
                  <a:gd name="T25" fmla="*/ 128 h 147"/>
                  <a:gd name="T26" fmla="*/ 135 w 237"/>
                  <a:gd name="T27" fmla="*/ 105 h 147"/>
                  <a:gd name="T28" fmla="*/ 237 w 237"/>
                  <a:gd name="T29" fmla="*/ 71 h 147"/>
                  <a:gd name="T30" fmla="*/ 237 w 237"/>
                  <a:gd name="T31" fmla="*/ 32 h 147"/>
                  <a:gd name="T32" fmla="*/ 224 w 237"/>
                  <a:gd name="T33" fmla="*/ 20 h 147"/>
                  <a:gd name="T34" fmla="*/ 209 w 237"/>
                  <a:gd name="T35" fmla="*/ 24 h 147"/>
                  <a:gd name="T36" fmla="*/ 209 w 237"/>
                  <a:gd name="T37" fmla="*/ 4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7" h="147">
                    <a:moveTo>
                      <a:pt x="35" y="63"/>
                    </a:moveTo>
                    <a:cubicBezTo>
                      <a:pt x="100" y="34"/>
                      <a:pt x="168" y="46"/>
                      <a:pt x="168" y="46"/>
                    </a:cubicBezTo>
                    <a:cubicBezTo>
                      <a:pt x="184" y="47"/>
                      <a:pt x="186" y="39"/>
                      <a:pt x="186" y="39"/>
                    </a:cubicBezTo>
                    <a:cubicBezTo>
                      <a:pt x="187" y="18"/>
                      <a:pt x="187" y="18"/>
                      <a:pt x="187" y="18"/>
                    </a:cubicBezTo>
                    <a:cubicBezTo>
                      <a:pt x="186" y="4"/>
                      <a:pt x="165" y="8"/>
                      <a:pt x="165" y="8"/>
                    </a:cubicBezTo>
                    <a:cubicBezTo>
                      <a:pt x="28" y="0"/>
                      <a:pt x="0" y="50"/>
                      <a:pt x="0" y="50"/>
                    </a:cubicBezTo>
                    <a:cubicBezTo>
                      <a:pt x="0" y="53"/>
                      <a:pt x="0" y="56"/>
                      <a:pt x="0" y="58"/>
                    </a:cubicBezTo>
                    <a:cubicBezTo>
                      <a:pt x="0" y="58"/>
                      <a:pt x="0" y="58"/>
                      <a:pt x="0" y="58"/>
                    </a:cubicBezTo>
                    <a:cubicBezTo>
                      <a:pt x="0" y="58"/>
                      <a:pt x="5" y="121"/>
                      <a:pt x="45" y="140"/>
                    </a:cubicBezTo>
                    <a:cubicBezTo>
                      <a:pt x="47" y="140"/>
                      <a:pt x="49" y="136"/>
                      <a:pt x="50" y="135"/>
                    </a:cubicBezTo>
                    <a:cubicBezTo>
                      <a:pt x="53" y="134"/>
                      <a:pt x="56" y="133"/>
                      <a:pt x="63" y="140"/>
                    </a:cubicBezTo>
                    <a:cubicBezTo>
                      <a:pt x="63" y="140"/>
                      <a:pt x="71" y="147"/>
                      <a:pt x="101" y="141"/>
                    </a:cubicBezTo>
                    <a:cubicBezTo>
                      <a:pt x="101" y="141"/>
                      <a:pt x="120" y="138"/>
                      <a:pt x="129" y="128"/>
                    </a:cubicBezTo>
                    <a:cubicBezTo>
                      <a:pt x="129" y="128"/>
                      <a:pt x="135" y="125"/>
                      <a:pt x="135" y="105"/>
                    </a:cubicBezTo>
                    <a:cubicBezTo>
                      <a:pt x="135" y="105"/>
                      <a:pt x="219" y="93"/>
                      <a:pt x="237" y="71"/>
                    </a:cubicBezTo>
                    <a:cubicBezTo>
                      <a:pt x="237" y="32"/>
                      <a:pt x="237" y="32"/>
                      <a:pt x="237" y="32"/>
                    </a:cubicBezTo>
                    <a:cubicBezTo>
                      <a:pt x="224" y="20"/>
                      <a:pt x="224" y="20"/>
                      <a:pt x="224" y="20"/>
                    </a:cubicBezTo>
                    <a:cubicBezTo>
                      <a:pt x="209" y="24"/>
                      <a:pt x="209" y="24"/>
                      <a:pt x="209" y="24"/>
                    </a:cubicBezTo>
                    <a:cubicBezTo>
                      <a:pt x="209" y="48"/>
                      <a:pt x="209" y="48"/>
                      <a:pt x="209" y="48"/>
                    </a:cubicBezTo>
                  </a:path>
                </a:pathLst>
              </a:custGeom>
              <a:noFill/>
              <a:ln w="22225" cap="flat">
                <a:solidFill>
                  <a:schemeClr val="bg1">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grpSp>
      </p:grpSp>
      <p:grpSp>
        <p:nvGrpSpPr>
          <p:cNvPr id="13" name="Group 12">
            <a:extLst>
              <a:ext uri="{FF2B5EF4-FFF2-40B4-BE49-F238E27FC236}">
                <a16:creationId xmlns:a16="http://schemas.microsoft.com/office/drawing/2014/main" id="{99248AD0-0026-4EA5-9B07-55FB300EBF2A}"/>
              </a:ext>
            </a:extLst>
          </p:cNvPr>
          <p:cNvGrpSpPr/>
          <p:nvPr/>
        </p:nvGrpSpPr>
        <p:grpSpPr>
          <a:xfrm>
            <a:off x="8972743" y="2124025"/>
            <a:ext cx="837896" cy="837896"/>
            <a:chOff x="9596175" y="1656921"/>
            <a:chExt cx="1106374" cy="1106374"/>
          </a:xfrm>
        </p:grpSpPr>
        <p:sp>
          <p:nvSpPr>
            <p:cNvPr id="178" name="Oval 177">
              <a:extLst>
                <a:ext uri="{FF2B5EF4-FFF2-40B4-BE49-F238E27FC236}">
                  <a16:creationId xmlns:a16="http://schemas.microsoft.com/office/drawing/2014/main" id="{87348B30-50B4-44F3-BE79-B0FF7C0A3A54}"/>
                </a:ext>
              </a:extLst>
            </p:cNvPr>
            <p:cNvSpPr/>
            <p:nvPr/>
          </p:nvSpPr>
          <p:spPr bwMode="auto">
            <a:xfrm>
              <a:off x="9596175" y="1656921"/>
              <a:ext cx="1106374" cy="1106374"/>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7">
              <a:extLst>
                <a:ext uri="{FF2B5EF4-FFF2-40B4-BE49-F238E27FC236}">
                  <a16:creationId xmlns:a16="http://schemas.microsoft.com/office/drawing/2014/main" id="{623DAE47-0C96-4B4B-A504-950B0FEF7CD7}"/>
                </a:ext>
              </a:extLst>
            </p:cNvPr>
            <p:cNvGrpSpPr>
              <a:grpSpLocks noChangeAspect="1"/>
            </p:cNvGrpSpPr>
            <p:nvPr/>
          </p:nvGrpSpPr>
          <p:grpSpPr bwMode="auto">
            <a:xfrm>
              <a:off x="9759093" y="1830037"/>
              <a:ext cx="780538" cy="760142"/>
              <a:chOff x="3815" y="1890"/>
              <a:chExt cx="421" cy="410"/>
            </a:xfrm>
            <a:solidFill>
              <a:schemeClr val="bg1">
                <a:lumMod val="75000"/>
              </a:schemeClr>
            </a:solidFill>
          </p:grpSpPr>
          <p:sp>
            <p:nvSpPr>
              <p:cNvPr id="32" name="Freeform 28">
                <a:extLst>
                  <a:ext uri="{FF2B5EF4-FFF2-40B4-BE49-F238E27FC236}">
                    <a16:creationId xmlns:a16="http://schemas.microsoft.com/office/drawing/2014/main" id="{16EC7991-B63D-4EE2-B535-42AEE8A71AF0}"/>
                  </a:ext>
                </a:extLst>
              </p:cNvPr>
              <p:cNvSpPr>
                <a:spLocks/>
              </p:cNvSpPr>
              <p:nvPr/>
            </p:nvSpPr>
            <p:spPr bwMode="auto">
              <a:xfrm>
                <a:off x="3935" y="1945"/>
                <a:ext cx="96" cy="309"/>
              </a:xfrm>
              <a:custGeom>
                <a:avLst/>
                <a:gdLst>
                  <a:gd name="T0" fmla="*/ 61 w 64"/>
                  <a:gd name="T1" fmla="*/ 206 h 206"/>
                  <a:gd name="T2" fmla="*/ 60 w 64"/>
                  <a:gd name="T3" fmla="*/ 205 h 206"/>
                  <a:gd name="T4" fmla="*/ 0 w 64"/>
                  <a:gd name="T5" fmla="*/ 103 h 206"/>
                  <a:gd name="T6" fmla="*/ 60 w 64"/>
                  <a:gd name="T7" fmla="*/ 1 h 206"/>
                  <a:gd name="T8" fmla="*/ 64 w 64"/>
                  <a:gd name="T9" fmla="*/ 2 h 206"/>
                  <a:gd name="T10" fmla="*/ 63 w 64"/>
                  <a:gd name="T11" fmla="*/ 6 h 206"/>
                  <a:gd name="T12" fmla="*/ 6 w 64"/>
                  <a:gd name="T13" fmla="*/ 103 h 206"/>
                  <a:gd name="T14" fmla="*/ 63 w 64"/>
                  <a:gd name="T15" fmla="*/ 200 h 206"/>
                  <a:gd name="T16" fmla="*/ 64 w 64"/>
                  <a:gd name="T17" fmla="*/ 204 h 206"/>
                  <a:gd name="T18" fmla="*/ 61 w 64"/>
                  <a:gd name="T19"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206">
                    <a:moveTo>
                      <a:pt x="61" y="206"/>
                    </a:moveTo>
                    <a:cubicBezTo>
                      <a:pt x="61" y="206"/>
                      <a:pt x="60" y="206"/>
                      <a:pt x="60" y="205"/>
                    </a:cubicBezTo>
                    <a:cubicBezTo>
                      <a:pt x="23" y="185"/>
                      <a:pt x="0" y="145"/>
                      <a:pt x="0" y="103"/>
                    </a:cubicBezTo>
                    <a:cubicBezTo>
                      <a:pt x="0" y="61"/>
                      <a:pt x="23" y="22"/>
                      <a:pt x="60" y="1"/>
                    </a:cubicBezTo>
                    <a:cubicBezTo>
                      <a:pt x="61" y="0"/>
                      <a:pt x="63" y="0"/>
                      <a:pt x="64" y="2"/>
                    </a:cubicBezTo>
                    <a:cubicBezTo>
                      <a:pt x="64" y="3"/>
                      <a:pt x="64" y="5"/>
                      <a:pt x="63" y="6"/>
                    </a:cubicBezTo>
                    <a:cubicBezTo>
                      <a:pt x="28" y="26"/>
                      <a:pt x="6" y="63"/>
                      <a:pt x="6" y="103"/>
                    </a:cubicBezTo>
                    <a:cubicBezTo>
                      <a:pt x="6" y="143"/>
                      <a:pt x="28" y="180"/>
                      <a:pt x="63" y="200"/>
                    </a:cubicBezTo>
                    <a:cubicBezTo>
                      <a:pt x="64" y="201"/>
                      <a:pt x="64" y="203"/>
                      <a:pt x="64" y="204"/>
                    </a:cubicBezTo>
                    <a:cubicBezTo>
                      <a:pt x="63" y="205"/>
                      <a:pt x="62" y="206"/>
                      <a:pt x="61"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33" name="Freeform 29">
                <a:extLst>
                  <a:ext uri="{FF2B5EF4-FFF2-40B4-BE49-F238E27FC236}">
                    <a16:creationId xmlns:a16="http://schemas.microsoft.com/office/drawing/2014/main" id="{54C390CD-4D8B-4E73-8243-8612EB5A77B0}"/>
                  </a:ext>
                </a:extLst>
              </p:cNvPr>
              <p:cNvSpPr>
                <a:spLocks noEditPoints="1"/>
              </p:cNvSpPr>
              <p:nvPr/>
            </p:nvSpPr>
            <p:spPr bwMode="auto">
              <a:xfrm>
                <a:off x="3815" y="2070"/>
                <a:ext cx="55" cy="55"/>
              </a:xfrm>
              <a:custGeom>
                <a:avLst/>
                <a:gdLst>
                  <a:gd name="T0" fmla="*/ 18 w 37"/>
                  <a:gd name="T1" fmla="*/ 37 h 37"/>
                  <a:gd name="T2" fmla="*/ 0 w 37"/>
                  <a:gd name="T3" fmla="*/ 19 h 37"/>
                  <a:gd name="T4" fmla="*/ 18 w 37"/>
                  <a:gd name="T5" fmla="*/ 0 h 37"/>
                  <a:gd name="T6" fmla="*/ 37 w 37"/>
                  <a:gd name="T7" fmla="*/ 19 h 37"/>
                  <a:gd name="T8" fmla="*/ 18 w 37"/>
                  <a:gd name="T9" fmla="*/ 37 h 37"/>
                  <a:gd name="T10" fmla="*/ 18 w 37"/>
                  <a:gd name="T11" fmla="*/ 6 h 37"/>
                  <a:gd name="T12" fmla="*/ 6 w 37"/>
                  <a:gd name="T13" fmla="*/ 19 h 37"/>
                  <a:gd name="T14" fmla="*/ 18 w 37"/>
                  <a:gd name="T15" fmla="*/ 31 h 37"/>
                  <a:gd name="T16" fmla="*/ 31 w 37"/>
                  <a:gd name="T17" fmla="*/ 19 h 37"/>
                  <a:gd name="T18" fmla="*/ 18 w 37"/>
                  <a:gd name="T19" fmla="*/ 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7">
                    <a:moveTo>
                      <a:pt x="18" y="37"/>
                    </a:moveTo>
                    <a:cubicBezTo>
                      <a:pt x="8" y="37"/>
                      <a:pt x="0" y="29"/>
                      <a:pt x="0" y="19"/>
                    </a:cubicBezTo>
                    <a:cubicBezTo>
                      <a:pt x="0" y="9"/>
                      <a:pt x="8" y="0"/>
                      <a:pt x="18" y="0"/>
                    </a:cubicBezTo>
                    <a:cubicBezTo>
                      <a:pt x="28" y="0"/>
                      <a:pt x="37" y="9"/>
                      <a:pt x="37" y="19"/>
                    </a:cubicBezTo>
                    <a:cubicBezTo>
                      <a:pt x="37" y="29"/>
                      <a:pt x="28" y="37"/>
                      <a:pt x="18" y="37"/>
                    </a:cubicBezTo>
                    <a:close/>
                    <a:moveTo>
                      <a:pt x="18" y="6"/>
                    </a:moveTo>
                    <a:cubicBezTo>
                      <a:pt x="12" y="6"/>
                      <a:pt x="6" y="12"/>
                      <a:pt x="6" y="19"/>
                    </a:cubicBezTo>
                    <a:cubicBezTo>
                      <a:pt x="6" y="25"/>
                      <a:pt x="12" y="31"/>
                      <a:pt x="18" y="31"/>
                    </a:cubicBezTo>
                    <a:cubicBezTo>
                      <a:pt x="25" y="31"/>
                      <a:pt x="31" y="25"/>
                      <a:pt x="31" y="19"/>
                    </a:cubicBezTo>
                    <a:cubicBezTo>
                      <a:pt x="31" y="12"/>
                      <a:pt x="25" y="6"/>
                      <a:pt x="1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34" name="Freeform 30">
                <a:extLst>
                  <a:ext uri="{FF2B5EF4-FFF2-40B4-BE49-F238E27FC236}">
                    <a16:creationId xmlns:a16="http://schemas.microsoft.com/office/drawing/2014/main" id="{C4AF0A9B-7C34-4EF0-9508-9DE377736B80}"/>
                  </a:ext>
                </a:extLst>
              </p:cNvPr>
              <p:cNvSpPr>
                <a:spLocks/>
              </p:cNvSpPr>
              <p:nvPr/>
            </p:nvSpPr>
            <p:spPr bwMode="auto">
              <a:xfrm>
                <a:off x="3861" y="2092"/>
                <a:ext cx="83" cy="9"/>
              </a:xfrm>
              <a:custGeom>
                <a:avLst/>
                <a:gdLst>
                  <a:gd name="T0" fmla="*/ 52 w 55"/>
                  <a:gd name="T1" fmla="*/ 6 h 6"/>
                  <a:gd name="T2" fmla="*/ 3 w 55"/>
                  <a:gd name="T3" fmla="*/ 6 h 6"/>
                  <a:gd name="T4" fmla="*/ 0 w 55"/>
                  <a:gd name="T5" fmla="*/ 3 h 6"/>
                  <a:gd name="T6" fmla="*/ 3 w 55"/>
                  <a:gd name="T7" fmla="*/ 0 h 6"/>
                  <a:gd name="T8" fmla="*/ 52 w 55"/>
                  <a:gd name="T9" fmla="*/ 0 h 6"/>
                  <a:gd name="T10" fmla="*/ 55 w 55"/>
                  <a:gd name="T11" fmla="*/ 3 h 6"/>
                  <a:gd name="T12" fmla="*/ 52 w 55"/>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55" h="6">
                    <a:moveTo>
                      <a:pt x="52" y="6"/>
                    </a:moveTo>
                    <a:cubicBezTo>
                      <a:pt x="3" y="6"/>
                      <a:pt x="3" y="6"/>
                      <a:pt x="3" y="6"/>
                    </a:cubicBezTo>
                    <a:cubicBezTo>
                      <a:pt x="1" y="6"/>
                      <a:pt x="0" y="5"/>
                      <a:pt x="0" y="3"/>
                    </a:cubicBezTo>
                    <a:cubicBezTo>
                      <a:pt x="0" y="2"/>
                      <a:pt x="1" y="0"/>
                      <a:pt x="3" y="0"/>
                    </a:cubicBezTo>
                    <a:cubicBezTo>
                      <a:pt x="52" y="0"/>
                      <a:pt x="52" y="0"/>
                      <a:pt x="52" y="0"/>
                    </a:cubicBezTo>
                    <a:cubicBezTo>
                      <a:pt x="53" y="0"/>
                      <a:pt x="55" y="2"/>
                      <a:pt x="55" y="3"/>
                    </a:cubicBezTo>
                    <a:cubicBezTo>
                      <a:pt x="55" y="5"/>
                      <a:pt x="53" y="6"/>
                      <a:pt x="52"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35" name="Freeform 31">
                <a:extLst>
                  <a:ext uri="{FF2B5EF4-FFF2-40B4-BE49-F238E27FC236}">
                    <a16:creationId xmlns:a16="http://schemas.microsoft.com/office/drawing/2014/main" id="{0C4122D7-9218-41AA-954F-0A74D0291549}"/>
                  </a:ext>
                </a:extLst>
              </p:cNvPr>
              <p:cNvSpPr>
                <a:spLocks noEditPoints="1"/>
              </p:cNvSpPr>
              <p:nvPr/>
            </p:nvSpPr>
            <p:spPr bwMode="auto">
              <a:xfrm>
                <a:off x="3879" y="2247"/>
                <a:ext cx="57" cy="53"/>
              </a:xfrm>
              <a:custGeom>
                <a:avLst/>
                <a:gdLst>
                  <a:gd name="T0" fmla="*/ 18 w 38"/>
                  <a:gd name="T1" fmla="*/ 36 h 36"/>
                  <a:gd name="T2" fmla="*/ 6 w 38"/>
                  <a:gd name="T3" fmla="*/ 31 h 36"/>
                  <a:gd name="T4" fmla="*/ 0 w 38"/>
                  <a:gd name="T5" fmla="*/ 18 h 36"/>
                  <a:gd name="T6" fmla="*/ 6 w 38"/>
                  <a:gd name="T7" fmla="*/ 5 h 36"/>
                  <a:gd name="T8" fmla="*/ 18 w 38"/>
                  <a:gd name="T9" fmla="*/ 0 h 36"/>
                  <a:gd name="T10" fmla="*/ 31 w 38"/>
                  <a:gd name="T11" fmla="*/ 5 h 36"/>
                  <a:gd name="T12" fmla="*/ 31 w 38"/>
                  <a:gd name="T13" fmla="*/ 31 h 36"/>
                  <a:gd name="T14" fmla="*/ 18 w 38"/>
                  <a:gd name="T15" fmla="*/ 36 h 36"/>
                  <a:gd name="T16" fmla="*/ 18 w 38"/>
                  <a:gd name="T17" fmla="*/ 6 h 36"/>
                  <a:gd name="T18" fmla="*/ 10 w 38"/>
                  <a:gd name="T19" fmla="*/ 9 h 36"/>
                  <a:gd name="T20" fmla="*/ 6 w 38"/>
                  <a:gd name="T21" fmla="*/ 18 h 36"/>
                  <a:gd name="T22" fmla="*/ 10 w 38"/>
                  <a:gd name="T23" fmla="*/ 27 h 36"/>
                  <a:gd name="T24" fmla="*/ 27 w 38"/>
                  <a:gd name="T25" fmla="*/ 27 h 36"/>
                  <a:gd name="T26" fmla="*/ 27 w 38"/>
                  <a:gd name="T27" fmla="*/ 9 h 36"/>
                  <a:gd name="T28" fmla="*/ 27 w 38"/>
                  <a:gd name="T29" fmla="*/ 9 h 36"/>
                  <a:gd name="T30" fmla="*/ 18 w 38"/>
                  <a:gd name="T31" fmla="*/ 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36">
                    <a:moveTo>
                      <a:pt x="18" y="36"/>
                    </a:moveTo>
                    <a:cubicBezTo>
                      <a:pt x="14" y="36"/>
                      <a:pt x="9" y="34"/>
                      <a:pt x="6" y="31"/>
                    </a:cubicBezTo>
                    <a:cubicBezTo>
                      <a:pt x="2" y="27"/>
                      <a:pt x="0" y="23"/>
                      <a:pt x="0" y="18"/>
                    </a:cubicBezTo>
                    <a:cubicBezTo>
                      <a:pt x="0" y="13"/>
                      <a:pt x="2" y="9"/>
                      <a:pt x="6" y="5"/>
                    </a:cubicBezTo>
                    <a:cubicBezTo>
                      <a:pt x="9" y="2"/>
                      <a:pt x="14" y="0"/>
                      <a:pt x="18" y="0"/>
                    </a:cubicBezTo>
                    <a:cubicBezTo>
                      <a:pt x="23" y="0"/>
                      <a:pt x="28" y="2"/>
                      <a:pt x="31" y="5"/>
                    </a:cubicBezTo>
                    <a:cubicBezTo>
                      <a:pt x="38" y="12"/>
                      <a:pt x="38" y="24"/>
                      <a:pt x="31" y="31"/>
                    </a:cubicBezTo>
                    <a:cubicBezTo>
                      <a:pt x="28" y="34"/>
                      <a:pt x="23" y="36"/>
                      <a:pt x="18" y="36"/>
                    </a:cubicBezTo>
                    <a:close/>
                    <a:moveTo>
                      <a:pt x="18" y="6"/>
                    </a:moveTo>
                    <a:cubicBezTo>
                      <a:pt x="15" y="6"/>
                      <a:pt x="12" y="7"/>
                      <a:pt x="10" y="9"/>
                    </a:cubicBezTo>
                    <a:cubicBezTo>
                      <a:pt x="8" y="12"/>
                      <a:pt x="6" y="15"/>
                      <a:pt x="6" y="18"/>
                    </a:cubicBezTo>
                    <a:cubicBezTo>
                      <a:pt x="6" y="21"/>
                      <a:pt x="8" y="24"/>
                      <a:pt x="10" y="27"/>
                    </a:cubicBezTo>
                    <a:cubicBezTo>
                      <a:pt x="15" y="31"/>
                      <a:pt x="22" y="31"/>
                      <a:pt x="27" y="27"/>
                    </a:cubicBezTo>
                    <a:cubicBezTo>
                      <a:pt x="32" y="22"/>
                      <a:pt x="32" y="14"/>
                      <a:pt x="27" y="9"/>
                    </a:cubicBezTo>
                    <a:cubicBezTo>
                      <a:pt x="27" y="9"/>
                      <a:pt x="27" y="9"/>
                      <a:pt x="27" y="9"/>
                    </a:cubicBezTo>
                    <a:cubicBezTo>
                      <a:pt x="25" y="7"/>
                      <a:pt x="22" y="6"/>
                      <a:pt x="18"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36" name="Freeform 32">
                <a:extLst>
                  <a:ext uri="{FF2B5EF4-FFF2-40B4-BE49-F238E27FC236}">
                    <a16:creationId xmlns:a16="http://schemas.microsoft.com/office/drawing/2014/main" id="{73C2F773-146D-4226-BBE2-1FE7F30405B7}"/>
                  </a:ext>
                </a:extLst>
              </p:cNvPr>
              <p:cNvSpPr>
                <a:spLocks/>
              </p:cNvSpPr>
              <p:nvPr/>
            </p:nvSpPr>
            <p:spPr bwMode="auto">
              <a:xfrm>
                <a:off x="3918" y="2200"/>
                <a:ext cx="62" cy="62"/>
              </a:xfrm>
              <a:custGeom>
                <a:avLst/>
                <a:gdLst>
                  <a:gd name="T0" fmla="*/ 3 w 41"/>
                  <a:gd name="T1" fmla="*/ 41 h 41"/>
                  <a:gd name="T2" fmla="*/ 1 w 41"/>
                  <a:gd name="T3" fmla="*/ 40 h 41"/>
                  <a:gd name="T4" fmla="*/ 1 w 41"/>
                  <a:gd name="T5" fmla="*/ 36 h 41"/>
                  <a:gd name="T6" fmla="*/ 36 w 41"/>
                  <a:gd name="T7" fmla="*/ 1 h 41"/>
                  <a:gd name="T8" fmla="*/ 40 w 41"/>
                  <a:gd name="T9" fmla="*/ 1 h 41"/>
                  <a:gd name="T10" fmla="*/ 40 w 41"/>
                  <a:gd name="T11" fmla="*/ 5 h 41"/>
                  <a:gd name="T12" fmla="*/ 5 w 41"/>
                  <a:gd name="T13" fmla="*/ 40 h 41"/>
                  <a:gd name="T14" fmla="*/ 3 w 41"/>
                  <a:gd name="T15" fmla="*/ 41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3" y="41"/>
                    </a:moveTo>
                    <a:cubicBezTo>
                      <a:pt x="2" y="41"/>
                      <a:pt x="2" y="41"/>
                      <a:pt x="1" y="40"/>
                    </a:cubicBezTo>
                    <a:cubicBezTo>
                      <a:pt x="0" y="39"/>
                      <a:pt x="0" y="37"/>
                      <a:pt x="1" y="36"/>
                    </a:cubicBezTo>
                    <a:cubicBezTo>
                      <a:pt x="36" y="1"/>
                      <a:pt x="36" y="1"/>
                      <a:pt x="36" y="1"/>
                    </a:cubicBezTo>
                    <a:cubicBezTo>
                      <a:pt x="37" y="0"/>
                      <a:pt x="39" y="0"/>
                      <a:pt x="40" y="1"/>
                    </a:cubicBezTo>
                    <a:cubicBezTo>
                      <a:pt x="41" y="2"/>
                      <a:pt x="41" y="4"/>
                      <a:pt x="40" y="5"/>
                    </a:cubicBezTo>
                    <a:cubicBezTo>
                      <a:pt x="5" y="40"/>
                      <a:pt x="5" y="40"/>
                      <a:pt x="5" y="40"/>
                    </a:cubicBezTo>
                    <a:cubicBezTo>
                      <a:pt x="5" y="41"/>
                      <a:pt x="4" y="41"/>
                      <a:pt x="3"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37" name="Freeform 33">
                <a:extLst>
                  <a:ext uri="{FF2B5EF4-FFF2-40B4-BE49-F238E27FC236}">
                    <a16:creationId xmlns:a16="http://schemas.microsoft.com/office/drawing/2014/main" id="{ECD93533-0DCD-4DEA-8B77-50F310935305}"/>
                  </a:ext>
                </a:extLst>
              </p:cNvPr>
              <p:cNvSpPr>
                <a:spLocks noEditPoints="1"/>
              </p:cNvSpPr>
              <p:nvPr/>
            </p:nvSpPr>
            <p:spPr bwMode="auto">
              <a:xfrm>
                <a:off x="3884" y="1890"/>
                <a:ext cx="57" cy="57"/>
              </a:xfrm>
              <a:custGeom>
                <a:avLst/>
                <a:gdLst>
                  <a:gd name="T0" fmla="*/ 18 w 38"/>
                  <a:gd name="T1" fmla="*/ 38 h 38"/>
                  <a:gd name="T2" fmla="*/ 5 w 38"/>
                  <a:gd name="T3" fmla="*/ 33 h 38"/>
                  <a:gd name="T4" fmla="*/ 0 w 38"/>
                  <a:gd name="T5" fmla="*/ 20 h 38"/>
                  <a:gd name="T6" fmla="*/ 5 w 38"/>
                  <a:gd name="T7" fmla="*/ 7 h 38"/>
                  <a:gd name="T8" fmla="*/ 31 w 38"/>
                  <a:gd name="T9" fmla="*/ 7 h 38"/>
                  <a:gd name="T10" fmla="*/ 31 w 38"/>
                  <a:gd name="T11" fmla="*/ 33 h 38"/>
                  <a:gd name="T12" fmla="*/ 31 w 38"/>
                  <a:gd name="T13" fmla="*/ 33 h 38"/>
                  <a:gd name="T14" fmla="*/ 18 w 38"/>
                  <a:gd name="T15" fmla="*/ 38 h 38"/>
                  <a:gd name="T16" fmla="*/ 18 w 38"/>
                  <a:gd name="T17" fmla="*/ 8 h 38"/>
                  <a:gd name="T18" fmla="*/ 10 w 38"/>
                  <a:gd name="T19" fmla="*/ 11 h 38"/>
                  <a:gd name="T20" fmla="*/ 6 w 38"/>
                  <a:gd name="T21" fmla="*/ 20 h 38"/>
                  <a:gd name="T22" fmla="*/ 10 w 38"/>
                  <a:gd name="T23" fmla="*/ 28 h 38"/>
                  <a:gd name="T24" fmla="*/ 27 w 38"/>
                  <a:gd name="T25" fmla="*/ 28 h 38"/>
                  <a:gd name="T26" fmla="*/ 27 w 38"/>
                  <a:gd name="T27" fmla="*/ 11 h 38"/>
                  <a:gd name="T28" fmla="*/ 18 w 38"/>
                  <a:gd name="T29" fmla="*/ 8 h 38"/>
                  <a:gd name="T30" fmla="*/ 29 w 38"/>
                  <a:gd name="T31" fmla="*/ 31 h 38"/>
                  <a:gd name="T32" fmla="*/ 29 w 38"/>
                  <a:gd name="T33"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38">
                    <a:moveTo>
                      <a:pt x="18" y="38"/>
                    </a:moveTo>
                    <a:cubicBezTo>
                      <a:pt x="13" y="38"/>
                      <a:pt x="9" y="36"/>
                      <a:pt x="5" y="33"/>
                    </a:cubicBezTo>
                    <a:cubicBezTo>
                      <a:pt x="2" y="29"/>
                      <a:pt x="0" y="25"/>
                      <a:pt x="0" y="20"/>
                    </a:cubicBezTo>
                    <a:cubicBezTo>
                      <a:pt x="0" y="15"/>
                      <a:pt x="2" y="10"/>
                      <a:pt x="5" y="7"/>
                    </a:cubicBezTo>
                    <a:cubicBezTo>
                      <a:pt x="12" y="0"/>
                      <a:pt x="24" y="0"/>
                      <a:pt x="31" y="7"/>
                    </a:cubicBezTo>
                    <a:cubicBezTo>
                      <a:pt x="38" y="14"/>
                      <a:pt x="38" y="26"/>
                      <a:pt x="31" y="33"/>
                    </a:cubicBezTo>
                    <a:cubicBezTo>
                      <a:pt x="31" y="33"/>
                      <a:pt x="31" y="33"/>
                      <a:pt x="31" y="33"/>
                    </a:cubicBezTo>
                    <a:cubicBezTo>
                      <a:pt x="27" y="36"/>
                      <a:pt x="23" y="38"/>
                      <a:pt x="18" y="38"/>
                    </a:cubicBezTo>
                    <a:close/>
                    <a:moveTo>
                      <a:pt x="18" y="8"/>
                    </a:moveTo>
                    <a:cubicBezTo>
                      <a:pt x="15" y="8"/>
                      <a:pt x="12" y="9"/>
                      <a:pt x="10" y="11"/>
                    </a:cubicBezTo>
                    <a:cubicBezTo>
                      <a:pt x="7" y="14"/>
                      <a:pt x="6" y="17"/>
                      <a:pt x="6" y="20"/>
                    </a:cubicBezTo>
                    <a:cubicBezTo>
                      <a:pt x="6" y="23"/>
                      <a:pt x="7" y="26"/>
                      <a:pt x="10" y="28"/>
                    </a:cubicBezTo>
                    <a:cubicBezTo>
                      <a:pt x="14" y="33"/>
                      <a:pt x="22" y="33"/>
                      <a:pt x="27" y="28"/>
                    </a:cubicBezTo>
                    <a:cubicBezTo>
                      <a:pt x="31" y="24"/>
                      <a:pt x="31" y="16"/>
                      <a:pt x="27" y="11"/>
                    </a:cubicBezTo>
                    <a:cubicBezTo>
                      <a:pt x="24" y="9"/>
                      <a:pt x="21" y="8"/>
                      <a:pt x="18" y="8"/>
                    </a:cubicBezTo>
                    <a:close/>
                    <a:moveTo>
                      <a:pt x="29" y="31"/>
                    </a:moveTo>
                    <a:cubicBezTo>
                      <a:pt x="29" y="31"/>
                      <a:pt x="29" y="31"/>
                      <a:pt x="29"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38" name="Freeform 34">
                <a:extLst>
                  <a:ext uri="{FF2B5EF4-FFF2-40B4-BE49-F238E27FC236}">
                    <a16:creationId xmlns:a16="http://schemas.microsoft.com/office/drawing/2014/main" id="{213E0736-5BE0-43C9-9820-4DFBC121C8A2}"/>
                  </a:ext>
                </a:extLst>
              </p:cNvPr>
              <p:cNvSpPr>
                <a:spLocks/>
              </p:cNvSpPr>
              <p:nvPr/>
            </p:nvSpPr>
            <p:spPr bwMode="auto">
              <a:xfrm>
                <a:off x="3923" y="1932"/>
                <a:ext cx="61" cy="60"/>
              </a:xfrm>
              <a:custGeom>
                <a:avLst/>
                <a:gdLst>
                  <a:gd name="T0" fmla="*/ 38 w 41"/>
                  <a:gd name="T1" fmla="*/ 40 h 40"/>
                  <a:gd name="T2" fmla="*/ 35 w 41"/>
                  <a:gd name="T3" fmla="*/ 40 h 40"/>
                  <a:gd name="T4" fmla="*/ 1 w 41"/>
                  <a:gd name="T5" fmla="*/ 5 h 40"/>
                  <a:gd name="T6" fmla="*/ 1 w 41"/>
                  <a:gd name="T7" fmla="*/ 1 h 40"/>
                  <a:gd name="T8" fmla="*/ 5 w 41"/>
                  <a:gd name="T9" fmla="*/ 1 h 40"/>
                  <a:gd name="T10" fmla="*/ 40 w 41"/>
                  <a:gd name="T11" fmla="*/ 35 h 40"/>
                  <a:gd name="T12" fmla="*/ 40 w 41"/>
                  <a:gd name="T13" fmla="*/ 40 h 40"/>
                  <a:gd name="T14" fmla="*/ 38 w 41"/>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0">
                    <a:moveTo>
                      <a:pt x="38" y="40"/>
                    </a:moveTo>
                    <a:cubicBezTo>
                      <a:pt x="37" y="40"/>
                      <a:pt x="36" y="40"/>
                      <a:pt x="35" y="40"/>
                    </a:cubicBezTo>
                    <a:cubicBezTo>
                      <a:pt x="1" y="5"/>
                      <a:pt x="1" y="5"/>
                      <a:pt x="1" y="5"/>
                    </a:cubicBezTo>
                    <a:cubicBezTo>
                      <a:pt x="0" y="4"/>
                      <a:pt x="0" y="2"/>
                      <a:pt x="1" y="1"/>
                    </a:cubicBezTo>
                    <a:cubicBezTo>
                      <a:pt x="2" y="0"/>
                      <a:pt x="4" y="0"/>
                      <a:pt x="5" y="1"/>
                    </a:cubicBezTo>
                    <a:cubicBezTo>
                      <a:pt x="40" y="35"/>
                      <a:pt x="40" y="35"/>
                      <a:pt x="40" y="35"/>
                    </a:cubicBezTo>
                    <a:cubicBezTo>
                      <a:pt x="41" y="36"/>
                      <a:pt x="41" y="38"/>
                      <a:pt x="40" y="40"/>
                    </a:cubicBezTo>
                    <a:cubicBezTo>
                      <a:pt x="39" y="40"/>
                      <a:pt x="38" y="40"/>
                      <a:pt x="38"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39" name="Freeform 35">
                <a:extLst>
                  <a:ext uri="{FF2B5EF4-FFF2-40B4-BE49-F238E27FC236}">
                    <a16:creationId xmlns:a16="http://schemas.microsoft.com/office/drawing/2014/main" id="{E8533558-F1B1-4D74-8E11-D75500353D40}"/>
                  </a:ext>
                </a:extLst>
              </p:cNvPr>
              <p:cNvSpPr>
                <a:spLocks noEditPoints="1"/>
              </p:cNvSpPr>
              <p:nvPr/>
            </p:nvSpPr>
            <p:spPr bwMode="auto">
              <a:xfrm>
                <a:off x="3986" y="1992"/>
                <a:ext cx="250" cy="124"/>
              </a:xfrm>
              <a:custGeom>
                <a:avLst/>
                <a:gdLst>
                  <a:gd name="T0" fmla="*/ 83 w 167"/>
                  <a:gd name="T1" fmla="*/ 83 h 83"/>
                  <a:gd name="T2" fmla="*/ 79 w 167"/>
                  <a:gd name="T3" fmla="*/ 82 h 83"/>
                  <a:gd name="T4" fmla="*/ 5 w 167"/>
                  <a:gd name="T5" fmla="*/ 44 h 83"/>
                  <a:gd name="T6" fmla="*/ 0 w 167"/>
                  <a:gd name="T7" fmla="*/ 36 h 83"/>
                  <a:gd name="T8" fmla="*/ 6 w 167"/>
                  <a:gd name="T9" fmla="*/ 28 h 83"/>
                  <a:gd name="T10" fmla="*/ 79 w 167"/>
                  <a:gd name="T11" fmla="*/ 1 h 83"/>
                  <a:gd name="T12" fmla="*/ 86 w 167"/>
                  <a:gd name="T13" fmla="*/ 1 h 83"/>
                  <a:gd name="T14" fmla="*/ 161 w 167"/>
                  <a:gd name="T15" fmla="*/ 30 h 83"/>
                  <a:gd name="T16" fmla="*/ 167 w 167"/>
                  <a:gd name="T17" fmla="*/ 38 h 83"/>
                  <a:gd name="T18" fmla="*/ 162 w 167"/>
                  <a:gd name="T19" fmla="*/ 46 h 83"/>
                  <a:gd name="T20" fmla="*/ 87 w 167"/>
                  <a:gd name="T21" fmla="*/ 82 h 83"/>
                  <a:gd name="T22" fmla="*/ 83 w 167"/>
                  <a:gd name="T23" fmla="*/ 83 h 83"/>
                  <a:gd name="T24" fmla="*/ 83 w 167"/>
                  <a:gd name="T25" fmla="*/ 6 h 83"/>
                  <a:gd name="T26" fmla="*/ 81 w 167"/>
                  <a:gd name="T27" fmla="*/ 7 h 83"/>
                  <a:gd name="T28" fmla="*/ 8 w 167"/>
                  <a:gd name="T29" fmla="*/ 34 h 83"/>
                  <a:gd name="T30" fmla="*/ 6 w 167"/>
                  <a:gd name="T31" fmla="*/ 36 h 83"/>
                  <a:gd name="T32" fmla="*/ 8 w 167"/>
                  <a:gd name="T33" fmla="*/ 38 h 83"/>
                  <a:gd name="T34" fmla="*/ 81 w 167"/>
                  <a:gd name="T35" fmla="*/ 76 h 83"/>
                  <a:gd name="T36" fmla="*/ 84 w 167"/>
                  <a:gd name="T37" fmla="*/ 76 h 83"/>
                  <a:gd name="T38" fmla="*/ 159 w 167"/>
                  <a:gd name="T39" fmla="*/ 40 h 83"/>
                  <a:gd name="T40" fmla="*/ 161 w 167"/>
                  <a:gd name="T41" fmla="*/ 38 h 83"/>
                  <a:gd name="T42" fmla="*/ 159 w 167"/>
                  <a:gd name="T43" fmla="*/ 36 h 83"/>
                  <a:gd name="T44" fmla="*/ 159 w 167"/>
                  <a:gd name="T45" fmla="*/ 36 h 83"/>
                  <a:gd name="T46" fmla="*/ 84 w 167"/>
                  <a:gd name="T47" fmla="*/ 7 h 83"/>
                  <a:gd name="T48" fmla="*/ 83 w 167"/>
                  <a:gd name="T49" fmla="*/ 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7" h="83">
                    <a:moveTo>
                      <a:pt x="83" y="83"/>
                    </a:moveTo>
                    <a:cubicBezTo>
                      <a:pt x="81" y="83"/>
                      <a:pt x="80" y="82"/>
                      <a:pt x="79" y="82"/>
                    </a:cubicBezTo>
                    <a:cubicBezTo>
                      <a:pt x="5" y="44"/>
                      <a:pt x="5" y="44"/>
                      <a:pt x="5" y="44"/>
                    </a:cubicBezTo>
                    <a:cubicBezTo>
                      <a:pt x="2" y="42"/>
                      <a:pt x="0" y="39"/>
                      <a:pt x="0" y="36"/>
                    </a:cubicBezTo>
                    <a:cubicBezTo>
                      <a:pt x="0" y="32"/>
                      <a:pt x="3" y="29"/>
                      <a:pt x="6" y="28"/>
                    </a:cubicBezTo>
                    <a:cubicBezTo>
                      <a:pt x="79" y="1"/>
                      <a:pt x="79" y="1"/>
                      <a:pt x="79" y="1"/>
                    </a:cubicBezTo>
                    <a:cubicBezTo>
                      <a:pt x="81" y="0"/>
                      <a:pt x="84" y="0"/>
                      <a:pt x="86" y="1"/>
                    </a:cubicBezTo>
                    <a:cubicBezTo>
                      <a:pt x="161" y="30"/>
                      <a:pt x="161" y="30"/>
                      <a:pt x="161" y="30"/>
                    </a:cubicBezTo>
                    <a:cubicBezTo>
                      <a:pt x="164" y="31"/>
                      <a:pt x="166" y="34"/>
                      <a:pt x="167" y="38"/>
                    </a:cubicBezTo>
                    <a:cubicBezTo>
                      <a:pt x="167" y="41"/>
                      <a:pt x="165" y="44"/>
                      <a:pt x="162" y="46"/>
                    </a:cubicBezTo>
                    <a:cubicBezTo>
                      <a:pt x="87" y="82"/>
                      <a:pt x="87" y="82"/>
                      <a:pt x="87" y="82"/>
                    </a:cubicBezTo>
                    <a:cubicBezTo>
                      <a:pt x="86" y="82"/>
                      <a:pt x="84" y="83"/>
                      <a:pt x="83" y="83"/>
                    </a:cubicBezTo>
                    <a:close/>
                    <a:moveTo>
                      <a:pt x="83" y="6"/>
                    </a:moveTo>
                    <a:cubicBezTo>
                      <a:pt x="82" y="6"/>
                      <a:pt x="82" y="7"/>
                      <a:pt x="81" y="7"/>
                    </a:cubicBezTo>
                    <a:cubicBezTo>
                      <a:pt x="8" y="34"/>
                      <a:pt x="8" y="34"/>
                      <a:pt x="8" y="34"/>
                    </a:cubicBezTo>
                    <a:cubicBezTo>
                      <a:pt x="7" y="34"/>
                      <a:pt x="6" y="35"/>
                      <a:pt x="6" y="36"/>
                    </a:cubicBezTo>
                    <a:cubicBezTo>
                      <a:pt x="6" y="36"/>
                      <a:pt x="6" y="37"/>
                      <a:pt x="8" y="38"/>
                    </a:cubicBezTo>
                    <a:cubicBezTo>
                      <a:pt x="81" y="76"/>
                      <a:pt x="81" y="76"/>
                      <a:pt x="81" y="76"/>
                    </a:cubicBezTo>
                    <a:cubicBezTo>
                      <a:pt x="82" y="77"/>
                      <a:pt x="83" y="77"/>
                      <a:pt x="84" y="76"/>
                    </a:cubicBezTo>
                    <a:cubicBezTo>
                      <a:pt x="159" y="40"/>
                      <a:pt x="159" y="40"/>
                      <a:pt x="159" y="40"/>
                    </a:cubicBezTo>
                    <a:cubicBezTo>
                      <a:pt x="161" y="40"/>
                      <a:pt x="161" y="38"/>
                      <a:pt x="161" y="38"/>
                    </a:cubicBezTo>
                    <a:cubicBezTo>
                      <a:pt x="161" y="37"/>
                      <a:pt x="160" y="36"/>
                      <a:pt x="159" y="36"/>
                    </a:cubicBezTo>
                    <a:cubicBezTo>
                      <a:pt x="159" y="36"/>
                      <a:pt x="159" y="36"/>
                      <a:pt x="159" y="36"/>
                    </a:cubicBezTo>
                    <a:cubicBezTo>
                      <a:pt x="84" y="7"/>
                      <a:pt x="84" y="7"/>
                      <a:pt x="84" y="7"/>
                    </a:cubicBezTo>
                    <a:cubicBezTo>
                      <a:pt x="83" y="7"/>
                      <a:pt x="83" y="6"/>
                      <a:pt x="8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41" name="Freeform 36">
                <a:extLst>
                  <a:ext uri="{FF2B5EF4-FFF2-40B4-BE49-F238E27FC236}">
                    <a16:creationId xmlns:a16="http://schemas.microsoft.com/office/drawing/2014/main" id="{EDA98542-DC44-4690-937E-DC9A6C0640C4}"/>
                  </a:ext>
                </a:extLst>
              </p:cNvPr>
              <p:cNvSpPr>
                <a:spLocks/>
              </p:cNvSpPr>
              <p:nvPr/>
            </p:nvSpPr>
            <p:spPr bwMode="auto">
              <a:xfrm>
                <a:off x="3986" y="2073"/>
                <a:ext cx="250" cy="87"/>
              </a:xfrm>
              <a:custGeom>
                <a:avLst/>
                <a:gdLst>
                  <a:gd name="T0" fmla="*/ 83 w 167"/>
                  <a:gd name="T1" fmla="*/ 58 h 58"/>
                  <a:gd name="T2" fmla="*/ 79 w 167"/>
                  <a:gd name="T3" fmla="*/ 57 h 58"/>
                  <a:gd name="T4" fmla="*/ 5 w 167"/>
                  <a:gd name="T5" fmla="*/ 19 h 58"/>
                  <a:gd name="T6" fmla="*/ 0 w 167"/>
                  <a:gd name="T7" fmla="*/ 11 h 58"/>
                  <a:gd name="T8" fmla="*/ 6 w 167"/>
                  <a:gd name="T9" fmla="*/ 4 h 58"/>
                  <a:gd name="T10" fmla="*/ 15 w 167"/>
                  <a:gd name="T11" fmla="*/ 0 h 58"/>
                  <a:gd name="T12" fmla="*/ 19 w 167"/>
                  <a:gd name="T13" fmla="*/ 2 h 58"/>
                  <a:gd name="T14" fmla="*/ 17 w 167"/>
                  <a:gd name="T15" fmla="*/ 6 h 58"/>
                  <a:gd name="T16" fmla="*/ 8 w 167"/>
                  <a:gd name="T17" fmla="*/ 9 h 58"/>
                  <a:gd name="T18" fmla="*/ 6 w 167"/>
                  <a:gd name="T19" fmla="*/ 12 h 58"/>
                  <a:gd name="T20" fmla="*/ 8 w 167"/>
                  <a:gd name="T21" fmla="*/ 14 h 58"/>
                  <a:gd name="T22" fmla="*/ 81 w 167"/>
                  <a:gd name="T23" fmla="*/ 52 h 58"/>
                  <a:gd name="T24" fmla="*/ 84 w 167"/>
                  <a:gd name="T25" fmla="*/ 52 h 58"/>
                  <a:gd name="T26" fmla="*/ 159 w 167"/>
                  <a:gd name="T27" fmla="*/ 16 h 58"/>
                  <a:gd name="T28" fmla="*/ 161 w 167"/>
                  <a:gd name="T29" fmla="*/ 14 h 58"/>
                  <a:gd name="T30" fmla="*/ 159 w 167"/>
                  <a:gd name="T31" fmla="*/ 11 h 58"/>
                  <a:gd name="T32" fmla="*/ 148 w 167"/>
                  <a:gd name="T33" fmla="*/ 7 h 58"/>
                  <a:gd name="T34" fmla="*/ 147 w 167"/>
                  <a:gd name="T35" fmla="*/ 4 h 58"/>
                  <a:gd name="T36" fmla="*/ 151 w 167"/>
                  <a:gd name="T37" fmla="*/ 2 h 58"/>
                  <a:gd name="T38" fmla="*/ 161 w 167"/>
                  <a:gd name="T39" fmla="*/ 6 h 58"/>
                  <a:gd name="T40" fmla="*/ 167 w 167"/>
                  <a:gd name="T41" fmla="*/ 13 h 58"/>
                  <a:gd name="T42" fmla="*/ 162 w 167"/>
                  <a:gd name="T43" fmla="*/ 21 h 58"/>
                  <a:gd name="T44" fmla="*/ 87 w 167"/>
                  <a:gd name="T45" fmla="*/ 58 h 58"/>
                  <a:gd name="T46" fmla="*/ 83 w 167"/>
                  <a:gd name="T4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7" h="58">
                    <a:moveTo>
                      <a:pt x="83" y="58"/>
                    </a:moveTo>
                    <a:cubicBezTo>
                      <a:pt x="81" y="58"/>
                      <a:pt x="80" y="58"/>
                      <a:pt x="79" y="57"/>
                    </a:cubicBezTo>
                    <a:cubicBezTo>
                      <a:pt x="5" y="19"/>
                      <a:pt x="5" y="19"/>
                      <a:pt x="5" y="19"/>
                    </a:cubicBezTo>
                    <a:cubicBezTo>
                      <a:pt x="2" y="18"/>
                      <a:pt x="0" y="15"/>
                      <a:pt x="0" y="11"/>
                    </a:cubicBezTo>
                    <a:cubicBezTo>
                      <a:pt x="0" y="8"/>
                      <a:pt x="3" y="5"/>
                      <a:pt x="6" y="4"/>
                    </a:cubicBezTo>
                    <a:cubicBezTo>
                      <a:pt x="15" y="0"/>
                      <a:pt x="15" y="0"/>
                      <a:pt x="15" y="0"/>
                    </a:cubicBezTo>
                    <a:cubicBezTo>
                      <a:pt x="17" y="0"/>
                      <a:pt x="19" y="1"/>
                      <a:pt x="19" y="2"/>
                    </a:cubicBezTo>
                    <a:cubicBezTo>
                      <a:pt x="20" y="4"/>
                      <a:pt x="19" y="5"/>
                      <a:pt x="17" y="6"/>
                    </a:cubicBezTo>
                    <a:cubicBezTo>
                      <a:pt x="8" y="9"/>
                      <a:pt x="8" y="9"/>
                      <a:pt x="8" y="9"/>
                    </a:cubicBezTo>
                    <a:cubicBezTo>
                      <a:pt x="7" y="10"/>
                      <a:pt x="6" y="11"/>
                      <a:pt x="6" y="12"/>
                    </a:cubicBezTo>
                    <a:cubicBezTo>
                      <a:pt x="6" y="12"/>
                      <a:pt x="6" y="13"/>
                      <a:pt x="8" y="14"/>
                    </a:cubicBezTo>
                    <a:cubicBezTo>
                      <a:pt x="81" y="52"/>
                      <a:pt x="81" y="52"/>
                      <a:pt x="81" y="52"/>
                    </a:cubicBezTo>
                    <a:cubicBezTo>
                      <a:pt x="82" y="53"/>
                      <a:pt x="83" y="53"/>
                      <a:pt x="84" y="52"/>
                    </a:cubicBezTo>
                    <a:cubicBezTo>
                      <a:pt x="159" y="16"/>
                      <a:pt x="159" y="16"/>
                      <a:pt x="159" y="16"/>
                    </a:cubicBezTo>
                    <a:cubicBezTo>
                      <a:pt x="161" y="15"/>
                      <a:pt x="161" y="14"/>
                      <a:pt x="161" y="14"/>
                    </a:cubicBezTo>
                    <a:cubicBezTo>
                      <a:pt x="161" y="13"/>
                      <a:pt x="160" y="12"/>
                      <a:pt x="159" y="11"/>
                    </a:cubicBezTo>
                    <a:cubicBezTo>
                      <a:pt x="148" y="7"/>
                      <a:pt x="148" y="7"/>
                      <a:pt x="148" y="7"/>
                    </a:cubicBezTo>
                    <a:cubicBezTo>
                      <a:pt x="147" y="7"/>
                      <a:pt x="146" y="5"/>
                      <a:pt x="147" y="4"/>
                    </a:cubicBezTo>
                    <a:cubicBezTo>
                      <a:pt x="147" y="2"/>
                      <a:pt x="149" y="1"/>
                      <a:pt x="151" y="2"/>
                    </a:cubicBezTo>
                    <a:cubicBezTo>
                      <a:pt x="161" y="6"/>
                      <a:pt x="161" y="6"/>
                      <a:pt x="161" y="6"/>
                    </a:cubicBezTo>
                    <a:cubicBezTo>
                      <a:pt x="164" y="7"/>
                      <a:pt x="166" y="10"/>
                      <a:pt x="167" y="13"/>
                    </a:cubicBezTo>
                    <a:cubicBezTo>
                      <a:pt x="167" y="17"/>
                      <a:pt x="165" y="20"/>
                      <a:pt x="162" y="21"/>
                    </a:cubicBezTo>
                    <a:cubicBezTo>
                      <a:pt x="87" y="58"/>
                      <a:pt x="87" y="58"/>
                      <a:pt x="87" y="58"/>
                    </a:cubicBezTo>
                    <a:cubicBezTo>
                      <a:pt x="86" y="58"/>
                      <a:pt x="84" y="58"/>
                      <a:pt x="8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88" name="Freeform 37">
                <a:extLst>
                  <a:ext uri="{FF2B5EF4-FFF2-40B4-BE49-F238E27FC236}">
                    <a16:creationId xmlns:a16="http://schemas.microsoft.com/office/drawing/2014/main" id="{015CEA82-2193-40C8-AF86-8BAFF028083C}"/>
                  </a:ext>
                </a:extLst>
              </p:cNvPr>
              <p:cNvSpPr>
                <a:spLocks/>
              </p:cNvSpPr>
              <p:nvPr/>
            </p:nvSpPr>
            <p:spPr bwMode="auto">
              <a:xfrm>
                <a:off x="3986" y="2125"/>
                <a:ext cx="250" cy="87"/>
              </a:xfrm>
              <a:custGeom>
                <a:avLst/>
                <a:gdLst>
                  <a:gd name="T0" fmla="*/ 83 w 167"/>
                  <a:gd name="T1" fmla="*/ 58 h 58"/>
                  <a:gd name="T2" fmla="*/ 79 w 167"/>
                  <a:gd name="T3" fmla="*/ 57 h 58"/>
                  <a:gd name="T4" fmla="*/ 5 w 167"/>
                  <a:gd name="T5" fmla="*/ 19 h 58"/>
                  <a:gd name="T6" fmla="*/ 0 w 167"/>
                  <a:gd name="T7" fmla="*/ 11 h 58"/>
                  <a:gd name="T8" fmla="*/ 6 w 167"/>
                  <a:gd name="T9" fmla="*/ 4 h 58"/>
                  <a:gd name="T10" fmla="*/ 15 w 167"/>
                  <a:gd name="T11" fmla="*/ 0 h 58"/>
                  <a:gd name="T12" fmla="*/ 19 w 167"/>
                  <a:gd name="T13" fmla="*/ 2 h 58"/>
                  <a:gd name="T14" fmla="*/ 17 w 167"/>
                  <a:gd name="T15" fmla="*/ 6 h 58"/>
                  <a:gd name="T16" fmla="*/ 8 w 167"/>
                  <a:gd name="T17" fmla="*/ 9 h 58"/>
                  <a:gd name="T18" fmla="*/ 6 w 167"/>
                  <a:gd name="T19" fmla="*/ 12 h 58"/>
                  <a:gd name="T20" fmla="*/ 8 w 167"/>
                  <a:gd name="T21" fmla="*/ 14 h 58"/>
                  <a:gd name="T22" fmla="*/ 81 w 167"/>
                  <a:gd name="T23" fmla="*/ 52 h 58"/>
                  <a:gd name="T24" fmla="*/ 84 w 167"/>
                  <a:gd name="T25" fmla="*/ 52 h 58"/>
                  <a:gd name="T26" fmla="*/ 159 w 167"/>
                  <a:gd name="T27" fmla="*/ 16 h 58"/>
                  <a:gd name="T28" fmla="*/ 161 w 167"/>
                  <a:gd name="T29" fmla="*/ 14 h 58"/>
                  <a:gd name="T30" fmla="*/ 159 w 167"/>
                  <a:gd name="T31" fmla="*/ 11 h 58"/>
                  <a:gd name="T32" fmla="*/ 148 w 167"/>
                  <a:gd name="T33" fmla="*/ 7 h 58"/>
                  <a:gd name="T34" fmla="*/ 147 w 167"/>
                  <a:gd name="T35" fmla="*/ 3 h 58"/>
                  <a:gd name="T36" fmla="*/ 151 w 167"/>
                  <a:gd name="T37" fmla="*/ 2 h 58"/>
                  <a:gd name="T38" fmla="*/ 161 w 167"/>
                  <a:gd name="T39" fmla="*/ 6 h 58"/>
                  <a:gd name="T40" fmla="*/ 167 w 167"/>
                  <a:gd name="T41" fmla="*/ 13 h 58"/>
                  <a:gd name="T42" fmla="*/ 162 w 167"/>
                  <a:gd name="T43" fmla="*/ 21 h 58"/>
                  <a:gd name="T44" fmla="*/ 87 w 167"/>
                  <a:gd name="T45" fmla="*/ 57 h 58"/>
                  <a:gd name="T46" fmla="*/ 83 w 167"/>
                  <a:gd name="T4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7" h="58">
                    <a:moveTo>
                      <a:pt x="83" y="58"/>
                    </a:moveTo>
                    <a:cubicBezTo>
                      <a:pt x="81" y="58"/>
                      <a:pt x="80" y="58"/>
                      <a:pt x="79" y="57"/>
                    </a:cubicBezTo>
                    <a:cubicBezTo>
                      <a:pt x="5" y="19"/>
                      <a:pt x="5" y="19"/>
                      <a:pt x="5" y="19"/>
                    </a:cubicBezTo>
                    <a:cubicBezTo>
                      <a:pt x="2" y="18"/>
                      <a:pt x="0" y="15"/>
                      <a:pt x="0" y="11"/>
                    </a:cubicBezTo>
                    <a:cubicBezTo>
                      <a:pt x="0" y="8"/>
                      <a:pt x="3" y="5"/>
                      <a:pt x="6" y="4"/>
                    </a:cubicBezTo>
                    <a:cubicBezTo>
                      <a:pt x="15" y="0"/>
                      <a:pt x="15" y="0"/>
                      <a:pt x="15" y="0"/>
                    </a:cubicBezTo>
                    <a:cubicBezTo>
                      <a:pt x="17" y="0"/>
                      <a:pt x="19" y="0"/>
                      <a:pt x="19" y="2"/>
                    </a:cubicBezTo>
                    <a:cubicBezTo>
                      <a:pt x="20" y="4"/>
                      <a:pt x="19" y="5"/>
                      <a:pt x="17" y="6"/>
                    </a:cubicBezTo>
                    <a:cubicBezTo>
                      <a:pt x="8" y="9"/>
                      <a:pt x="8" y="9"/>
                      <a:pt x="8" y="9"/>
                    </a:cubicBezTo>
                    <a:cubicBezTo>
                      <a:pt x="7" y="10"/>
                      <a:pt x="6" y="11"/>
                      <a:pt x="6" y="12"/>
                    </a:cubicBezTo>
                    <a:cubicBezTo>
                      <a:pt x="6" y="12"/>
                      <a:pt x="6" y="13"/>
                      <a:pt x="8" y="14"/>
                    </a:cubicBezTo>
                    <a:cubicBezTo>
                      <a:pt x="81" y="52"/>
                      <a:pt x="81" y="52"/>
                      <a:pt x="81" y="52"/>
                    </a:cubicBezTo>
                    <a:cubicBezTo>
                      <a:pt x="82" y="52"/>
                      <a:pt x="83" y="52"/>
                      <a:pt x="84" y="52"/>
                    </a:cubicBezTo>
                    <a:cubicBezTo>
                      <a:pt x="159" y="16"/>
                      <a:pt x="159" y="16"/>
                      <a:pt x="159" y="16"/>
                    </a:cubicBezTo>
                    <a:cubicBezTo>
                      <a:pt x="161" y="15"/>
                      <a:pt x="161" y="14"/>
                      <a:pt x="161" y="14"/>
                    </a:cubicBezTo>
                    <a:cubicBezTo>
                      <a:pt x="161" y="13"/>
                      <a:pt x="160" y="12"/>
                      <a:pt x="159" y="11"/>
                    </a:cubicBezTo>
                    <a:cubicBezTo>
                      <a:pt x="148" y="7"/>
                      <a:pt x="148" y="7"/>
                      <a:pt x="148" y="7"/>
                    </a:cubicBezTo>
                    <a:cubicBezTo>
                      <a:pt x="147" y="7"/>
                      <a:pt x="146" y="5"/>
                      <a:pt x="147" y="3"/>
                    </a:cubicBezTo>
                    <a:cubicBezTo>
                      <a:pt x="147" y="2"/>
                      <a:pt x="149" y="1"/>
                      <a:pt x="151" y="2"/>
                    </a:cubicBezTo>
                    <a:cubicBezTo>
                      <a:pt x="161" y="6"/>
                      <a:pt x="161" y="6"/>
                      <a:pt x="161" y="6"/>
                    </a:cubicBezTo>
                    <a:cubicBezTo>
                      <a:pt x="164" y="7"/>
                      <a:pt x="166" y="10"/>
                      <a:pt x="167" y="13"/>
                    </a:cubicBezTo>
                    <a:cubicBezTo>
                      <a:pt x="167" y="17"/>
                      <a:pt x="165" y="20"/>
                      <a:pt x="162" y="21"/>
                    </a:cubicBezTo>
                    <a:cubicBezTo>
                      <a:pt x="87" y="57"/>
                      <a:pt x="87" y="57"/>
                      <a:pt x="87" y="57"/>
                    </a:cubicBezTo>
                    <a:cubicBezTo>
                      <a:pt x="86" y="58"/>
                      <a:pt x="84" y="58"/>
                      <a:pt x="83"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grpSp>
      </p:grpSp>
      <p:grpSp>
        <p:nvGrpSpPr>
          <p:cNvPr id="15" name="Group 14">
            <a:extLst>
              <a:ext uri="{FF2B5EF4-FFF2-40B4-BE49-F238E27FC236}">
                <a16:creationId xmlns:a16="http://schemas.microsoft.com/office/drawing/2014/main" id="{A31D3C46-BAC2-4C7C-A8A1-962907E44E0B}"/>
              </a:ext>
            </a:extLst>
          </p:cNvPr>
          <p:cNvGrpSpPr/>
          <p:nvPr/>
        </p:nvGrpSpPr>
        <p:grpSpPr>
          <a:xfrm>
            <a:off x="10338703" y="3228544"/>
            <a:ext cx="837896" cy="837896"/>
            <a:chOff x="10919897" y="2947438"/>
            <a:chExt cx="1106374" cy="1106374"/>
          </a:xfrm>
        </p:grpSpPr>
        <p:sp>
          <p:nvSpPr>
            <p:cNvPr id="179" name="Oval 178">
              <a:extLst>
                <a:ext uri="{FF2B5EF4-FFF2-40B4-BE49-F238E27FC236}">
                  <a16:creationId xmlns:a16="http://schemas.microsoft.com/office/drawing/2014/main" id="{2E7A1531-E6BA-4C24-8559-F2545C72F38C}"/>
                </a:ext>
              </a:extLst>
            </p:cNvPr>
            <p:cNvSpPr/>
            <p:nvPr/>
          </p:nvSpPr>
          <p:spPr bwMode="auto">
            <a:xfrm>
              <a:off x="10919897" y="2947438"/>
              <a:ext cx="1106374" cy="1106374"/>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72" name="Picture 171">
              <a:extLst>
                <a:ext uri="{FF2B5EF4-FFF2-40B4-BE49-F238E27FC236}">
                  <a16:creationId xmlns:a16="http://schemas.microsoft.com/office/drawing/2014/main" id="{04D74549-5FBF-4E0D-9B85-5166A328DE9C}"/>
                </a:ext>
              </a:extLst>
            </p:cNvPr>
            <p:cNvPicPr>
              <a:picLocks noChangeAspect="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a:xfrm>
              <a:off x="11168686" y="3208528"/>
              <a:ext cx="608795" cy="584193"/>
            </a:xfrm>
            <a:prstGeom prst="rect">
              <a:avLst/>
            </a:prstGeom>
          </p:spPr>
        </p:pic>
      </p:grpSp>
      <p:sp>
        <p:nvSpPr>
          <p:cNvPr id="208" name="Oval 207">
            <a:extLst>
              <a:ext uri="{FF2B5EF4-FFF2-40B4-BE49-F238E27FC236}">
                <a16:creationId xmlns:a16="http://schemas.microsoft.com/office/drawing/2014/main" id="{D3386F17-B9E0-4DD3-9214-DB4F25E0BC38}"/>
              </a:ext>
            </a:extLst>
          </p:cNvPr>
          <p:cNvSpPr/>
          <p:nvPr/>
        </p:nvSpPr>
        <p:spPr bwMode="auto">
          <a:xfrm>
            <a:off x="1333499" y="3228544"/>
            <a:ext cx="837896" cy="837896"/>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nvGrpSpPr>
          <p:cNvPr id="90" name="Group 40">
            <a:extLst>
              <a:ext uri="{FF2B5EF4-FFF2-40B4-BE49-F238E27FC236}">
                <a16:creationId xmlns:a16="http://schemas.microsoft.com/office/drawing/2014/main" id="{7E5A545D-7CD6-4751-AC18-3FEAADE7FFE8}"/>
              </a:ext>
            </a:extLst>
          </p:cNvPr>
          <p:cNvGrpSpPr>
            <a:grpSpLocks noChangeAspect="1"/>
          </p:cNvGrpSpPr>
          <p:nvPr/>
        </p:nvGrpSpPr>
        <p:grpSpPr bwMode="auto">
          <a:xfrm>
            <a:off x="1516185" y="3421542"/>
            <a:ext cx="470800" cy="470800"/>
            <a:chOff x="3822" y="1788"/>
            <a:chExt cx="510" cy="510"/>
          </a:xfrm>
          <a:solidFill>
            <a:schemeClr val="bg1">
              <a:lumMod val="75000"/>
            </a:schemeClr>
          </a:solidFill>
        </p:grpSpPr>
        <p:sp>
          <p:nvSpPr>
            <p:cNvPr id="92" name="Freeform 41">
              <a:extLst>
                <a:ext uri="{FF2B5EF4-FFF2-40B4-BE49-F238E27FC236}">
                  <a16:creationId xmlns:a16="http://schemas.microsoft.com/office/drawing/2014/main" id="{274AB969-5BE9-4E23-9E31-1314C5E6B1DB}"/>
                </a:ext>
              </a:extLst>
            </p:cNvPr>
            <p:cNvSpPr>
              <a:spLocks/>
            </p:cNvSpPr>
            <p:nvPr/>
          </p:nvSpPr>
          <p:spPr bwMode="auto">
            <a:xfrm>
              <a:off x="3822" y="1788"/>
              <a:ext cx="510" cy="335"/>
            </a:xfrm>
            <a:custGeom>
              <a:avLst/>
              <a:gdLst>
                <a:gd name="T0" fmla="*/ 204 w 256"/>
                <a:gd name="T1" fmla="*/ 168 h 168"/>
                <a:gd name="T2" fmla="*/ 160 w 256"/>
                <a:gd name="T3" fmla="*/ 168 h 168"/>
                <a:gd name="T4" fmla="*/ 160 w 256"/>
                <a:gd name="T5" fmla="*/ 160 h 168"/>
                <a:gd name="T6" fmla="*/ 204 w 256"/>
                <a:gd name="T7" fmla="*/ 160 h 168"/>
                <a:gd name="T8" fmla="*/ 248 w 256"/>
                <a:gd name="T9" fmla="*/ 116 h 168"/>
                <a:gd name="T10" fmla="*/ 212 w 256"/>
                <a:gd name="T11" fmla="*/ 76 h 168"/>
                <a:gd name="T12" fmla="*/ 208 w 256"/>
                <a:gd name="T13" fmla="*/ 76 h 168"/>
                <a:gd name="T14" fmla="*/ 208 w 256"/>
                <a:gd name="T15" fmla="*/ 72 h 168"/>
                <a:gd name="T16" fmla="*/ 176 w 256"/>
                <a:gd name="T17" fmla="*/ 40 h 168"/>
                <a:gd name="T18" fmla="*/ 169 w 256"/>
                <a:gd name="T19" fmla="*/ 40 h 168"/>
                <a:gd name="T20" fmla="*/ 168 w 256"/>
                <a:gd name="T21" fmla="*/ 38 h 168"/>
                <a:gd name="T22" fmla="*/ 116 w 256"/>
                <a:gd name="T23" fmla="*/ 8 h 168"/>
                <a:gd name="T24" fmla="*/ 56 w 256"/>
                <a:gd name="T25" fmla="*/ 68 h 168"/>
                <a:gd name="T26" fmla="*/ 56 w 256"/>
                <a:gd name="T27" fmla="*/ 72 h 168"/>
                <a:gd name="T28" fmla="*/ 52 w 256"/>
                <a:gd name="T29" fmla="*/ 72 h 168"/>
                <a:gd name="T30" fmla="*/ 8 w 256"/>
                <a:gd name="T31" fmla="*/ 116 h 168"/>
                <a:gd name="T32" fmla="*/ 52 w 256"/>
                <a:gd name="T33" fmla="*/ 160 h 168"/>
                <a:gd name="T34" fmla="*/ 96 w 256"/>
                <a:gd name="T35" fmla="*/ 160 h 168"/>
                <a:gd name="T36" fmla="*/ 96 w 256"/>
                <a:gd name="T37" fmla="*/ 168 h 168"/>
                <a:gd name="T38" fmla="*/ 52 w 256"/>
                <a:gd name="T39" fmla="*/ 168 h 168"/>
                <a:gd name="T40" fmla="*/ 0 w 256"/>
                <a:gd name="T41" fmla="*/ 116 h 168"/>
                <a:gd name="T42" fmla="*/ 48 w 256"/>
                <a:gd name="T43" fmla="*/ 64 h 168"/>
                <a:gd name="T44" fmla="*/ 116 w 256"/>
                <a:gd name="T45" fmla="*/ 0 h 168"/>
                <a:gd name="T46" fmla="*/ 174 w 256"/>
                <a:gd name="T47" fmla="*/ 32 h 168"/>
                <a:gd name="T48" fmla="*/ 176 w 256"/>
                <a:gd name="T49" fmla="*/ 32 h 168"/>
                <a:gd name="T50" fmla="*/ 215 w 256"/>
                <a:gd name="T51" fmla="*/ 68 h 168"/>
                <a:gd name="T52" fmla="*/ 256 w 256"/>
                <a:gd name="T53" fmla="*/ 116 h 168"/>
                <a:gd name="T54" fmla="*/ 204 w 256"/>
                <a:gd name="T5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 h="168">
                  <a:moveTo>
                    <a:pt x="204" y="168"/>
                  </a:moveTo>
                  <a:cubicBezTo>
                    <a:pt x="160" y="168"/>
                    <a:pt x="160" y="168"/>
                    <a:pt x="160" y="168"/>
                  </a:cubicBezTo>
                  <a:cubicBezTo>
                    <a:pt x="160" y="160"/>
                    <a:pt x="160" y="160"/>
                    <a:pt x="160" y="160"/>
                  </a:cubicBezTo>
                  <a:cubicBezTo>
                    <a:pt x="204" y="160"/>
                    <a:pt x="204" y="160"/>
                    <a:pt x="204" y="160"/>
                  </a:cubicBezTo>
                  <a:cubicBezTo>
                    <a:pt x="228" y="160"/>
                    <a:pt x="248" y="141"/>
                    <a:pt x="248" y="116"/>
                  </a:cubicBezTo>
                  <a:cubicBezTo>
                    <a:pt x="248" y="93"/>
                    <a:pt x="232" y="76"/>
                    <a:pt x="212" y="76"/>
                  </a:cubicBezTo>
                  <a:cubicBezTo>
                    <a:pt x="208" y="76"/>
                    <a:pt x="208" y="76"/>
                    <a:pt x="208" y="76"/>
                  </a:cubicBezTo>
                  <a:cubicBezTo>
                    <a:pt x="208" y="72"/>
                    <a:pt x="208" y="72"/>
                    <a:pt x="208" y="72"/>
                  </a:cubicBezTo>
                  <a:cubicBezTo>
                    <a:pt x="208" y="57"/>
                    <a:pt x="199" y="40"/>
                    <a:pt x="176" y="40"/>
                  </a:cubicBezTo>
                  <a:cubicBezTo>
                    <a:pt x="169" y="40"/>
                    <a:pt x="169" y="40"/>
                    <a:pt x="169" y="40"/>
                  </a:cubicBezTo>
                  <a:cubicBezTo>
                    <a:pt x="168" y="38"/>
                    <a:pt x="168" y="38"/>
                    <a:pt x="168" y="38"/>
                  </a:cubicBezTo>
                  <a:cubicBezTo>
                    <a:pt x="158" y="19"/>
                    <a:pt x="138" y="8"/>
                    <a:pt x="116" y="8"/>
                  </a:cubicBezTo>
                  <a:cubicBezTo>
                    <a:pt x="82" y="8"/>
                    <a:pt x="56" y="35"/>
                    <a:pt x="56" y="68"/>
                  </a:cubicBezTo>
                  <a:cubicBezTo>
                    <a:pt x="56" y="72"/>
                    <a:pt x="56" y="72"/>
                    <a:pt x="56" y="72"/>
                  </a:cubicBezTo>
                  <a:cubicBezTo>
                    <a:pt x="52" y="72"/>
                    <a:pt x="52" y="72"/>
                    <a:pt x="52" y="72"/>
                  </a:cubicBezTo>
                  <a:cubicBezTo>
                    <a:pt x="27" y="72"/>
                    <a:pt x="8" y="92"/>
                    <a:pt x="8" y="116"/>
                  </a:cubicBezTo>
                  <a:cubicBezTo>
                    <a:pt x="8" y="141"/>
                    <a:pt x="27" y="160"/>
                    <a:pt x="52" y="160"/>
                  </a:cubicBezTo>
                  <a:cubicBezTo>
                    <a:pt x="96" y="160"/>
                    <a:pt x="96" y="160"/>
                    <a:pt x="96" y="160"/>
                  </a:cubicBezTo>
                  <a:cubicBezTo>
                    <a:pt x="96" y="168"/>
                    <a:pt x="96" y="168"/>
                    <a:pt x="96" y="168"/>
                  </a:cubicBezTo>
                  <a:cubicBezTo>
                    <a:pt x="52" y="168"/>
                    <a:pt x="52" y="168"/>
                    <a:pt x="52" y="168"/>
                  </a:cubicBezTo>
                  <a:cubicBezTo>
                    <a:pt x="23" y="168"/>
                    <a:pt x="0" y="145"/>
                    <a:pt x="0" y="116"/>
                  </a:cubicBezTo>
                  <a:cubicBezTo>
                    <a:pt x="0" y="89"/>
                    <a:pt x="21" y="66"/>
                    <a:pt x="48" y="64"/>
                  </a:cubicBezTo>
                  <a:cubicBezTo>
                    <a:pt x="50" y="29"/>
                    <a:pt x="79" y="0"/>
                    <a:pt x="116" y="0"/>
                  </a:cubicBezTo>
                  <a:cubicBezTo>
                    <a:pt x="140" y="0"/>
                    <a:pt x="162" y="12"/>
                    <a:pt x="174" y="32"/>
                  </a:cubicBezTo>
                  <a:cubicBezTo>
                    <a:pt x="176" y="32"/>
                    <a:pt x="176" y="32"/>
                    <a:pt x="176" y="32"/>
                  </a:cubicBezTo>
                  <a:cubicBezTo>
                    <a:pt x="199" y="32"/>
                    <a:pt x="214" y="46"/>
                    <a:pt x="215" y="68"/>
                  </a:cubicBezTo>
                  <a:cubicBezTo>
                    <a:pt x="239" y="70"/>
                    <a:pt x="256" y="90"/>
                    <a:pt x="256" y="116"/>
                  </a:cubicBezTo>
                  <a:cubicBezTo>
                    <a:pt x="256" y="145"/>
                    <a:pt x="232" y="168"/>
                    <a:pt x="204"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93" name="Rectangle 42">
              <a:extLst>
                <a:ext uri="{FF2B5EF4-FFF2-40B4-BE49-F238E27FC236}">
                  <a16:creationId xmlns:a16="http://schemas.microsoft.com/office/drawing/2014/main" id="{74C00BAE-3A0A-4DC7-8B2F-56D332AF3548}"/>
                </a:ext>
              </a:extLst>
            </p:cNvPr>
            <p:cNvSpPr>
              <a:spLocks noChangeArrowheads="1"/>
            </p:cNvSpPr>
            <p:nvPr/>
          </p:nvSpPr>
          <p:spPr bwMode="auto">
            <a:xfrm>
              <a:off x="3886" y="2171"/>
              <a:ext cx="55" cy="1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94" name="Freeform 43">
              <a:extLst>
                <a:ext uri="{FF2B5EF4-FFF2-40B4-BE49-F238E27FC236}">
                  <a16:creationId xmlns:a16="http://schemas.microsoft.com/office/drawing/2014/main" id="{892D4452-2E2B-43D7-8E2A-B61B0DE9EAB8}"/>
                </a:ext>
              </a:extLst>
            </p:cNvPr>
            <p:cNvSpPr>
              <a:spLocks/>
            </p:cNvSpPr>
            <p:nvPr/>
          </p:nvSpPr>
          <p:spPr bwMode="auto">
            <a:xfrm>
              <a:off x="4005" y="2043"/>
              <a:ext cx="56" cy="143"/>
            </a:xfrm>
            <a:custGeom>
              <a:avLst/>
              <a:gdLst>
                <a:gd name="T0" fmla="*/ 8 w 28"/>
                <a:gd name="T1" fmla="*/ 72 h 72"/>
                <a:gd name="T2" fmla="*/ 0 w 28"/>
                <a:gd name="T3" fmla="*/ 72 h 72"/>
                <a:gd name="T4" fmla="*/ 0 w 28"/>
                <a:gd name="T5" fmla="*/ 64 h 72"/>
                <a:gd name="T6" fmla="*/ 8 w 28"/>
                <a:gd name="T7" fmla="*/ 64 h 72"/>
                <a:gd name="T8" fmla="*/ 20 w 28"/>
                <a:gd name="T9" fmla="*/ 52 h 72"/>
                <a:gd name="T10" fmla="*/ 20 w 28"/>
                <a:gd name="T11" fmla="*/ 0 h 72"/>
                <a:gd name="T12" fmla="*/ 28 w 28"/>
                <a:gd name="T13" fmla="*/ 0 h 72"/>
                <a:gd name="T14" fmla="*/ 28 w 28"/>
                <a:gd name="T15" fmla="*/ 52 h 72"/>
                <a:gd name="T16" fmla="*/ 8 w 28"/>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2">
                  <a:moveTo>
                    <a:pt x="8" y="72"/>
                  </a:moveTo>
                  <a:cubicBezTo>
                    <a:pt x="0" y="72"/>
                    <a:pt x="0" y="72"/>
                    <a:pt x="0" y="72"/>
                  </a:cubicBezTo>
                  <a:cubicBezTo>
                    <a:pt x="0" y="64"/>
                    <a:pt x="0" y="64"/>
                    <a:pt x="0" y="64"/>
                  </a:cubicBezTo>
                  <a:cubicBezTo>
                    <a:pt x="8" y="64"/>
                    <a:pt x="8" y="64"/>
                    <a:pt x="8" y="64"/>
                  </a:cubicBezTo>
                  <a:cubicBezTo>
                    <a:pt x="14" y="64"/>
                    <a:pt x="20" y="59"/>
                    <a:pt x="20" y="52"/>
                  </a:cubicBezTo>
                  <a:cubicBezTo>
                    <a:pt x="20" y="0"/>
                    <a:pt x="20" y="0"/>
                    <a:pt x="20" y="0"/>
                  </a:cubicBezTo>
                  <a:cubicBezTo>
                    <a:pt x="28" y="0"/>
                    <a:pt x="28" y="0"/>
                    <a:pt x="28" y="0"/>
                  </a:cubicBezTo>
                  <a:cubicBezTo>
                    <a:pt x="28" y="52"/>
                    <a:pt x="28" y="52"/>
                    <a:pt x="28" y="52"/>
                  </a:cubicBezTo>
                  <a:cubicBezTo>
                    <a:pt x="28" y="63"/>
                    <a:pt x="19" y="72"/>
                    <a:pt x="8"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95" name="Rectangle 44">
              <a:extLst>
                <a:ext uri="{FF2B5EF4-FFF2-40B4-BE49-F238E27FC236}">
                  <a16:creationId xmlns:a16="http://schemas.microsoft.com/office/drawing/2014/main" id="{01A8AC3A-17CA-4781-BCB9-3A90D4FA4035}"/>
                </a:ext>
              </a:extLst>
            </p:cNvPr>
            <p:cNvSpPr>
              <a:spLocks noChangeArrowheads="1"/>
            </p:cNvSpPr>
            <p:nvPr/>
          </p:nvSpPr>
          <p:spPr bwMode="auto">
            <a:xfrm>
              <a:off x="4212" y="2250"/>
              <a:ext cx="48"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96" name="Freeform 45">
              <a:extLst>
                <a:ext uri="{FF2B5EF4-FFF2-40B4-BE49-F238E27FC236}">
                  <a16:creationId xmlns:a16="http://schemas.microsoft.com/office/drawing/2014/main" id="{72C362D1-EB1C-468F-8B94-7C3FE3136640}"/>
                </a:ext>
              </a:extLst>
            </p:cNvPr>
            <p:cNvSpPr>
              <a:spLocks/>
            </p:cNvSpPr>
            <p:nvPr/>
          </p:nvSpPr>
          <p:spPr bwMode="auto">
            <a:xfrm>
              <a:off x="4093" y="2043"/>
              <a:ext cx="56" cy="223"/>
            </a:xfrm>
            <a:custGeom>
              <a:avLst/>
              <a:gdLst>
                <a:gd name="T0" fmla="*/ 28 w 28"/>
                <a:gd name="T1" fmla="*/ 112 h 112"/>
                <a:gd name="T2" fmla="*/ 20 w 28"/>
                <a:gd name="T3" fmla="*/ 112 h 112"/>
                <a:gd name="T4" fmla="*/ 0 w 28"/>
                <a:gd name="T5" fmla="*/ 92 h 112"/>
                <a:gd name="T6" fmla="*/ 0 w 28"/>
                <a:gd name="T7" fmla="*/ 0 h 112"/>
                <a:gd name="T8" fmla="*/ 8 w 28"/>
                <a:gd name="T9" fmla="*/ 0 h 112"/>
                <a:gd name="T10" fmla="*/ 8 w 28"/>
                <a:gd name="T11" fmla="*/ 92 h 112"/>
                <a:gd name="T12" fmla="*/ 20 w 28"/>
                <a:gd name="T13" fmla="*/ 104 h 112"/>
                <a:gd name="T14" fmla="*/ 28 w 28"/>
                <a:gd name="T15" fmla="*/ 104 h 112"/>
                <a:gd name="T16" fmla="*/ 28 w 28"/>
                <a:gd name="T1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12">
                  <a:moveTo>
                    <a:pt x="28" y="112"/>
                  </a:moveTo>
                  <a:cubicBezTo>
                    <a:pt x="20" y="112"/>
                    <a:pt x="20" y="112"/>
                    <a:pt x="20" y="112"/>
                  </a:cubicBezTo>
                  <a:cubicBezTo>
                    <a:pt x="9" y="112"/>
                    <a:pt x="0" y="103"/>
                    <a:pt x="0" y="92"/>
                  </a:cubicBezTo>
                  <a:cubicBezTo>
                    <a:pt x="0" y="0"/>
                    <a:pt x="0" y="0"/>
                    <a:pt x="0" y="0"/>
                  </a:cubicBezTo>
                  <a:cubicBezTo>
                    <a:pt x="8" y="0"/>
                    <a:pt x="8" y="0"/>
                    <a:pt x="8" y="0"/>
                  </a:cubicBezTo>
                  <a:cubicBezTo>
                    <a:pt x="8" y="92"/>
                    <a:pt x="8" y="92"/>
                    <a:pt x="8" y="92"/>
                  </a:cubicBezTo>
                  <a:cubicBezTo>
                    <a:pt x="8" y="99"/>
                    <a:pt x="13" y="104"/>
                    <a:pt x="20" y="104"/>
                  </a:cubicBezTo>
                  <a:cubicBezTo>
                    <a:pt x="28" y="104"/>
                    <a:pt x="28" y="104"/>
                    <a:pt x="28" y="104"/>
                  </a:cubicBezTo>
                  <a:lnTo>
                    <a:pt x="28"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97" name="Rectangle 46">
              <a:extLst>
                <a:ext uri="{FF2B5EF4-FFF2-40B4-BE49-F238E27FC236}">
                  <a16:creationId xmlns:a16="http://schemas.microsoft.com/office/drawing/2014/main" id="{6CA48FDE-021F-4159-9836-FEB1BEB9041E}"/>
                </a:ext>
              </a:extLst>
            </p:cNvPr>
            <p:cNvSpPr>
              <a:spLocks noChangeArrowheads="1"/>
            </p:cNvSpPr>
            <p:nvPr/>
          </p:nvSpPr>
          <p:spPr bwMode="auto">
            <a:xfrm>
              <a:off x="4013" y="2027"/>
              <a:ext cx="128"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98" name="Freeform 47">
              <a:extLst>
                <a:ext uri="{FF2B5EF4-FFF2-40B4-BE49-F238E27FC236}">
                  <a16:creationId xmlns:a16="http://schemas.microsoft.com/office/drawing/2014/main" id="{89DBD956-C5DF-4988-96DB-2D129FFBC62D}"/>
                </a:ext>
              </a:extLst>
            </p:cNvPr>
            <p:cNvSpPr>
              <a:spLocks noEditPoints="1"/>
            </p:cNvSpPr>
            <p:nvPr/>
          </p:nvSpPr>
          <p:spPr bwMode="auto">
            <a:xfrm>
              <a:off x="3822" y="2139"/>
              <a:ext cx="80" cy="79"/>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99" name="Freeform 48">
              <a:extLst>
                <a:ext uri="{FF2B5EF4-FFF2-40B4-BE49-F238E27FC236}">
                  <a16:creationId xmlns:a16="http://schemas.microsoft.com/office/drawing/2014/main" id="{54CAB0DA-47BF-4CB4-8B17-C0DDEB855D04}"/>
                </a:ext>
              </a:extLst>
            </p:cNvPr>
            <p:cNvSpPr>
              <a:spLocks noEditPoints="1"/>
            </p:cNvSpPr>
            <p:nvPr/>
          </p:nvSpPr>
          <p:spPr bwMode="auto">
            <a:xfrm>
              <a:off x="3934" y="2139"/>
              <a:ext cx="79" cy="79"/>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100" name="Freeform 49">
              <a:extLst>
                <a:ext uri="{FF2B5EF4-FFF2-40B4-BE49-F238E27FC236}">
                  <a16:creationId xmlns:a16="http://schemas.microsoft.com/office/drawing/2014/main" id="{13197683-E7DB-4439-BB8C-96531CA8C77B}"/>
                </a:ext>
              </a:extLst>
            </p:cNvPr>
            <p:cNvSpPr>
              <a:spLocks noEditPoints="1"/>
            </p:cNvSpPr>
            <p:nvPr/>
          </p:nvSpPr>
          <p:spPr bwMode="auto">
            <a:xfrm>
              <a:off x="4141" y="2218"/>
              <a:ext cx="79" cy="8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101" name="Freeform 50">
              <a:extLst>
                <a:ext uri="{FF2B5EF4-FFF2-40B4-BE49-F238E27FC236}">
                  <a16:creationId xmlns:a16="http://schemas.microsoft.com/office/drawing/2014/main" id="{4900B7D9-E800-4934-AC7E-09374E8D8449}"/>
                </a:ext>
              </a:extLst>
            </p:cNvPr>
            <p:cNvSpPr>
              <a:spLocks noEditPoints="1"/>
            </p:cNvSpPr>
            <p:nvPr/>
          </p:nvSpPr>
          <p:spPr bwMode="auto">
            <a:xfrm>
              <a:off x="4252" y="2218"/>
              <a:ext cx="80" cy="80"/>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grpSp>
      <p:sp>
        <p:nvSpPr>
          <p:cNvPr id="194" name="Rectangle 193">
            <a:extLst>
              <a:ext uri="{FF2B5EF4-FFF2-40B4-BE49-F238E27FC236}">
                <a16:creationId xmlns:a16="http://schemas.microsoft.com/office/drawing/2014/main" id="{B5257CDA-8332-4257-9173-D1733B5D7236}"/>
              </a:ext>
            </a:extLst>
          </p:cNvPr>
          <p:cNvSpPr/>
          <p:nvPr/>
        </p:nvSpPr>
        <p:spPr>
          <a:xfrm>
            <a:off x="671323" y="6220451"/>
            <a:ext cx="2673036" cy="531812"/>
          </a:xfrm>
          <a:prstGeom prst="rect">
            <a:avLst/>
          </a:prstGeom>
          <a:noFill/>
        </p:spPr>
        <p:txBody>
          <a:bodyPr wrap="square" anchor="ctr">
            <a:spAutoFit/>
          </a:bodyPr>
          <a:lstStyle/>
          <a:p>
            <a:pPr algn="ctr" defTabSz="912507">
              <a:defRPr/>
            </a:pPr>
            <a:r>
              <a:rPr lang="en-US" sz="1428" kern="0">
                <a:solidFill>
                  <a:schemeClr val="tx2">
                    <a:lumMod val="40000"/>
                    <a:lumOff val="60000"/>
                  </a:schemeClr>
                </a:solidFill>
                <a:cs typeface="Segoe UI Light" panose="020B0502040204020203" pitchFamily="34" charset="0"/>
              </a:rPr>
              <a:t>Extensive </a:t>
            </a:r>
            <a:r>
              <a:rPr lang="en-US" sz="1428" kern="0">
                <a:solidFill>
                  <a:schemeClr val="tx2">
                    <a:lumMod val="40000"/>
                    <a:lumOff val="60000"/>
                  </a:schemeClr>
                </a:solidFill>
                <a:latin typeface="Segoe UI Semibold" panose="020B0702040204020203" pitchFamily="34" charset="0"/>
                <a:cs typeface="Segoe UI Semibold" panose="020B0702040204020203" pitchFamily="34" charset="0"/>
              </a:rPr>
              <a:t>partnerships</a:t>
            </a:r>
            <a:r>
              <a:rPr lang="en-US" sz="1428" kern="0">
                <a:solidFill>
                  <a:schemeClr val="tx2">
                    <a:lumMod val="40000"/>
                    <a:lumOff val="60000"/>
                  </a:schemeClr>
                </a:solidFill>
                <a:cs typeface="Segoe UI Light" panose="020B0502040204020203" pitchFamily="34" charset="0"/>
              </a:rPr>
              <a:t> across digital ecosystem</a:t>
            </a:r>
          </a:p>
        </p:txBody>
      </p:sp>
      <p:sp>
        <p:nvSpPr>
          <p:cNvPr id="198" name="Rectangle 197">
            <a:extLst>
              <a:ext uri="{FF2B5EF4-FFF2-40B4-BE49-F238E27FC236}">
                <a16:creationId xmlns:a16="http://schemas.microsoft.com/office/drawing/2014/main" id="{A8892C26-DA41-486C-81B4-94EF5D1A87E5}"/>
              </a:ext>
            </a:extLst>
          </p:cNvPr>
          <p:cNvSpPr/>
          <p:nvPr/>
        </p:nvSpPr>
        <p:spPr>
          <a:xfrm>
            <a:off x="9444368" y="6220451"/>
            <a:ext cx="2419114" cy="531812"/>
          </a:xfrm>
          <a:prstGeom prst="rect">
            <a:avLst/>
          </a:prstGeom>
          <a:noFill/>
        </p:spPr>
        <p:txBody>
          <a:bodyPr wrap="square" anchor="ctr">
            <a:spAutoFit/>
          </a:bodyPr>
          <a:lstStyle/>
          <a:p>
            <a:pPr algn="ctr" defTabSz="912507">
              <a:defRPr/>
            </a:pPr>
            <a:r>
              <a:rPr lang="en-US" sz="1428" kern="0">
                <a:solidFill>
                  <a:schemeClr val="tx2">
                    <a:lumMod val="40000"/>
                    <a:lumOff val="60000"/>
                  </a:schemeClr>
                </a:solidFill>
                <a:latin typeface="Segoe UI Semibold" panose="020B0702040204020203" pitchFamily="34" charset="0"/>
                <a:cs typeface="Segoe UI Semibold" panose="020B0702040204020203" pitchFamily="34" charset="0"/>
              </a:rPr>
              <a:t>Platform </a:t>
            </a:r>
            <a:r>
              <a:rPr lang="en-US" sz="1428" kern="0">
                <a:solidFill>
                  <a:schemeClr val="tx2">
                    <a:lumMod val="40000"/>
                    <a:lumOff val="60000"/>
                  </a:schemeClr>
                </a:solidFill>
                <a:cs typeface="Segoe UI Light" panose="020B0502040204020203" pitchFamily="34" charset="0"/>
              </a:rPr>
              <a:t>interoperability across the cloud continuum</a:t>
            </a:r>
          </a:p>
        </p:txBody>
      </p:sp>
      <p:grpSp>
        <p:nvGrpSpPr>
          <p:cNvPr id="9" name="Group 8">
            <a:extLst>
              <a:ext uri="{FF2B5EF4-FFF2-40B4-BE49-F238E27FC236}">
                <a16:creationId xmlns:a16="http://schemas.microsoft.com/office/drawing/2014/main" id="{3E3557FD-EE47-49AE-8953-4393C835AAEE}"/>
              </a:ext>
            </a:extLst>
          </p:cNvPr>
          <p:cNvGrpSpPr/>
          <p:nvPr/>
        </p:nvGrpSpPr>
        <p:grpSpPr>
          <a:xfrm>
            <a:off x="5666865" y="5379399"/>
            <a:ext cx="999564" cy="999564"/>
            <a:chOff x="5718455" y="5503578"/>
            <a:chExt cx="999564" cy="999564"/>
          </a:xfrm>
        </p:grpSpPr>
        <p:sp>
          <p:nvSpPr>
            <p:cNvPr id="12" name="Oval 11">
              <a:extLst>
                <a:ext uri="{FF2B5EF4-FFF2-40B4-BE49-F238E27FC236}">
                  <a16:creationId xmlns:a16="http://schemas.microsoft.com/office/drawing/2014/main" id="{D56D1DD3-8D50-4121-AE12-0CE41BE6BF3F}"/>
                </a:ext>
              </a:extLst>
            </p:cNvPr>
            <p:cNvSpPr/>
            <p:nvPr/>
          </p:nvSpPr>
          <p:spPr bwMode="auto">
            <a:xfrm>
              <a:off x="5718455" y="5503578"/>
              <a:ext cx="999564" cy="999564"/>
            </a:xfrm>
            <a:prstGeom prst="ellipse">
              <a:avLst/>
            </a:prstGeom>
            <a:solidFill>
              <a:schemeClr val="bg1"/>
            </a:solid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cs typeface="Segoe UI" pitchFamily="34" charset="0"/>
              </a:endParaRPr>
            </a:p>
          </p:txBody>
        </p:sp>
        <p:grpSp>
          <p:nvGrpSpPr>
            <p:cNvPr id="23" name="Group 20">
              <a:extLst>
                <a:ext uri="{FF2B5EF4-FFF2-40B4-BE49-F238E27FC236}">
                  <a16:creationId xmlns:a16="http://schemas.microsoft.com/office/drawing/2014/main" id="{2946F53F-E483-4199-9A6F-77A56CCF9C37}"/>
                </a:ext>
              </a:extLst>
            </p:cNvPr>
            <p:cNvGrpSpPr>
              <a:grpSpLocks noChangeAspect="1"/>
            </p:cNvGrpSpPr>
            <p:nvPr/>
          </p:nvGrpSpPr>
          <p:grpSpPr bwMode="auto">
            <a:xfrm>
              <a:off x="6024136" y="5696339"/>
              <a:ext cx="388204" cy="618492"/>
              <a:chOff x="3844" y="1945"/>
              <a:chExt cx="236" cy="376"/>
            </a:xfrm>
            <a:solidFill>
              <a:schemeClr val="bg1">
                <a:lumMod val="75000"/>
              </a:schemeClr>
            </a:solidFill>
          </p:grpSpPr>
          <p:sp>
            <p:nvSpPr>
              <p:cNvPr id="25" name="Freeform 21">
                <a:extLst>
                  <a:ext uri="{FF2B5EF4-FFF2-40B4-BE49-F238E27FC236}">
                    <a16:creationId xmlns:a16="http://schemas.microsoft.com/office/drawing/2014/main" id="{BAB4F95F-55DC-4B8D-9024-D33857E17627}"/>
                  </a:ext>
                </a:extLst>
              </p:cNvPr>
              <p:cNvSpPr>
                <a:spLocks noEditPoints="1"/>
              </p:cNvSpPr>
              <p:nvPr/>
            </p:nvSpPr>
            <p:spPr bwMode="auto">
              <a:xfrm>
                <a:off x="3844" y="2102"/>
                <a:ext cx="236" cy="219"/>
              </a:xfrm>
              <a:custGeom>
                <a:avLst/>
                <a:gdLst>
                  <a:gd name="T0" fmla="*/ 236 w 236"/>
                  <a:gd name="T1" fmla="*/ 219 h 219"/>
                  <a:gd name="T2" fmla="*/ 0 w 236"/>
                  <a:gd name="T3" fmla="*/ 219 h 219"/>
                  <a:gd name="T4" fmla="*/ 0 w 236"/>
                  <a:gd name="T5" fmla="*/ 0 h 219"/>
                  <a:gd name="T6" fmla="*/ 236 w 236"/>
                  <a:gd name="T7" fmla="*/ 0 h 219"/>
                  <a:gd name="T8" fmla="*/ 236 w 236"/>
                  <a:gd name="T9" fmla="*/ 219 h 219"/>
                  <a:gd name="T10" fmla="*/ 12 w 236"/>
                  <a:gd name="T11" fmla="*/ 208 h 219"/>
                  <a:gd name="T12" fmla="*/ 224 w 236"/>
                  <a:gd name="T13" fmla="*/ 208 h 219"/>
                  <a:gd name="T14" fmla="*/ 224 w 236"/>
                  <a:gd name="T15" fmla="*/ 11 h 219"/>
                  <a:gd name="T16" fmla="*/ 12 w 236"/>
                  <a:gd name="T17" fmla="*/ 11 h 219"/>
                  <a:gd name="T18" fmla="*/ 12 w 236"/>
                  <a:gd name="T19" fmla="*/ 20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219">
                    <a:moveTo>
                      <a:pt x="236" y="219"/>
                    </a:moveTo>
                    <a:lnTo>
                      <a:pt x="0" y="219"/>
                    </a:lnTo>
                    <a:lnTo>
                      <a:pt x="0" y="0"/>
                    </a:lnTo>
                    <a:lnTo>
                      <a:pt x="236" y="0"/>
                    </a:lnTo>
                    <a:lnTo>
                      <a:pt x="236" y="219"/>
                    </a:lnTo>
                    <a:close/>
                    <a:moveTo>
                      <a:pt x="12" y="208"/>
                    </a:moveTo>
                    <a:lnTo>
                      <a:pt x="224" y="208"/>
                    </a:lnTo>
                    <a:lnTo>
                      <a:pt x="224" y="11"/>
                    </a:lnTo>
                    <a:lnTo>
                      <a:pt x="12" y="11"/>
                    </a:lnTo>
                    <a:lnTo>
                      <a:pt x="12" y="2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26" name="Freeform 22">
                <a:extLst>
                  <a:ext uri="{FF2B5EF4-FFF2-40B4-BE49-F238E27FC236}">
                    <a16:creationId xmlns:a16="http://schemas.microsoft.com/office/drawing/2014/main" id="{DA26927E-B36F-47A0-A1EA-C79BAF8AE2FC}"/>
                  </a:ext>
                </a:extLst>
              </p:cNvPr>
              <p:cNvSpPr>
                <a:spLocks noEditPoints="1"/>
              </p:cNvSpPr>
              <p:nvPr/>
            </p:nvSpPr>
            <p:spPr bwMode="auto">
              <a:xfrm>
                <a:off x="3844" y="2102"/>
                <a:ext cx="236" cy="219"/>
              </a:xfrm>
              <a:custGeom>
                <a:avLst/>
                <a:gdLst>
                  <a:gd name="T0" fmla="*/ 236 w 236"/>
                  <a:gd name="T1" fmla="*/ 219 h 219"/>
                  <a:gd name="T2" fmla="*/ 0 w 236"/>
                  <a:gd name="T3" fmla="*/ 219 h 219"/>
                  <a:gd name="T4" fmla="*/ 0 w 236"/>
                  <a:gd name="T5" fmla="*/ 0 h 219"/>
                  <a:gd name="T6" fmla="*/ 236 w 236"/>
                  <a:gd name="T7" fmla="*/ 0 h 219"/>
                  <a:gd name="T8" fmla="*/ 236 w 236"/>
                  <a:gd name="T9" fmla="*/ 219 h 219"/>
                  <a:gd name="T10" fmla="*/ 12 w 236"/>
                  <a:gd name="T11" fmla="*/ 208 h 219"/>
                  <a:gd name="T12" fmla="*/ 224 w 236"/>
                  <a:gd name="T13" fmla="*/ 208 h 219"/>
                  <a:gd name="T14" fmla="*/ 224 w 236"/>
                  <a:gd name="T15" fmla="*/ 11 h 219"/>
                  <a:gd name="T16" fmla="*/ 12 w 236"/>
                  <a:gd name="T17" fmla="*/ 11 h 219"/>
                  <a:gd name="T18" fmla="*/ 12 w 236"/>
                  <a:gd name="T19" fmla="*/ 208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6" h="219">
                    <a:moveTo>
                      <a:pt x="236" y="219"/>
                    </a:moveTo>
                    <a:lnTo>
                      <a:pt x="0" y="219"/>
                    </a:lnTo>
                    <a:lnTo>
                      <a:pt x="0" y="0"/>
                    </a:lnTo>
                    <a:lnTo>
                      <a:pt x="236" y="0"/>
                    </a:lnTo>
                    <a:lnTo>
                      <a:pt x="236" y="219"/>
                    </a:lnTo>
                    <a:close/>
                    <a:moveTo>
                      <a:pt x="12" y="208"/>
                    </a:moveTo>
                    <a:lnTo>
                      <a:pt x="224" y="208"/>
                    </a:lnTo>
                    <a:lnTo>
                      <a:pt x="224" y="11"/>
                    </a:lnTo>
                    <a:lnTo>
                      <a:pt x="12" y="11"/>
                    </a:lnTo>
                    <a:lnTo>
                      <a:pt x="12" y="2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27" name="Freeform 23">
                <a:extLst>
                  <a:ext uri="{FF2B5EF4-FFF2-40B4-BE49-F238E27FC236}">
                    <a16:creationId xmlns:a16="http://schemas.microsoft.com/office/drawing/2014/main" id="{E77B8AF2-06B7-4C1B-81A2-BA298DEFE7BA}"/>
                  </a:ext>
                </a:extLst>
              </p:cNvPr>
              <p:cNvSpPr>
                <a:spLocks noEditPoints="1"/>
              </p:cNvSpPr>
              <p:nvPr/>
            </p:nvSpPr>
            <p:spPr bwMode="auto">
              <a:xfrm>
                <a:off x="3873" y="1945"/>
                <a:ext cx="177" cy="168"/>
              </a:xfrm>
              <a:custGeom>
                <a:avLst/>
                <a:gdLst>
                  <a:gd name="T0" fmla="*/ 151 w 151"/>
                  <a:gd name="T1" fmla="*/ 145 h 145"/>
                  <a:gd name="T2" fmla="*/ 0 w 151"/>
                  <a:gd name="T3" fmla="*/ 145 h 145"/>
                  <a:gd name="T4" fmla="*/ 0 w 151"/>
                  <a:gd name="T5" fmla="*/ 76 h 145"/>
                  <a:gd name="T6" fmla="*/ 76 w 151"/>
                  <a:gd name="T7" fmla="*/ 0 h 145"/>
                  <a:gd name="T8" fmla="*/ 151 w 151"/>
                  <a:gd name="T9" fmla="*/ 76 h 145"/>
                  <a:gd name="T10" fmla="*/ 151 w 151"/>
                  <a:gd name="T11" fmla="*/ 145 h 145"/>
                  <a:gd name="T12" fmla="*/ 10 w 151"/>
                  <a:gd name="T13" fmla="*/ 135 h 145"/>
                  <a:gd name="T14" fmla="*/ 141 w 151"/>
                  <a:gd name="T15" fmla="*/ 135 h 145"/>
                  <a:gd name="T16" fmla="*/ 141 w 151"/>
                  <a:gd name="T17" fmla="*/ 76 h 145"/>
                  <a:gd name="T18" fmla="*/ 76 w 151"/>
                  <a:gd name="T19" fmla="*/ 10 h 145"/>
                  <a:gd name="T20" fmla="*/ 10 w 151"/>
                  <a:gd name="T21" fmla="*/ 76 h 145"/>
                  <a:gd name="T22" fmla="*/ 10 w 151"/>
                  <a:gd name="T23" fmla="*/ 135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1" h="145">
                    <a:moveTo>
                      <a:pt x="151" y="145"/>
                    </a:moveTo>
                    <a:cubicBezTo>
                      <a:pt x="0" y="145"/>
                      <a:pt x="0" y="145"/>
                      <a:pt x="0" y="145"/>
                    </a:cubicBezTo>
                    <a:cubicBezTo>
                      <a:pt x="0" y="76"/>
                      <a:pt x="0" y="76"/>
                      <a:pt x="0" y="76"/>
                    </a:cubicBezTo>
                    <a:cubicBezTo>
                      <a:pt x="0" y="34"/>
                      <a:pt x="34" y="0"/>
                      <a:pt x="76" y="0"/>
                    </a:cubicBezTo>
                    <a:cubicBezTo>
                      <a:pt x="117" y="0"/>
                      <a:pt x="151" y="34"/>
                      <a:pt x="151" y="76"/>
                    </a:cubicBezTo>
                    <a:lnTo>
                      <a:pt x="151" y="145"/>
                    </a:lnTo>
                    <a:close/>
                    <a:moveTo>
                      <a:pt x="10" y="135"/>
                    </a:moveTo>
                    <a:cubicBezTo>
                      <a:pt x="141" y="135"/>
                      <a:pt x="141" y="135"/>
                      <a:pt x="141" y="135"/>
                    </a:cubicBezTo>
                    <a:cubicBezTo>
                      <a:pt x="141" y="76"/>
                      <a:pt x="141" y="76"/>
                      <a:pt x="141" y="76"/>
                    </a:cubicBezTo>
                    <a:cubicBezTo>
                      <a:pt x="141" y="40"/>
                      <a:pt x="112" y="10"/>
                      <a:pt x="76" y="10"/>
                    </a:cubicBezTo>
                    <a:cubicBezTo>
                      <a:pt x="40" y="10"/>
                      <a:pt x="10" y="40"/>
                      <a:pt x="10" y="76"/>
                    </a:cubicBezTo>
                    <a:lnTo>
                      <a:pt x="10"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sp>
            <p:nvSpPr>
              <p:cNvPr id="28" name="Freeform 24">
                <a:extLst>
                  <a:ext uri="{FF2B5EF4-FFF2-40B4-BE49-F238E27FC236}">
                    <a16:creationId xmlns:a16="http://schemas.microsoft.com/office/drawing/2014/main" id="{C45227C3-32BE-417A-B0D8-B2692C2D3EF9}"/>
                  </a:ext>
                </a:extLst>
              </p:cNvPr>
              <p:cNvSpPr>
                <a:spLocks noEditPoints="1"/>
              </p:cNvSpPr>
              <p:nvPr/>
            </p:nvSpPr>
            <p:spPr bwMode="auto">
              <a:xfrm>
                <a:off x="3931" y="2162"/>
                <a:ext cx="63" cy="99"/>
              </a:xfrm>
              <a:custGeom>
                <a:avLst/>
                <a:gdLst>
                  <a:gd name="T0" fmla="*/ 50 w 54"/>
                  <a:gd name="T1" fmla="*/ 85 h 85"/>
                  <a:gd name="T2" fmla="*/ 3 w 54"/>
                  <a:gd name="T3" fmla="*/ 85 h 85"/>
                  <a:gd name="T4" fmla="*/ 10 w 54"/>
                  <a:gd name="T5" fmla="*/ 48 h 85"/>
                  <a:gd name="T6" fmla="*/ 8 w 54"/>
                  <a:gd name="T7" fmla="*/ 46 h 85"/>
                  <a:gd name="T8" fmla="*/ 0 w 54"/>
                  <a:gd name="T9" fmla="*/ 27 h 85"/>
                  <a:gd name="T10" fmla="*/ 27 w 54"/>
                  <a:gd name="T11" fmla="*/ 0 h 85"/>
                  <a:gd name="T12" fmla="*/ 54 w 54"/>
                  <a:gd name="T13" fmla="*/ 27 h 85"/>
                  <a:gd name="T14" fmla="*/ 46 w 54"/>
                  <a:gd name="T15" fmla="*/ 46 h 85"/>
                  <a:gd name="T16" fmla="*/ 45 w 54"/>
                  <a:gd name="T17" fmla="*/ 47 h 85"/>
                  <a:gd name="T18" fmla="*/ 43 w 54"/>
                  <a:gd name="T19" fmla="*/ 48 h 85"/>
                  <a:gd name="T20" fmla="*/ 50 w 54"/>
                  <a:gd name="T21" fmla="*/ 85 h 85"/>
                  <a:gd name="T22" fmla="*/ 16 w 54"/>
                  <a:gd name="T23" fmla="*/ 75 h 85"/>
                  <a:gd name="T24" fmla="*/ 38 w 54"/>
                  <a:gd name="T25" fmla="*/ 75 h 85"/>
                  <a:gd name="T26" fmla="*/ 32 w 54"/>
                  <a:gd name="T27" fmla="*/ 44 h 85"/>
                  <a:gd name="T28" fmla="*/ 39 w 54"/>
                  <a:gd name="T29" fmla="*/ 39 h 85"/>
                  <a:gd name="T30" fmla="*/ 43 w 54"/>
                  <a:gd name="T31" fmla="*/ 27 h 85"/>
                  <a:gd name="T32" fmla="*/ 27 w 54"/>
                  <a:gd name="T33" fmla="*/ 10 h 85"/>
                  <a:gd name="T34" fmla="*/ 10 w 54"/>
                  <a:gd name="T35" fmla="*/ 27 h 85"/>
                  <a:gd name="T36" fmla="*/ 15 w 54"/>
                  <a:gd name="T37" fmla="*/ 39 h 85"/>
                  <a:gd name="T38" fmla="*/ 22 w 54"/>
                  <a:gd name="T39" fmla="*/ 44 h 85"/>
                  <a:gd name="T40" fmla="*/ 16 w 54"/>
                  <a:gd name="T41" fmla="*/ 7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85">
                    <a:moveTo>
                      <a:pt x="50" y="85"/>
                    </a:moveTo>
                    <a:cubicBezTo>
                      <a:pt x="3" y="85"/>
                      <a:pt x="3" y="85"/>
                      <a:pt x="3" y="85"/>
                    </a:cubicBezTo>
                    <a:cubicBezTo>
                      <a:pt x="10" y="48"/>
                      <a:pt x="10" y="48"/>
                      <a:pt x="10" y="48"/>
                    </a:cubicBezTo>
                    <a:cubicBezTo>
                      <a:pt x="8" y="46"/>
                      <a:pt x="8" y="46"/>
                      <a:pt x="8" y="46"/>
                    </a:cubicBezTo>
                    <a:cubicBezTo>
                      <a:pt x="3" y="41"/>
                      <a:pt x="0" y="34"/>
                      <a:pt x="0" y="27"/>
                    </a:cubicBezTo>
                    <a:cubicBezTo>
                      <a:pt x="0" y="12"/>
                      <a:pt x="12" y="0"/>
                      <a:pt x="27" y="0"/>
                    </a:cubicBezTo>
                    <a:cubicBezTo>
                      <a:pt x="42" y="0"/>
                      <a:pt x="54" y="12"/>
                      <a:pt x="54" y="27"/>
                    </a:cubicBezTo>
                    <a:cubicBezTo>
                      <a:pt x="54" y="34"/>
                      <a:pt x="51" y="41"/>
                      <a:pt x="46" y="46"/>
                    </a:cubicBezTo>
                    <a:cubicBezTo>
                      <a:pt x="45" y="47"/>
                      <a:pt x="45" y="47"/>
                      <a:pt x="45" y="47"/>
                    </a:cubicBezTo>
                    <a:cubicBezTo>
                      <a:pt x="43" y="48"/>
                      <a:pt x="43" y="48"/>
                      <a:pt x="43" y="48"/>
                    </a:cubicBezTo>
                    <a:lnTo>
                      <a:pt x="50" y="85"/>
                    </a:lnTo>
                    <a:close/>
                    <a:moveTo>
                      <a:pt x="16" y="75"/>
                    </a:moveTo>
                    <a:cubicBezTo>
                      <a:pt x="38" y="75"/>
                      <a:pt x="38" y="75"/>
                      <a:pt x="38" y="75"/>
                    </a:cubicBezTo>
                    <a:cubicBezTo>
                      <a:pt x="32" y="44"/>
                      <a:pt x="32" y="44"/>
                      <a:pt x="32" y="44"/>
                    </a:cubicBezTo>
                    <a:cubicBezTo>
                      <a:pt x="39" y="39"/>
                      <a:pt x="39" y="39"/>
                      <a:pt x="39" y="39"/>
                    </a:cubicBezTo>
                    <a:cubicBezTo>
                      <a:pt x="42" y="36"/>
                      <a:pt x="43" y="31"/>
                      <a:pt x="43" y="27"/>
                    </a:cubicBezTo>
                    <a:cubicBezTo>
                      <a:pt x="43" y="18"/>
                      <a:pt x="36" y="10"/>
                      <a:pt x="27" y="10"/>
                    </a:cubicBezTo>
                    <a:cubicBezTo>
                      <a:pt x="17" y="10"/>
                      <a:pt x="10" y="18"/>
                      <a:pt x="10" y="27"/>
                    </a:cubicBezTo>
                    <a:cubicBezTo>
                      <a:pt x="10" y="31"/>
                      <a:pt x="12" y="36"/>
                      <a:pt x="15" y="39"/>
                    </a:cubicBezTo>
                    <a:cubicBezTo>
                      <a:pt x="22" y="44"/>
                      <a:pt x="22" y="44"/>
                      <a:pt x="22" y="44"/>
                    </a:cubicBezTo>
                    <a:lnTo>
                      <a:pt x="16"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prstClr val="black"/>
                  </a:solidFill>
                  <a:latin typeface="Segoe UI" panose="020B0502040204020203" pitchFamily="34" charset="0"/>
                </a:endParaRPr>
              </a:p>
            </p:txBody>
          </p:sp>
        </p:grpSp>
      </p:grpSp>
      <p:grpSp>
        <p:nvGrpSpPr>
          <p:cNvPr id="184" name="Group 183">
            <a:extLst>
              <a:ext uri="{FF2B5EF4-FFF2-40B4-BE49-F238E27FC236}">
                <a16:creationId xmlns:a16="http://schemas.microsoft.com/office/drawing/2014/main" id="{E3B3FF5B-B31F-4CE5-8B86-33842F0A865E}"/>
              </a:ext>
            </a:extLst>
          </p:cNvPr>
          <p:cNvGrpSpPr/>
          <p:nvPr/>
        </p:nvGrpSpPr>
        <p:grpSpPr>
          <a:xfrm>
            <a:off x="2628324" y="2493624"/>
            <a:ext cx="7563572" cy="2389164"/>
            <a:chOff x="2628324" y="2493624"/>
            <a:chExt cx="7563572" cy="2389164"/>
          </a:xfrm>
        </p:grpSpPr>
        <p:grpSp>
          <p:nvGrpSpPr>
            <p:cNvPr id="188" name="Group 187">
              <a:extLst>
                <a:ext uri="{FF2B5EF4-FFF2-40B4-BE49-F238E27FC236}">
                  <a16:creationId xmlns:a16="http://schemas.microsoft.com/office/drawing/2014/main" id="{6885DC7F-B245-47D4-B1AC-99C7653AEE7A}"/>
                </a:ext>
              </a:extLst>
            </p:cNvPr>
            <p:cNvGrpSpPr/>
            <p:nvPr/>
          </p:nvGrpSpPr>
          <p:grpSpPr>
            <a:xfrm>
              <a:off x="3738496" y="3425951"/>
              <a:ext cx="4559965" cy="1030878"/>
              <a:chOff x="3974877" y="3923229"/>
              <a:chExt cx="4559965" cy="1030878"/>
            </a:xfrm>
          </p:grpSpPr>
          <p:cxnSp>
            <p:nvCxnSpPr>
              <p:cNvPr id="330" name="Straight Connector 329">
                <a:extLst>
                  <a:ext uri="{FF2B5EF4-FFF2-40B4-BE49-F238E27FC236}">
                    <a16:creationId xmlns:a16="http://schemas.microsoft.com/office/drawing/2014/main" id="{B685BD92-AF1F-433B-BAA8-44DA57CAFF1B}"/>
                  </a:ext>
                </a:extLst>
              </p:cNvPr>
              <p:cNvCxnSpPr>
                <a:cxnSpLocks/>
                <a:endCxn id="343" idx="2"/>
              </p:cNvCxnSpPr>
              <p:nvPr/>
            </p:nvCxnSpPr>
            <p:spPr>
              <a:xfrm flipV="1">
                <a:off x="3991969" y="4457169"/>
                <a:ext cx="1354223" cy="322059"/>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391D2CC8-C234-4FCF-882F-5F481747FB88}"/>
                  </a:ext>
                </a:extLst>
              </p:cNvPr>
              <p:cNvCxnSpPr>
                <a:cxnSpLocks/>
                <a:endCxn id="346" idx="2"/>
              </p:cNvCxnSpPr>
              <p:nvPr/>
            </p:nvCxnSpPr>
            <p:spPr>
              <a:xfrm>
                <a:off x="3974877" y="4888719"/>
                <a:ext cx="1828434" cy="7590"/>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D2988020-263F-4FE7-A44E-C50CAD037EAD}"/>
                  </a:ext>
                </a:extLst>
              </p:cNvPr>
              <p:cNvCxnSpPr>
                <a:cxnSpLocks/>
              </p:cNvCxnSpPr>
              <p:nvPr/>
            </p:nvCxnSpPr>
            <p:spPr>
              <a:xfrm>
                <a:off x="5861109" y="4890124"/>
                <a:ext cx="699180" cy="0"/>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1E13F3A9-43C4-4877-B35B-4725B702E10B}"/>
                  </a:ext>
                </a:extLst>
              </p:cNvPr>
              <p:cNvCxnSpPr>
                <a:cxnSpLocks/>
              </p:cNvCxnSpPr>
              <p:nvPr/>
            </p:nvCxnSpPr>
            <p:spPr>
              <a:xfrm flipH="1" flipV="1">
                <a:off x="5422446" y="4455805"/>
                <a:ext cx="438663" cy="434320"/>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9F28AE7B-3D73-40E7-8E1B-AC91E18D5642}"/>
                  </a:ext>
                </a:extLst>
              </p:cNvPr>
              <p:cNvCxnSpPr>
                <a:cxnSpLocks/>
              </p:cNvCxnSpPr>
              <p:nvPr/>
            </p:nvCxnSpPr>
            <p:spPr>
              <a:xfrm flipH="1" flipV="1">
                <a:off x="5421601" y="4449417"/>
                <a:ext cx="1138690" cy="440707"/>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34D97F6A-CE18-4782-9DFC-D53819B9382F}"/>
                  </a:ext>
                </a:extLst>
              </p:cNvPr>
              <p:cNvCxnSpPr>
                <a:cxnSpLocks/>
              </p:cNvCxnSpPr>
              <p:nvPr/>
            </p:nvCxnSpPr>
            <p:spPr>
              <a:xfrm flipH="1" flipV="1">
                <a:off x="6427079" y="4562657"/>
                <a:ext cx="133210" cy="327467"/>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1602BB0D-FC20-46DE-8C1A-3F2D0288ECAD}"/>
                  </a:ext>
                </a:extLst>
              </p:cNvPr>
              <p:cNvCxnSpPr>
                <a:cxnSpLocks/>
              </p:cNvCxnSpPr>
              <p:nvPr/>
            </p:nvCxnSpPr>
            <p:spPr>
              <a:xfrm>
                <a:off x="5421600" y="4434746"/>
                <a:ext cx="1005480" cy="127911"/>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551580C9-F9B7-43BB-8ED2-B72CBD71AED6}"/>
                  </a:ext>
                </a:extLst>
              </p:cNvPr>
              <p:cNvCxnSpPr>
                <a:cxnSpLocks/>
                <a:stCxn id="343" idx="1"/>
              </p:cNvCxnSpPr>
              <p:nvPr/>
            </p:nvCxnSpPr>
            <p:spPr>
              <a:xfrm flipH="1" flipV="1">
                <a:off x="4979618" y="4064727"/>
                <a:ext cx="383503" cy="351573"/>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6F1FF36F-1EBB-4B92-B2F5-D5C48EEA4F3C}"/>
                  </a:ext>
                </a:extLst>
              </p:cNvPr>
              <p:cNvCxnSpPr>
                <a:cxnSpLocks/>
                <a:endCxn id="344" idx="1"/>
              </p:cNvCxnSpPr>
              <p:nvPr/>
            </p:nvCxnSpPr>
            <p:spPr>
              <a:xfrm>
                <a:off x="5012097" y="3989400"/>
                <a:ext cx="1394577" cy="513788"/>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39B62CC3-2FCC-462F-BB7A-0234667850D0}"/>
                  </a:ext>
                </a:extLst>
              </p:cNvPr>
              <p:cNvCxnSpPr>
                <a:cxnSpLocks/>
                <a:endCxn id="344" idx="0"/>
              </p:cNvCxnSpPr>
              <p:nvPr/>
            </p:nvCxnSpPr>
            <p:spPr>
              <a:xfrm flipH="1">
                <a:off x="6447543" y="3983260"/>
                <a:ext cx="895511" cy="502999"/>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EDF7CA9B-387B-4724-A3D5-E21B8E91D0BA}"/>
                  </a:ext>
                </a:extLst>
              </p:cNvPr>
              <p:cNvCxnSpPr>
                <a:cxnSpLocks/>
                <a:endCxn id="345" idx="7"/>
              </p:cNvCxnSpPr>
              <p:nvPr/>
            </p:nvCxnSpPr>
            <p:spPr>
              <a:xfrm flipH="1">
                <a:off x="6579610" y="4761352"/>
                <a:ext cx="1955232" cy="79941"/>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402443DF-37D9-49F8-A9F6-1AA5A70A97FB}"/>
                  </a:ext>
                </a:extLst>
              </p:cNvPr>
              <p:cNvCxnSpPr>
                <a:cxnSpLocks/>
                <a:endCxn id="344" idx="5"/>
              </p:cNvCxnSpPr>
              <p:nvPr/>
            </p:nvCxnSpPr>
            <p:spPr>
              <a:xfrm flipH="1" flipV="1">
                <a:off x="6488412" y="4584926"/>
                <a:ext cx="1966936" cy="72250"/>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BCD09098-CF6E-4BE4-9F54-E60B46774389}"/>
                  </a:ext>
                </a:extLst>
              </p:cNvPr>
              <p:cNvCxnSpPr>
                <a:cxnSpLocks/>
                <a:endCxn id="343" idx="7"/>
              </p:cNvCxnSpPr>
              <p:nvPr/>
            </p:nvCxnSpPr>
            <p:spPr>
              <a:xfrm flipH="1">
                <a:off x="5444859" y="3923229"/>
                <a:ext cx="1868020" cy="493071"/>
              </a:xfrm>
              <a:prstGeom prst="line">
                <a:avLst/>
              </a:prstGeom>
              <a:solidFill>
                <a:schemeClr val="accent6">
                  <a:lumMod val="90000"/>
                </a:schemeClr>
              </a:solidFill>
              <a:ln>
                <a:solidFill>
                  <a:schemeClr val="accent6">
                    <a:lumMod val="90000"/>
                  </a:schemeClr>
                </a:solidFill>
              </a:ln>
            </p:spPr>
            <p:style>
              <a:lnRef idx="1">
                <a:schemeClr val="accent1"/>
              </a:lnRef>
              <a:fillRef idx="0">
                <a:schemeClr val="accent1"/>
              </a:fillRef>
              <a:effectRef idx="0">
                <a:schemeClr val="accent1"/>
              </a:effectRef>
              <a:fontRef idx="minor">
                <a:schemeClr val="tx1"/>
              </a:fontRef>
            </p:style>
          </p:cxnSp>
          <p:sp>
            <p:nvSpPr>
              <p:cNvPr id="343" name="Oval 342">
                <a:extLst>
                  <a:ext uri="{FF2B5EF4-FFF2-40B4-BE49-F238E27FC236}">
                    <a16:creationId xmlns:a16="http://schemas.microsoft.com/office/drawing/2014/main" id="{9CE15474-390B-4930-89E1-F0CA196D0BC0}"/>
                  </a:ext>
                </a:extLst>
              </p:cNvPr>
              <p:cNvSpPr/>
              <p:nvPr/>
            </p:nvSpPr>
            <p:spPr>
              <a:xfrm>
                <a:off x="5346192" y="4399371"/>
                <a:ext cx="115596" cy="115596"/>
              </a:xfrm>
              <a:prstGeom prst="ellipse">
                <a:avLst/>
              </a:prstGeom>
              <a:solidFill>
                <a:schemeClr val="accent6">
                  <a:lumMod val="90000"/>
                </a:schemeClr>
              </a:solidFill>
              <a:ln>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836">
                  <a:solidFill>
                    <a:prstClr val="white"/>
                  </a:solidFill>
                  <a:latin typeface="Segoe UI" panose="020B0502040204020203" pitchFamily="34" charset="0"/>
                </a:endParaRPr>
              </a:p>
            </p:txBody>
          </p:sp>
          <p:sp>
            <p:nvSpPr>
              <p:cNvPr id="344" name="Oval 343">
                <a:extLst>
                  <a:ext uri="{FF2B5EF4-FFF2-40B4-BE49-F238E27FC236}">
                    <a16:creationId xmlns:a16="http://schemas.microsoft.com/office/drawing/2014/main" id="{92977BAB-4918-4A2E-B4F1-51C39BDC4F3E}"/>
                  </a:ext>
                </a:extLst>
              </p:cNvPr>
              <p:cNvSpPr/>
              <p:nvPr/>
            </p:nvSpPr>
            <p:spPr>
              <a:xfrm>
                <a:off x="6389745" y="4486259"/>
                <a:ext cx="115596" cy="115596"/>
              </a:xfrm>
              <a:prstGeom prst="ellipse">
                <a:avLst/>
              </a:prstGeom>
              <a:solidFill>
                <a:schemeClr val="accent6">
                  <a:lumMod val="90000"/>
                </a:schemeClr>
              </a:solidFill>
              <a:ln>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836">
                  <a:solidFill>
                    <a:prstClr val="white"/>
                  </a:solidFill>
                  <a:latin typeface="Segoe UI" panose="020B0502040204020203" pitchFamily="34" charset="0"/>
                </a:endParaRPr>
              </a:p>
            </p:txBody>
          </p:sp>
          <p:sp>
            <p:nvSpPr>
              <p:cNvPr id="345" name="Oval 344">
                <a:extLst>
                  <a:ext uri="{FF2B5EF4-FFF2-40B4-BE49-F238E27FC236}">
                    <a16:creationId xmlns:a16="http://schemas.microsoft.com/office/drawing/2014/main" id="{396D82A8-333F-4D89-8B69-7518C2B6B962}"/>
                  </a:ext>
                </a:extLst>
              </p:cNvPr>
              <p:cNvSpPr/>
              <p:nvPr/>
            </p:nvSpPr>
            <p:spPr>
              <a:xfrm>
                <a:off x="6480943" y="4824364"/>
                <a:ext cx="115596" cy="115596"/>
              </a:xfrm>
              <a:prstGeom prst="ellipse">
                <a:avLst/>
              </a:prstGeom>
              <a:solidFill>
                <a:schemeClr val="accent6">
                  <a:lumMod val="90000"/>
                </a:schemeClr>
              </a:solidFill>
              <a:ln>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836">
                  <a:solidFill>
                    <a:prstClr val="white"/>
                  </a:solidFill>
                  <a:latin typeface="Segoe UI" panose="020B0502040204020203" pitchFamily="34" charset="0"/>
                </a:endParaRPr>
              </a:p>
            </p:txBody>
          </p:sp>
          <p:sp>
            <p:nvSpPr>
              <p:cNvPr id="346" name="Oval 345">
                <a:extLst>
                  <a:ext uri="{FF2B5EF4-FFF2-40B4-BE49-F238E27FC236}">
                    <a16:creationId xmlns:a16="http://schemas.microsoft.com/office/drawing/2014/main" id="{BD37D1BE-67D8-4D5E-A7DF-8A271473BF3B}"/>
                  </a:ext>
                </a:extLst>
              </p:cNvPr>
              <p:cNvSpPr/>
              <p:nvPr/>
            </p:nvSpPr>
            <p:spPr>
              <a:xfrm>
                <a:off x="5803311" y="4838511"/>
                <a:ext cx="115596" cy="115596"/>
              </a:xfrm>
              <a:prstGeom prst="ellipse">
                <a:avLst/>
              </a:prstGeom>
              <a:solidFill>
                <a:schemeClr val="accent6">
                  <a:lumMod val="90000"/>
                </a:schemeClr>
              </a:solidFill>
              <a:ln>
                <a:solidFill>
                  <a:schemeClr val="accent6">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60" tIns="46630" rIns="93260" bIns="46630" numCol="1" spcCol="0" rtlCol="0" fromWordArt="0" anchor="ctr" anchorCtr="0" forceAA="0" compatLnSpc="1">
                <a:prstTxWarp prst="textNoShape">
                  <a:avLst/>
                </a:prstTxWarp>
                <a:noAutofit/>
              </a:bodyPr>
              <a:lstStyle/>
              <a:p>
                <a:pPr algn="ctr" defTabSz="932597"/>
                <a:endParaRPr lang="en-US" sz="1836">
                  <a:solidFill>
                    <a:prstClr val="white"/>
                  </a:solidFill>
                  <a:latin typeface="Segoe UI" panose="020B0502040204020203" pitchFamily="34" charset="0"/>
                </a:endParaRPr>
              </a:p>
            </p:txBody>
          </p:sp>
        </p:grpSp>
        <p:grpSp>
          <p:nvGrpSpPr>
            <p:cNvPr id="190" name="Group 189">
              <a:extLst>
                <a:ext uri="{FF2B5EF4-FFF2-40B4-BE49-F238E27FC236}">
                  <a16:creationId xmlns:a16="http://schemas.microsoft.com/office/drawing/2014/main" id="{249DA129-26BC-4264-9CBD-060E03592F43}"/>
                </a:ext>
              </a:extLst>
            </p:cNvPr>
            <p:cNvGrpSpPr/>
            <p:nvPr/>
          </p:nvGrpSpPr>
          <p:grpSpPr>
            <a:xfrm>
              <a:off x="8438622" y="3422594"/>
              <a:ext cx="1753274" cy="1227249"/>
              <a:chOff x="8438622" y="3422594"/>
              <a:chExt cx="1753274" cy="1227249"/>
            </a:xfrm>
          </p:grpSpPr>
          <p:grpSp>
            <p:nvGrpSpPr>
              <p:cNvPr id="324" name="Group 323">
                <a:extLst>
                  <a:ext uri="{FF2B5EF4-FFF2-40B4-BE49-F238E27FC236}">
                    <a16:creationId xmlns:a16="http://schemas.microsoft.com/office/drawing/2014/main" id="{E0226836-410E-48F7-BCF4-1AD96DEB7300}"/>
                  </a:ext>
                </a:extLst>
              </p:cNvPr>
              <p:cNvGrpSpPr/>
              <p:nvPr/>
            </p:nvGrpSpPr>
            <p:grpSpPr>
              <a:xfrm>
                <a:off x="8688234" y="3422594"/>
                <a:ext cx="757285" cy="787748"/>
                <a:chOff x="8687558" y="3637835"/>
                <a:chExt cx="829489" cy="862856"/>
              </a:xfrm>
            </p:grpSpPr>
            <p:sp>
              <p:nvSpPr>
                <p:cNvPr id="326" name="Freeform 10">
                  <a:extLst>
                    <a:ext uri="{FF2B5EF4-FFF2-40B4-BE49-F238E27FC236}">
                      <a16:creationId xmlns:a16="http://schemas.microsoft.com/office/drawing/2014/main" id="{F0430B9C-F7A5-447B-A4D1-E4ACE711C6E0}"/>
                    </a:ext>
                  </a:extLst>
                </p:cNvPr>
                <p:cNvSpPr>
                  <a:spLocks/>
                </p:cNvSpPr>
                <p:nvPr/>
              </p:nvSpPr>
              <p:spPr bwMode="auto">
                <a:xfrm>
                  <a:off x="8687558" y="3637835"/>
                  <a:ext cx="627568" cy="667928"/>
                </a:xfrm>
                <a:custGeom>
                  <a:avLst/>
                  <a:gdLst>
                    <a:gd name="T0" fmla="*/ 490 w 2830"/>
                    <a:gd name="T1" fmla="*/ 280 h 3012"/>
                    <a:gd name="T2" fmla="*/ 458 w 2830"/>
                    <a:gd name="T3" fmla="*/ 274 h 3012"/>
                    <a:gd name="T4" fmla="*/ 422 w 2830"/>
                    <a:gd name="T5" fmla="*/ 246 h 3012"/>
                    <a:gd name="T6" fmla="*/ 410 w 2830"/>
                    <a:gd name="T7" fmla="*/ 200 h 3012"/>
                    <a:gd name="T8" fmla="*/ 416 w 2830"/>
                    <a:gd name="T9" fmla="*/ 170 h 3012"/>
                    <a:gd name="T10" fmla="*/ 444 w 2830"/>
                    <a:gd name="T11" fmla="*/ 134 h 3012"/>
                    <a:gd name="T12" fmla="*/ 490 w 2830"/>
                    <a:gd name="T13" fmla="*/ 120 h 3012"/>
                    <a:gd name="T14" fmla="*/ 2724 w 2830"/>
                    <a:gd name="T15" fmla="*/ 1362 h 3012"/>
                    <a:gd name="T16" fmla="*/ 2830 w 2830"/>
                    <a:gd name="T17" fmla="*/ 0 h 3012"/>
                    <a:gd name="T18" fmla="*/ 382 w 2830"/>
                    <a:gd name="T19" fmla="*/ 16 h 3012"/>
                    <a:gd name="T20" fmla="*/ 314 w 2830"/>
                    <a:gd name="T21" fmla="*/ 74 h 3012"/>
                    <a:gd name="T22" fmla="*/ 266 w 2830"/>
                    <a:gd name="T23" fmla="*/ 130 h 3012"/>
                    <a:gd name="T24" fmla="*/ 222 w 2830"/>
                    <a:gd name="T25" fmla="*/ 206 h 3012"/>
                    <a:gd name="T26" fmla="*/ 214 w 2830"/>
                    <a:gd name="T27" fmla="*/ 736 h 3012"/>
                    <a:gd name="T28" fmla="*/ 62 w 2830"/>
                    <a:gd name="T29" fmla="*/ 738 h 3012"/>
                    <a:gd name="T30" fmla="*/ 22 w 2830"/>
                    <a:gd name="T31" fmla="*/ 760 h 3012"/>
                    <a:gd name="T32" fmla="*/ 0 w 2830"/>
                    <a:gd name="T33" fmla="*/ 800 h 3012"/>
                    <a:gd name="T34" fmla="*/ 0 w 2830"/>
                    <a:gd name="T35" fmla="*/ 832 h 3012"/>
                    <a:gd name="T36" fmla="*/ 22 w 2830"/>
                    <a:gd name="T37" fmla="*/ 872 h 3012"/>
                    <a:gd name="T38" fmla="*/ 62 w 2830"/>
                    <a:gd name="T39" fmla="*/ 894 h 3012"/>
                    <a:gd name="T40" fmla="*/ 214 w 2830"/>
                    <a:gd name="T41" fmla="*/ 896 h 3012"/>
                    <a:gd name="T42" fmla="*/ 80 w 2830"/>
                    <a:gd name="T43" fmla="*/ 1556 h 3012"/>
                    <a:gd name="T44" fmla="*/ 34 w 2830"/>
                    <a:gd name="T45" fmla="*/ 1570 h 3012"/>
                    <a:gd name="T46" fmla="*/ 6 w 2830"/>
                    <a:gd name="T47" fmla="*/ 1606 h 3012"/>
                    <a:gd name="T48" fmla="*/ 0 w 2830"/>
                    <a:gd name="T49" fmla="*/ 1636 h 3012"/>
                    <a:gd name="T50" fmla="*/ 12 w 2830"/>
                    <a:gd name="T51" fmla="*/ 1682 h 3012"/>
                    <a:gd name="T52" fmla="*/ 48 w 2830"/>
                    <a:gd name="T53" fmla="*/ 1710 h 3012"/>
                    <a:gd name="T54" fmla="*/ 214 w 2830"/>
                    <a:gd name="T55" fmla="*/ 1716 h 3012"/>
                    <a:gd name="T56" fmla="*/ 80 w 2830"/>
                    <a:gd name="T57" fmla="*/ 2314 h 3012"/>
                    <a:gd name="T58" fmla="*/ 48 w 2830"/>
                    <a:gd name="T59" fmla="*/ 2320 h 3012"/>
                    <a:gd name="T60" fmla="*/ 12 w 2830"/>
                    <a:gd name="T61" fmla="*/ 2348 h 3012"/>
                    <a:gd name="T62" fmla="*/ 0 w 2830"/>
                    <a:gd name="T63" fmla="*/ 2394 h 3012"/>
                    <a:gd name="T64" fmla="*/ 6 w 2830"/>
                    <a:gd name="T65" fmla="*/ 2424 h 3012"/>
                    <a:gd name="T66" fmla="*/ 34 w 2830"/>
                    <a:gd name="T67" fmla="*/ 2460 h 3012"/>
                    <a:gd name="T68" fmla="*/ 80 w 2830"/>
                    <a:gd name="T69" fmla="*/ 2474 h 3012"/>
                    <a:gd name="T70" fmla="*/ 214 w 2830"/>
                    <a:gd name="T71" fmla="*/ 2854 h 3012"/>
                    <a:gd name="T72" fmla="*/ 220 w 2830"/>
                    <a:gd name="T73" fmla="*/ 2910 h 3012"/>
                    <a:gd name="T74" fmla="*/ 250 w 2830"/>
                    <a:gd name="T75" fmla="*/ 2966 h 3012"/>
                    <a:gd name="T76" fmla="*/ 292 w 2830"/>
                    <a:gd name="T77" fmla="*/ 2998 h 3012"/>
                    <a:gd name="T78" fmla="*/ 346 w 2830"/>
                    <a:gd name="T79" fmla="*/ 3010 h 3012"/>
                    <a:gd name="T80" fmla="*/ 1744 w 2830"/>
                    <a:gd name="T81" fmla="*/ 3012 h 3012"/>
                    <a:gd name="T82" fmla="*/ 1746 w 2830"/>
                    <a:gd name="T83" fmla="*/ 1702 h 3012"/>
                    <a:gd name="T84" fmla="*/ 1786 w 2830"/>
                    <a:gd name="T85" fmla="*/ 1632 h 3012"/>
                    <a:gd name="T86" fmla="*/ 1840 w 2830"/>
                    <a:gd name="T87" fmla="*/ 1572 h 3012"/>
                    <a:gd name="T88" fmla="*/ 1900 w 2830"/>
                    <a:gd name="T89" fmla="*/ 1530 h 3012"/>
                    <a:gd name="T90" fmla="*/ 1952 w 2830"/>
                    <a:gd name="T91" fmla="*/ 1502 h 3012"/>
                    <a:gd name="T92" fmla="*/ 2048 w 2830"/>
                    <a:gd name="T93" fmla="*/ 1458 h 3012"/>
                    <a:gd name="T94" fmla="*/ 2162 w 2830"/>
                    <a:gd name="T95" fmla="*/ 1424 h 3012"/>
                    <a:gd name="T96" fmla="*/ 2376 w 2830"/>
                    <a:gd name="T97" fmla="*/ 1382 h 3012"/>
                    <a:gd name="T98" fmla="*/ 2564 w 2830"/>
                    <a:gd name="T99" fmla="*/ 1366 h 3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0" h="3012">
                      <a:moveTo>
                        <a:pt x="2564" y="1366"/>
                      </a:moveTo>
                      <a:lnTo>
                        <a:pt x="2564" y="280"/>
                      </a:lnTo>
                      <a:lnTo>
                        <a:pt x="490" y="280"/>
                      </a:lnTo>
                      <a:lnTo>
                        <a:pt x="490" y="280"/>
                      </a:lnTo>
                      <a:lnTo>
                        <a:pt x="472" y="280"/>
                      </a:lnTo>
                      <a:lnTo>
                        <a:pt x="458" y="274"/>
                      </a:lnTo>
                      <a:lnTo>
                        <a:pt x="444" y="268"/>
                      </a:lnTo>
                      <a:lnTo>
                        <a:pt x="432" y="258"/>
                      </a:lnTo>
                      <a:lnTo>
                        <a:pt x="422" y="246"/>
                      </a:lnTo>
                      <a:lnTo>
                        <a:pt x="416" y="232"/>
                      </a:lnTo>
                      <a:lnTo>
                        <a:pt x="410" y="216"/>
                      </a:lnTo>
                      <a:lnTo>
                        <a:pt x="410" y="200"/>
                      </a:lnTo>
                      <a:lnTo>
                        <a:pt x="410" y="200"/>
                      </a:lnTo>
                      <a:lnTo>
                        <a:pt x="410" y="184"/>
                      </a:lnTo>
                      <a:lnTo>
                        <a:pt x="416" y="170"/>
                      </a:lnTo>
                      <a:lnTo>
                        <a:pt x="422" y="156"/>
                      </a:lnTo>
                      <a:lnTo>
                        <a:pt x="432" y="144"/>
                      </a:lnTo>
                      <a:lnTo>
                        <a:pt x="444" y="134"/>
                      </a:lnTo>
                      <a:lnTo>
                        <a:pt x="458" y="126"/>
                      </a:lnTo>
                      <a:lnTo>
                        <a:pt x="472" y="122"/>
                      </a:lnTo>
                      <a:lnTo>
                        <a:pt x="490" y="120"/>
                      </a:lnTo>
                      <a:lnTo>
                        <a:pt x="2724" y="120"/>
                      </a:lnTo>
                      <a:lnTo>
                        <a:pt x="2724" y="1362"/>
                      </a:lnTo>
                      <a:lnTo>
                        <a:pt x="2724" y="1362"/>
                      </a:lnTo>
                      <a:lnTo>
                        <a:pt x="2776" y="1364"/>
                      </a:lnTo>
                      <a:lnTo>
                        <a:pt x="2830" y="1366"/>
                      </a:lnTo>
                      <a:lnTo>
                        <a:pt x="2830" y="0"/>
                      </a:lnTo>
                      <a:lnTo>
                        <a:pt x="410" y="0"/>
                      </a:lnTo>
                      <a:lnTo>
                        <a:pt x="410" y="0"/>
                      </a:lnTo>
                      <a:lnTo>
                        <a:pt x="382" y="16"/>
                      </a:lnTo>
                      <a:lnTo>
                        <a:pt x="356" y="36"/>
                      </a:lnTo>
                      <a:lnTo>
                        <a:pt x="334" y="54"/>
                      </a:lnTo>
                      <a:lnTo>
                        <a:pt x="314" y="74"/>
                      </a:lnTo>
                      <a:lnTo>
                        <a:pt x="296" y="92"/>
                      </a:lnTo>
                      <a:lnTo>
                        <a:pt x="280" y="112"/>
                      </a:lnTo>
                      <a:lnTo>
                        <a:pt x="266" y="130"/>
                      </a:lnTo>
                      <a:lnTo>
                        <a:pt x="254" y="148"/>
                      </a:lnTo>
                      <a:lnTo>
                        <a:pt x="234" y="180"/>
                      </a:lnTo>
                      <a:lnTo>
                        <a:pt x="222" y="206"/>
                      </a:lnTo>
                      <a:lnTo>
                        <a:pt x="214" y="230"/>
                      </a:lnTo>
                      <a:lnTo>
                        <a:pt x="214" y="230"/>
                      </a:lnTo>
                      <a:lnTo>
                        <a:pt x="214" y="736"/>
                      </a:lnTo>
                      <a:lnTo>
                        <a:pt x="80" y="736"/>
                      </a:lnTo>
                      <a:lnTo>
                        <a:pt x="80" y="736"/>
                      </a:lnTo>
                      <a:lnTo>
                        <a:pt x="62" y="738"/>
                      </a:lnTo>
                      <a:lnTo>
                        <a:pt x="48" y="742"/>
                      </a:lnTo>
                      <a:lnTo>
                        <a:pt x="34" y="750"/>
                      </a:lnTo>
                      <a:lnTo>
                        <a:pt x="22" y="760"/>
                      </a:lnTo>
                      <a:lnTo>
                        <a:pt x="12" y="772"/>
                      </a:lnTo>
                      <a:lnTo>
                        <a:pt x="6" y="784"/>
                      </a:lnTo>
                      <a:lnTo>
                        <a:pt x="0" y="800"/>
                      </a:lnTo>
                      <a:lnTo>
                        <a:pt x="0" y="816"/>
                      </a:lnTo>
                      <a:lnTo>
                        <a:pt x="0" y="816"/>
                      </a:lnTo>
                      <a:lnTo>
                        <a:pt x="0" y="832"/>
                      </a:lnTo>
                      <a:lnTo>
                        <a:pt x="6" y="846"/>
                      </a:lnTo>
                      <a:lnTo>
                        <a:pt x="12" y="860"/>
                      </a:lnTo>
                      <a:lnTo>
                        <a:pt x="22" y="872"/>
                      </a:lnTo>
                      <a:lnTo>
                        <a:pt x="34" y="882"/>
                      </a:lnTo>
                      <a:lnTo>
                        <a:pt x="48" y="890"/>
                      </a:lnTo>
                      <a:lnTo>
                        <a:pt x="62" y="894"/>
                      </a:lnTo>
                      <a:lnTo>
                        <a:pt x="80" y="896"/>
                      </a:lnTo>
                      <a:lnTo>
                        <a:pt x="214" y="896"/>
                      </a:lnTo>
                      <a:lnTo>
                        <a:pt x="214" y="896"/>
                      </a:lnTo>
                      <a:lnTo>
                        <a:pt x="214" y="1556"/>
                      </a:lnTo>
                      <a:lnTo>
                        <a:pt x="80" y="1556"/>
                      </a:lnTo>
                      <a:lnTo>
                        <a:pt x="80" y="1556"/>
                      </a:lnTo>
                      <a:lnTo>
                        <a:pt x="62" y="1558"/>
                      </a:lnTo>
                      <a:lnTo>
                        <a:pt x="48" y="1562"/>
                      </a:lnTo>
                      <a:lnTo>
                        <a:pt x="34" y="1570"/>
                      </a:lnTo>
                      <a:lnTo>
                        <a:pt x="22" y="1580"/>
                      </a:lnTo>
                      <a:lnTo>
                        <a:pt x="12" y="1592"/>
                      </a:lnTo>
                      <a:lnTo>
                        <a:pt x="6" y="1606"/>
                      </a:lnTo>
                      <a:lnTo>
                        <a:pt x="0" y="1620"/>
                      </a:lnTo>
                      <a:lnTo>
                        <a:pt x="0" y="1636"/>
                      </a:lnTo>
                      <a:lnTo>
                        <a:pt x="0" y="1636"/>
                      </a:lnTo>
                      <a:lnTo>
                        <a:pt x="0" y="1652"/>
                      </a:lnTo>
                      <a:lnTo>
                        <a:pt x="6" y="1668"/>
                      </a:lnTo>
                      <a:lnTo>
                        <a:pt x="12" y="1682"/>
                      </a:lnTo>
                      <a:lnTo>
                        <a:pt x="22" y="1694"/>
                      </a:lnTo>
                      <a:lnTo>
                        <a:pt x="34" y="1702"/>
                      </a:lnTo>
                      <a:lnTo>
                        <a:pt x="48" y="1710"/>
                      </a:lnTo>
                      <a:lnTo>
                        <a:pt x="62" y="1716"/>
                      </a:lnTo>
                      <a:lnTo>
                        <a:pt x="80" y="1716"/>
                      </a:lnTo>
                      <a:lnTo>
                        <a:pt x="214" y="1716"/>
                      </a:lnTo>
                      <a:lnTo>
                        <a:pt x="214" y="1716"/>
                      </a:lnTo>
                      <a:lnTo>
                        <a:pt x="214" y="2314"/>
                      </a:lnTo>
                      <a:lnTo>
                        <a:pt x="80" y="2314"/>
                      </a:lnTo>
                      <a:lnTo>
                        <a:pt x="80" y="2314"/>
                      </a:lnTo>
                      <a:lnTo>
                        <a:pt x="62" y="2316"/>
                      </a:lnTo>
                      <a:lnTo>
                        <a:pt x="48" y="2320"/>
                      </a:lnTo>
                      <a:lnTo>
                        <a:pt x="34" y="2328"/>
                      </a:lnTo>
                      <a:lnTo>
                        <a:pt x="22" y="2338"/>
                      </a:lnTo>
                      <a:lnTo>
                        <a:pt x="12" y="2348"/>
                      </a:lnTo>
                      <a:lnTo>
                        <a:pt x="6" y="2362"/>
                      </a:lnTo>
                      <a:lnTo>
                        <a:pt x="0" y="2378"/>
                      </a:lnTo>
                      <a:lnTo>
                        <a:pt x="0" y="2394"/>
                      </a:lnTo>
                      <a:lnTo>
                        <a:pt x="0" y="2394"/>
                      </a:lnTo>
                      <a:lnTo>
                        <a:pt x="0" y="2410"/>
                      </a:lnTo>
                      <a:lnTo>
                        <a:pt x="6" y="2424"/>
                      </a:lnTo>
                      <a:lnTo>
                        <a:pt x="12" y="2438"/>
                      </a:lnTo>
                      <a:lnTo>
                        <a:pt x="22" y="2450"/>
                      </a:lnTo>
                      <a:lnTo>
                        <a:pt x="34" y="2460"/>
                      </a:lnTo>
                      <a:lnTo>
                        <a:pt x="48" y="2468"/>
                      </a:lnTo>
                      <a:lnTo>
                        <a:pt x="62" y="2472"/>
                      </a:lnTo>
                      <a:lnTo>
                        <a:pt x="80" y="2474"/>
                      </a:lnTo>
                      <a:lnTo>
                        <a:pt x="214" y="2474"/>
                      </a:lnTo>
                      <a:lnTo>
                        <a:pt x="214" y="2474"/>
                      </a:lnTo>
                      <a:lnTo>
                        <a:pt x="214" y="2854"/>
                      </a:lnTo>
                      <a:lnTo>
                        <a:pt x="214" y="2854"/>
                      </a:lnTo>
                      <a:lnTo>
                        <a:pt x="216" y="2884"/>
                      </a:lnTo>
                      <a:lnTo>
                        <a:pt x="220" y="2910"/>
                      </a:lnTo>
                      <a:lnTo>
                        <a:pt x="228" y="2932"/>
                      </a:lnTo>
                      <a:lnTo>
                        <a:pt x="238" y="2952"/>
                      </a:lnTo>
                      <a:lnTo>
                        <a:pt x="250" y="2966"/>
                      </a:lnTo>
                      <a:lnTo>
                        <a:pt x="262" y="2980"/>
                      </a:lnTo>
                      <a:lnTo>
                        <a:pt x="276" y="2990"/>
                      </a:lnTo>
                      <a:lnTo>
                        <a:pt x="292" y="2998"/>
                      </a:lnTo>
                      <a:lnTo>
                        <a:pt x="306" y="3002"/>
                      </a:lnTo>
                      <a:lnTo>
                        <a:pt x="320" y="3006"/>
                      </a:lnTo>
                      <a:lnTo>
                        <a:pt x="346" y="3010"/>
                      </a:lnTo>
                      <a:lnTo>
                        <a:pt x="364" y="3012"/>
                      </a:lnTo>
                      <a:lnTo>
                        <a:pt x="370" y="3012"/>
                      </a:lnTo>
                      <a:lnTo>
                        <a:pt x="1744" y="3012"/>
                      </a:lnTo>
                      <a:lnTo>
                        <a:pt x="1744" y="1710"/>
                      </a:lnTo>
                      <a:lnTo>
                        <a:pt x="1746" y="1702"/>
                      </a:lnTo>
                      <a:lnTo>
                        <a:pt x="1746" y="1702"/>
                      </a:lnTo>
                      <a:lnTo>
                        <a:pt x="1756" y="1680"/>
                      </a:lnTo>
                      <a:lnTo>
                        <a:pt x="1768" y="1658"/>
                      </a:lnTo>
                      <a:lnTo>
                        <a:pt x="1786" y="1632"/>
                      </a:lnTo>
                      <a:lnTo>
                        <a:pt x="1810" y="1602"/>
                      </a:lnTo>
                      <a:lnTo>
                        <a:pt x="1824" y="1588"/>
                      </a:lnTo>
                      <a:lnTo>
                        <a:pt x="1840" y="1572"/>
                      </a:lnTo>
                      <a:lnTo>
                        <a:pt x="1858" y="1558"/>
                      </a:lnTo>
                      <a:lnTo>
                        <a:pt x="1878" y="1544"/>
                      </a:lnTo>
                      <a:lnTo>
                        <a:pt x="1900" y="1530"/>
                      </a:lnTo>
                      <a:lnTo>
                        <a:pt x="1924" y="1518"/>
                      </a:lnTo>
                      <a:lnTo>
                        <a:pt x="1924" y="1518"/>
                      </a:lnTo>
                      <a:lnTo>
                        <a:pt x="1952" y="1502"/>
                      </a:lnTo>
                      <a:lnTo>
                        <a:pt x="1982" y="1486"/>
                      </a:lnTo>
                      <a:lnTo>
                        <a:pt x="2014" y="1472"/>
                      </a:lnTo>
                      <a:lnTo>
                        <a:pt x="2048" y="1458"/>
                      </a:lnTo>
                      <a:lnTo>
                        <a:pt x="2086" y="1446"/>
                      </a:lnTo>
                      <a:lnTo>
                        <a:pt x="2122" y="1434"/>
                      </a:lnTo>
                      <a:lnTo>
                        <a:pt x="2162" y="1424"/>
                      </a:lnTo>
                      <a:lnTo>
                        <a:pt x="2202" y="1414"/>
                      </a:lnTo>
                      <a:lnTo>
                        <a:pt x="2288" y="1396"/>
                      </a:lnTo>
                      <a:lnTo>
                        <a:pt x="2376" y="1382"/>
                      </a:lnTo>
                      <a:lnTo>
                        <a:pt x="2470" y="1372"/>
                      </a:lnTo>
                      <a:lnTo>
                        <a:pt x="2564" y="1366"/>
                      </a:lnTo>
                      <a:lnTo>
                        <a:pt x="2564" y="1366"/>
                      </a:lnTo>
                      <a:close/>
                    </a:path>
                  </a:pathLst>
                </a:custGeom>
                <a:noFill/>
                <a:ln w="19050">
                  <a:solidFill>
                    <a:schemeClr val="tx2"/>
                  </a:solidFill>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sz="408" kern="0">
                    <a:solidFill>
                      <a:schemeClr val="tx2"/>
                    </a:solidFill>
                    <a:latin typeface="Segoe UI" panose="020B0502040204020203" pitchFamily="34" charset="0"/>
                  </a:endParaRPr>
                </a:p>
                <a:p>
                  <a:pPr defTabSz="914224">
                    <a:defRPr/>
                  </a:pPr>
                  <a:r>
                    <a:rPr lang="en-US" sz="918" kern="0">
                      <a:solidFill>
                        <a:schemeClr val="tx2"/>
                      </a:solidFill>
                      <a:latin typeface="Segoe UI" panose="020B0502040204020203" pitchFamily="34" charset="0"/>
                    </a:rPr>
                    <a:t>CRM</a:t>
                  </a:r>
                </a:p>
                <a:p>
                  <a:pPr defTabSz="914224">
                    <a:defRPr/>
                  </a:pPr>
                  <a:r>
                    <a:rPr lang="en-US" sz="918" kern="0">
                      <a:solidFill>
                        <a:schemeClr val="tx2"/>
                      </a:solidFill>
                      <a:latin typeface="Segoe UI" panose="020B0502040204020203" pitchFamily="34" charset="0"/>
                    </a:rPr>
                    <a:t>SRM</a:t>
                  </a:r>
                </a:p>
                <a:p>
                  <a:pPr defTabSz="914224">
                    <a:defRPr/>
                  </a:pPr>
                  <a:r>
                    <a:rPr lang="en-US" sz="918" kern="0">
                      <a:solidFill>
                        <a:schemeClr val="tx2"/>
                      </a:solidFill>
                      <a:latin typeface="Segoe UI" panose="020B0502040204020203" pitchFamily="34" charset="0"/>
                    </a:rPr>
                    <a:t>ERP</a:t>
                  </a:r>
                </a:p>
                <a:p>
                  <a:pPr defTabSz="914224">
                    <a:defRPr/>
                  </a:pPr>
                  <a:r>
                    <a:rPr lang="en-US" sz="918" kern="0">
                      <a:solidFill>
                        <a:schemeClr val="tx2"/>
                      </a:solidFill>
                      <a:latin typeface="Segoe UI" panose="020B0502040204020203" pitchFamily="34" charset="0"/>
                    </a:rPr>
                    <a:t>…</a:t>
                  </a:r>
                </a:p>
              </p:txBody>
            </p:sp>
            <p:grpSp>
              <p:nvGrpSpPr>
                <p:cNvPr id="327" name="Group 326">
                  <a:extLst>
                    <a:ext uri="{FF2B5EF4-FFF2-40B4-BE49-F238E27FC236}">
                      <a16:creationId xmlns:a16="http://schemas.microsoft.com/office/drawing/2014/main" id="{602D0673-4C2B-4D49-B1B9-79C8ACFD027A}"/>
                    </a:ext>
                  </a:extLst>
                </p:cNvPr>
                <p:cNvGrpSpPr/>
                <p:nvPr/>
              </p:nvGrpSpPr>
              <p:grpSpPr>
                <a:xfrm>
                  <a:off x="9122322" y="3984444"/>
                  <a:ext cx="394725" cy="516247"/>
                  <a:chOff x="7854005" y="3126813"/>
                  <a:chExt cx="406616" cy="531799"/>
                </a:xfrm>
              </p:grpSpPr>
              <p:sp>
                <p:nvSpPr>
                  <p:cNvPr id="328" name="Freeform 11">
                    <a:extLst>
                      <a:ext uri="{FF2B5EF4-FFF2-40B4-BE49-F238E27FC236}">
                        <a16:creationId xmlns:a16="http://schemas.microsoft.com/office/drawing/2014/main" id="{2C893B8D-B468-4CAC-8532-A52D4C647E9F}"/>
                      </a:ext>
                    </a:extLst>
                  </p:cNvPr>
                  <p:cNvSpPr>
                    <a:spLocks/>
                  </p:cNvSpPr>
                  <p:nvPr/>
                </p:nvSpPr>
                <p:spPr bwMode="auto">
                  <a:xfrm>
                    <a:off x="7854005" y="3173870"/>
                    <a:ext cx="406616" cy="484742"/>
                  </a:xfrm>
                  <a:custGeom>
                    <a:avLst/>
                    <a:gdLst>
                      <a:gd name="T0" fmla="*/ 866 w 1780"/>
                      <a:gd name="T1" fmla="*/ 356 h 2122"/>
                      <a:gd name="T2" fmla="*/ 730 w 1780"/>
                      <a:gd name="T3" fmla="*/ 352 h 2122"/>
                      <a:gd name="T4" fmla="*/ 594 w 1780"/>
                      <a:gd name="T5" fmla="*/ 340 h 2122"/>
                      <a:gd name="T6" fmla="*/ 464 w 1780"/>
                      <a:gd name="T7" fmla="*/ 322 h 2122"/>
                      <a:gd name="T8" fmla="*/ 342 w 1780"/>
                      <a:gd name="T9" fmla="*/ 296 h 2122"/>
                      <a:gd name="T10" fmla="*/ 232 w 1780"/>
                      <a:gd name="T11" fmla="*/ 262 h 2122"/>
                      <a:gd name="T12" fmla="*/ 136 w 1780"/>
                      <a:gd name="T13" fmla="*/ 222 h 2122"/>
                      <a:gd name="T14" fmla="*/ 58 w 1780"/>
                      <a:gd name="T15" fmla="*/ 174 h 2122"/>
                      <a:gd name="T16" fmla="*/ 12 w 1780"/>
                      <a:gd name="T17" fmla="*/ 134 h 2122"/>
                      <a:gd name="T18" fmla="*/ 0 w 1780"/>
                      <a:gd name="T19" fmla="*/ 1940 h 2122"/>
                      <a:gd name="T20" fmla="*/ 26 w 1780"/>
                      <a:gd name="T21" fmla="*/ 1960 h 2122"/>
                      <a:gd name="T22" fmla="*/ 90 w 1780"/>
                      <a:gd name="T23" fmla="*/ 1996 h 2122"/>
                      <a:gd name="T24" fmla="*/ 174 w 1780"/>
                      <a:gd name="T25" fmla="*/ 2030 h 2122"/>
                      <a:gd name="T26" fmla="*/ 272 w 1780"/>
                      <a:gd name="T27" fmla="*/ 2058 h 2122"/>
                      <a:gd name="T28" fmla="*/ 386 w 1780"/>
                      <a:gd name="T29" fmla="*/ 2082 h 2122"/>
                      <a:gd name="T30" fmla="*/ 512 w 1780"/>
                      <a:gd name="T31" fmla="*/ 2102 h 2122"/>
                      <a:gd name="T32" fmla="*/ 646 w 1780"/>
                      <a:gd name="T33" fmla="*/ 2114 h 2122"/>
                      <a:gd name="T34" fmla="*/ 790 w 1780"/>
                      <a:gd name="T35" fmla="*/ 2122 h 2122"/>
                      <a:gd name="T36" fmla="*/ 866 w 1780"/>
                      <a:gd name="T37" fmla="*/ 2122 h 2122"/>
                      <a:gd name="T38" fmla="*/ 1050 w 1780"/>
                      <a:gd name="T39" fmla="*/ 2118 h 2122"/>
                      <a:gd name="T40" fmla="*/ 1222 w 1780"/>
                      <a:gd name="T41" fmla="*/ 2102 h 2122"/>
                      <a:gd name="T42" fmla="*/ 1376 w 1780"/>
                      <a:gd name="T43" fmla="*/ 2076 h 2122"/>
                      <a:gd name="T44" fmla="*/ 1512 w 1780"/>
                      <a:gd name="T45" fmla="*/ 2044 h 2122"/>
                      <a:gd name="T46" fmla="*/ 1624 w 1780"/>
                      <a:gd name="T47" fmla="*/ 2004 h 2122"/>
                      <a:gd name="T48" fmla="*/ 1690 w 1780"/>
                      <a:gd name="T49" fmla="*/ 1970 h 2122"/>
                      <a:gd name="T50" fmla="*/ 1724 w 1780"/>
                      <a:gd name="T51" fmla="*/ 1946 h 2122"/>
                      <a:gd name="T52" fmla="*/ 1750 w 1780"/>
                      <a:gd name="T53" fmla="*/ 1922 h 2122"/>
                      <a:gd name="T54" fmla="*/ 1770 w 1780"/>
                      <a:gd name="T55" fmla="*/ 1894 h 2122"/>
                      <a:gd name="T56" fmla="*/ 1778 w 1780"/>
                      <a:gd name="T57" fmla="*/ 1868 h 2122"/>
                      <a:gd name="T58" fmla="*/ 1780 w 1780"/>
                      <a:gd name="T59" fmla="*/ 0 h 2122"/>
                      <a:gd name="T60" fmla="*/ 1778 w 1780"/>
                      <a:gd name="T61" fmla="*/ 22 h 2122"/>
                      <a:gd name="T62" fmla="*/ 1768 w 1780"/>
                      <a:gd name="T63" fmla="*/ 64 h 2122"/>
                      <a:gd name="T64" fmla="*/ 1748 w 1780"/>
                      <a:gd name="T65" fmla="*/ 102 h 2122"/>
                      <a:gd name="T66" fmla="*/ 1718 w 1780"/>
                      <a:gd name="T67" fmla="*/ 138 h 2122"/>
                      <a:gd name="T68" fmla="*/ 1682 w 1780"/>
                      <a:gd name="T69" fmla="*/ 170 h 2122"/>
                      <a:gd name="T70" fmla="*/ 1636 w 1780"/>
                      <a:gd name="T71" fmla="*/ 202 h 2122"/>
                      <a:gd name="T72" fmla="*/ 1584 w 1780"/>
                      <a:gd name="T73" fmla="*/ 228 h 2122"/>
                      <a:gd name="T74" fmla="*/ 1494 w 1780"/>
                      <a:gd name="T75" fmla="*/ 266 h 2122"/>
                      <a:gd name="T76" fmla="*/ 1356 w 1780"/>
                      <a:gd name="T77" fmla="*/ 304 h 2122"/>
                      <a:gd name="T78" fmla="*/ 1200 w 1780"/>
                      <a:gd name="T79" fmla="*/ 332 h 2122"/>
                      <a:gd name="T80" fmla="*/ 1036 w 1780"/>
                      <a:gd name="T81" fmla="*/ 350 h 2122"/>
                      <a:gd name="T82" fmla="*/ 866 w 1780"/>
                      <a:gd name="T83" fmla="*/ 356 h 2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80" h="2122">
                        <a:moveTo>
                          <a:pt x="866" y="356"/>
                        </a:moveTo>
                        <a:lnTo>
                          <a:pt x="866" y="356"/>
                        </a:lnTo>
                        <a:lnTo>
                          <a:pt x="798" y="354"/>
                        </a:lnTo>
                        <a:lnTo>
                          <a:pt x="730" y="352"/>
                        </a:lnTo>
                        <a:lnTo>
                          <a:pt x="660" y="348"/>
                        </a:lnTo>
                        <a:lnTo>
                          <a:pt x="594" y="340"/>
                        </a:lnTo>
                        <a:lnTo>
                          <a:pt x="528" y="332"/>
                        </a:lnTo>
                        <a:lnTo>
                          <a:pt x="464" y="322"/>
                        </a:lnTo>
                        <a:lnTo>
                          <a:pt x="402" y="310"/>
                        </a:lnTo>
                        <a:lnTo>
                          <a:pt x="342" y="296"/>
                        </a:lnTo>
                        <a:lnTo>
                          <a:pt x="286" y="280"/>
                        </a:lnTo>
                        <a:lnTo>
                          <a:pt x="232" y="262"/>
                        </a:lnTo>
                        <a:lnTo>
                          <a:pt x="182" y="244"/>
                        </a:lnTo>
                        <a:lnTo>
                          <a:pt x="136" y="222"/>
                        </a:lnTo>
                        <a:lnTo>
                          <a:pt x="96" y="200"/>
                        </a:lnTo>
                        <a:lnTo>
                          <a:pt x="58" y="174"/>
                        </a:lnTo>
                        <a:lnTo>
                          <a:pt x="26" y="148"/>
                        </a:lnTo>
                        <a:lnTo>
                          <a:pt x="12" y="134"/>
                        </a:lnTo>
                        <a:lnTo>
                          <a:pt x="0" y="120"/>
                        </a:lnTo>
                        <a:lnTo>
                          <a:pt x="0" y="1940"/>
                        </a:lnTo>
                        <a:lnTo>
                          <a:pt x="0" y="1940"/>
                        </a:lnTo>
                        <a:lnTo>
                          <a:pt x="26" y="1960"/>
                        </a:lnTo>
                        <a:lnTo>
                          <a:pt x="56" y="1978"/>
                        </a:lnTo>
                        <a:lnTo>
                          <a:pt x="90" y="1996"/>
                        </a:lnTo>
                        <a:lnTo>
                          <a:pt x="130" y="2014"/>
                        </a:lnTo>
                        <a:lnTo>
                          <a:pt x="174" y="2030"/>
                        </a:lnTo>
                        <a:lnTo>
                          <a:pt x="222" y="2044"/>
                        </a:lnTo>
                        <a:lnTo>
                          <a:pt x="272" y="2058"/>
                        </a:lnTo>
                        <a:lnTo>
                          <a:pt x="328" y="2072"/>
                        </a:lnTo>
                        <a:lnTo>
                          <a:pt x="386" y="2082"/>
                        </a:lnTo>
                        <a:lnTo>
                          <a:pt x="448" y="2092"/>
                        </a:lnTo>
                        <a:lnTo>
                          <a:pt x="512" y="2102"/>
                        </a:lnTo>
                        <a:lnTo>
                          <a:pt x="578" y="2108"/>
                        </a:lnTo>
                        <a:lnTo>
                          <a:pt x="646" y="2114"/>
                        </a:lnTo>
                        <a:lnTo>
                          <a:pt x="718" y="2118"/>
                        </a:lnTo>
                        <a:lnTo>
                          <a:pt x="790" y="2122"/>
                        </a:lnTo>
                        <a:lnTo>
                          <a:pt x="866" y="2122"/>
                        </a:lnTo>
                        <a:lnTo>
                          <a:pt x="866" y="2122"/>
                        </a:lnTo>
                        <a:lnTo>
                          <a:pt x="958" y="2122"/>
                        </a:lnTo>
                        <a:lnTo>
                          <a:pt x="1050" y="2118"/>
                        </a:lnTo>
                        <a:lnTo>
                          <a:pt x="1138" y="2110"/>
                        </a:lnTo>
                        <a:lnTo>
                          <a:pt x="1222" y="2102"/>
                        </a:lnTo>
                        <a:lnTo>
                          <a:pt x="1302" y="2090"/>
                        </a:lnTo>
                        <a:lnTo>
                          <a:pt x="1376" y="2076"/>
                        </a:lnTo>
                        <a:lnTo>
                          <a:pt x="1446" y="2062"/>
                        </a:lnTo>
                        <a:lnTo>
                          <a:pt x="1512" y="2044"/>
                        </a:lnTo>
                        <a:lnTo>
                          <a:pt x="1570" y="2024"/>
                        </a:lnTo>
                        <a:lnTo>
                          <a:pt x="1624" y="2004"/>
                        </a:lnTo>
                        <a:lnTo>
                          <a:pt x="1670" y="1982"/>
                        </a:lnTo>
                        <a:lnTo>
                          <a:pt x="1690" y="1970"/>
                        </a:lnTo>
                        <a:lnTo>
                          <a:pt x="1708" y="1958"/>
                        </a:lnTo>
                        <a:lnTo>
                          <a:pt x="1724" y="1946"/>
                        </a:lnTo>
                        <a:lnTo>
                          <a:pt x="1738" y="1934"/>
                        </a:lnTo>
                        <a:lnTo>
                          <a:pt x="1750" y="1922"/>
                        </a:lnTo>
                        <a:lnTo>
                          <a:pt x="1762" y="1908"/>
                        </a:lnTo>
                        <a:lnTo>
                          <a:pt x="1770" y="1894"/>
                        </a:lnTo>
                        <a:lnTo>
                          <a:pt x="1774" y="1882"/>
                        </a:lnTo>
                        <a:lnTo>
                          <a:pt x="1778" y="1868"/>
                        </a:lnTo>
                        <a:lnTo>
                          <a:pt x="1780" y="1854"/>
                        </a:lnTo>
                        <a:lnTo>
                          <a:pt x="1780" y="0"/>
                        </a:lnTo>
                        <a:lnTo>
                          <a:pt x="1780" y="0"/>
                        </a:lnTo>
                        <a:lnTo>
                          <a:pt x="1778" y="22"/>
                        </a:lnTo>
                        <a:lnTo>
                          <a:pt x="1774" y="44"/>
                        </a:lnTo>
                        <a:lnTo>
                          <a:pt x="1768" y="64"/>
                        </a:lnTo>
                        <a:lnTo>
                          <a:pt x="1760" y="82"/>
                        </a:lnTo>
                        <a:lnTo>
                          <a:pt x="1748" y="102"/>
                        </a:lnTo>
                        <a:lnTo>
                          <a:pt x="1734" y="120"/>
                        </a:lnTo>
                        <a:lnTo>
                          <a:pt x="1718" y="138"/>
                        </a:lnTo>
                        <a:lnTo>
                          <a:pt x="1700" y="154"/>
                        </a:lnTo>
                        <a:lnTo>
                          <a:pt x="1682" y="170"/>
                        </a:lnTo>
                        <a:lnTo>
                          <a:pt x="1660" y="186"/>
                        </a:lnTo>
                        <a:lnTo>
                          <a:pt x="1636" y="202"/>
                        </a:lnTo>
                        <a:lnTo>
                          <a:pt x="1610" y="216"/>
                        </a:lnTo>
                        <a:lnTo>
                          <a:pt x="1584" y="228"/>
                        </a:lnTo>
                        <a:lnTo>
                          <a:pt x="1554" y="242"/>
                        </a:lnTo>
                        <a:lnTo>
                          <a:pt x="1494" y="266"/>
                        </a:lnTo>
                        <a:lnTo>
                          <a:pt x="1426" y="286"/>
                        </a:lnTo>
                        <a:lnTo>
                          <a:pt x="1356" y="304"/>
                        </a:lnTo>
                        <a:lnTo>
                          <a:pt x="1280" y="320"/>
                        </a:lnTo>
                        <a:lnTo>
                          <a:pt x="1200" y="332"/>
                        </a:lnTo>
                        <a:lnTo>
                          <a:pt x="1120" y="342"/>
                        </a:lnTo>
                        <a:lnTo>
                          <a:pt x="1036" y="350"/>
                        </a:lnTo>
                        <a:lnTo>
                          <a:pt x="952" y="354"/>
                        </a:lnTo>
                        <a:lnTo>
                          <a:pt x="866" y="356"/>
                        </a:lnTo>
                        <a:lnTo>
                          <a:pt x="866" y="356"/>
                        </a:lnTo>
                        <a:close/>
                      </a:path>
                    </a:pathLst>
                  </a:custGeom>
                  <a:noFill/>
                  <a:ln w="19050">
                    <a:solidFill>
                      <a:schemeClr val="tx2"/>
                    </a:solidFill>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panose="020B0502040204020203" pitchFamily="34" charset="0"/>
                    </a:endParaRPr>
                  </a:p>
                </p:txBody>
              </p:sp>
              <p:sp>
                <p:nvSpPr>
                  <p:cNvPr id="329" name="Freeform 12">
                    <a:extLst>
                      <a:ext uri="{FF2B5EF4-FFF2-40B4-BE49-F238E27FC236}">
                        <a16:creationId xmlns:a16="http://schemas.microsoft.com/office/drawing/2014/main" id="{92EEDEE4-408D-4EEB-B777-217ED5259710}"/>
                      </a:ext>
                    </a:extLst>
                  </p:cNvPr>
                  <p:cNvSpPr>
                    <a:spLocks/>
                  </p:cNvSpPr>
                  <p:nvPr/>
                </p:nvSpPr>
                <p:spPr bwMode="auto">
                  <a:xfrm>
                    <a:off x="7877762" y="3126813"/>
                    <a:ext cx="348593" cy="94116"/>
                  </a:xfrm>
                  <a:custGeom>
                    <a:avLst/>
                    <a:gdLst>
                      <a:gd name="T0" fmla="*/ 0 w 1526"/>
                      <a:gd name="T1" fmla="*/ 206 h 412"/>
                      <a:gd name="T2" fmla="*/ 2 w 1526"/>
                      <a:gd name="T3" fmla="*/ 220 h 412"/>
                      <a:gd name="T4" fmla="*/ 12 w 1526"/>
                      <a:gd name="T5" fmla="*/ 236 h 412"/>
                      <a:gd name="T6" fmla="*/ 52 w 1526"/>
                      <a:gd name="T7" fmla="*/ 270 h 412"/>
                      <a:gd name="T8" fmla="*/ 116 w 1526"/>
                      <a:gd name="T9" fmla="*/ 304 h 412"/>
                      <a:gd name="T10" fmla="*/ 204 w 1526"/>
                      <a:gd name="T11" fmla="*/ 336 h 412"/>
                      <a:gd name="T12" fmla="*/ 312 w 1526"/>
                      <a:gd name="T13" fmla="*/ 366 h 412"/>
                      <a:gd name="T14" fmla="*/ 444 w 1526"/>
                      <a:gd name="T15" fmla="*/ 390 h 412"/>
                      <a:gd name="T16" fmla="*/ 594 w 1526"/>
                      <a:gd name="T17" fmla="*/ 406 h 412"/>
                      <a:gd name="T18" fmla="*/ 762 w 1526"/>
                      <a:gd name="T19" fmla="*/ 412 h 412"/>
                      <a:gd name="T20" fmla="*/ 850 w 1526"/>
                      <a:gd name="T21" fmla="*/ 412 h 412"/>
                      <a:gd name="T22" fmla="*/ 1010 w 1526"/>
                      <a:gd name="T23" fmla="*/ 400 h 412"/>
                      <a:gd name="T24" fmla="*/ 1150 w 1526"/>
                      <a:gd name="T25" fmla="*/ 380 h 412"/>
                      <a:gd name="T26" fmla="*/ 1270 w 1526"/>
                      <a:gd name="T27" fmla="*/ 352 h 412"/>
                      <a:gd name="T28" fmla="*/ 1370 w 1526"/>
                      <a:gd name="T29" fmla="*/ 320 h 412"/>
                      <a:gd name="T30" fmla="*/ 1446 w 1526"/>
                      <a:gd name="T31" fmla="*/ 286 h 412"/>
                      <a:gd name="T32" fmla="*/ 1496 w 1526"/>
                      <a:gd name="T33" fmla="*/ 252 h 412"/>
                      <a:gd name="T34" fmla="*/ 1520 w 1526"/>
                      <a:gd name="T35" fmla="*/ 228 h 412"/>
                      <a:gd name="T36" fmla="*/ 1526 w 1526"/>
                      <a:gd name="T37" fmla="*/ 214 h 412"/>
                      <a:gd name="T38" fmla="*/ 1526 w 1526"/>
                      <a:gd name="T39" fmla="*/ 206 h 412"/>
                      <a:gd name="T40" fmla="*/ 1524 w 1526"/>
                      <a:gd name="T41" fmla="*/ 192 h 412"/>
                      <a:gd name="T42" fmla="*/ 1514 w 1526"/>
                      <a:gd name="T43" fmla="*/ 176 h 412"/>
                      <a:gd name="T44" fmla="*/ 1474 w 1526"/>
                      <a:gd name="T45" fmla="*/ 144 h 412"/>
                      <a:gd name="T46" fmla="*/ 1410 w 1526"/>
                      <a:gd name="T47" fmla="*/ 110 h 412"/>
                      <a:gd name="T48" fmla="*/ 1322 w 1526"/>
                      <a:gd name="T49" fmla="*/ 76 h 412"/>
                      <a:gd name="T50" fmla="*/ 1212 w 1526"/>
                      <a:gd name="T51" fmla="*/ 46 h 412"/>
                      <a:gd name="T52" fmla="*/ 1082 w 1526"/>
                      <a:gd name="T53" fmla="*/ 22 h 412"/>
                      <a:gd name="T54" fmla="*/ 932 w 1526"/>
                      <a:gd name="T55" fmla="*/ 6 h 412"/>
                      <a:gd name="T56" fmla="*/ 762 w 1526"/>
                      <a:gd name="T57" fmla="*/ 0 h 412"/>
                      <a:gd name="T58" fmla="*/ 676 w 1526"/>
                      <a:gd name="T59" fmla="*/ 2 h 412"/>
                      <a:gd name="T60" fmla="*/ 516 w 1526"/>
                      <a:gd name="T61" fmla="*/ 14 h 412"/>
                      <a:gd name="T62" fmla="*/ 376 w 1526"/>
                      <a:gd name="T63" fmla="*/ 34 h 412"/>
                      <a:gd name="T64" fmla="*/ 256 w 1526"/>
                      <a:gd name="T65" fmla="*/ 60 h 412"/>
                      <a:gd name="T66" fmla="*/ 156 w 1526"/>
                      <a:gd name="T67" fmla="*/ 92 h 412"/>
                      <a:gd name="T68" fmla="*/ 80 w 1526"/>
                      <a:gd name="T69" fmla="*/ 126 h 412"/>
                      <a:gd name="T70" fmla="*/ 28 w 1526"/>
                      <a:gd name="T71" fmla="*/ 160 h 412"/>
                      <a:gd name="T72" fmla="*/ 6 w 1526"/>
                      <a:gd name="T73" fmla="*/ 184 h 412"/>
                      <a:gd name="T74" fmla="*/ 0 w 1526"/>
                      <a:gd name="T75" fmla="*/ 200 h 412"/>
                      <a:gd name="T76" fmla="*/ 0 w 1526"/>
                      <a:gd name="T77"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6" h="412">
                        <a:moveTo>
                          <a:pt x="0" y="206"/>
                        </a:moveTo>
                        <a:lnTo>
                          <a:pt x="0" y="206"/>
                        </a:lnTo>
                        <a:lnTo>
                          <a:pt x="0" y="214"/>
                        </a:lnTo>
                        <a:lnTo>
                          <a:pt x="2" y="220"/>
                        </a:lnTo>
                        <a:lnTo>
                          <a:pt x="6" y="228"/>
                        </a:lnTo>
                        <a:lnTo>
                          <a:pt x="12" y="236"/>
                        </a:lnTo>
                        <a:lnTo>
                          <a:pt x="28" y="252"/>
                        </a:lnTo>
                        <a:lnTo>
                          <a:pt x="52" y="270"/>
                        </a:lnTo>
                        <a:lnTo>
                          <a:pt x="80" y="286"/>
                        </a:lnTo>
                        <a:lnTo>
                          <a:pt x="116" y="304"/>
                        </a:lnTo>
                        <a:lnTo>
                          <a:pt x="156" y="320"/>
                        </a:lnTo>
                        <a:lnTo>
                          <a:pt x="204" y="336"/>
                        </a:lnTo>
                        <a:lnTo>
                          <a:pt x="256" y="352"/>
                        </a:lnTo>
                        <a:lnTo>
                          <a:pt x="312" y="366"/>
                        </a:lnTo>
                        <a:lnTo>
                          <a:pt x="376" y="380"/>
                        </a:lnTo>
                        <a:lnTo>
                          <a:pt x="444" y="390"/>
                        </a:lnTo>
                        <a:lnTo>
                          <a:pt x="516" y="400"/>
                        </a:lnTo>
                        <a:lnTo>
                          <a:pt x="594" y="406"/>
                        </a:lnTo>
                        <a:lnTo>
                          <a:pt x="676" y="412"/>
                        </a:lnTo>
                        <a:lnTo>
                          <a:pt x="762" y="412"/>
                        </a:lnTo>
                        <a:lnTo>
                          <a:pt x="762" y="412"/>
                        </a:lnTo>
                        <a:lnTo>
                          <a:pt x="850" y="412"/>
                        </a:lnTo>
                        <a:lnTo>
                          <a:pt x="932" y="406"/>
                        </a:lnTo>
                        <a:lnTo>
                          <a:pt x="1010" y="400"/>
                        </a:lnTo>
                        <a:lnTo>
                          <a:pt x="1082" y="390"/>
                        </a:lnTo>
                        <a:lnTo>
                          <a:pt x="1150" y="380"/>
                        </a:lnTo>
                        <a:lnTo>
                          <a:pt x="1212" y="366"/>
                        </a:lnTo>
                        <a:lnTo>
                          <a:pt x="1270" y="352"/>
                        </a:lnTo>
                        <a:lnTo>
                          <a:pt x="1322" y="336"/>
                        </a:lnTo>
                        <a:lnTo>
                          <a:pt x="1370" y="320"/>
                        </a:lnTo>
                        <a:lnTo>
                          <a:pt x="1410" y="304"/>
                        </a:lnTo>
                        <a:lnTo>
                          <a:pt x="1446" y="286"/>
                        </a:lnTo>
                        <a:lnTo>
                          <a:pt x="1474" y="270"/>
                        </a:lnTo>
                        <a:lnTo>
                          <a:pt x="1496" y="252"/>
                        </a:lnTo>
                        <a:lnTo>
                          <a:pt x="1514" y="236"/>
                        </a:lnTo>
                        <a:lnTo>
                          <a:pt x="1520" y="228"/>
                        </a:lnTo>
                        <a:lnTo>
                          <a:pt x="1524" y="220"/>
                        </a:lnTo>
                        <a:lnTo>
                          <a:pt x="1526" y="214"/>
                        </a:lnTo>
                        <a:lnTo>
                          <a:pt x="1526" y="206"/>
                        </a:lnTo>
                        <a:lnTo>
                          <a:pt x="1526" y="206"/>
                        </a:lnTo>
                        <a:lnTo>
                          <a:pt x="1526" y="200"/>
                        </a:lnTo>
                        <a:lnTo>
                          <a:pt x="1524" y="192"/>
                        </a:lnTo>
                        <a:lnTo>
                          <a:pt x="1520" y="184"/>
                        </a:lnTo>
                        <a:lnTo>
                          <a:pt x="1514" y="176"/>
                        </a:lnTo>
                        <a:lnTo>
                          <a:pt x="1496" y="160"/>
                        </a:lnTo>
                        <a:lnTo>
                          <a:pt x="1474" y="144"/>
                        </a:lnTo>
                        <a:lnTo>
                          <a:pt x="1446" y="126"/>
                        </a:lnTo>
                        <a:lnTo>
                          <a:pt x="1410" y="110"/>
                        </a:lnTo>
                        <a:lnTo>
                          <a:pt x="1370" y="92"/>
                        </a:lnTo>
                        <a:lnTo>
                          <a:pt x="1322" y="76"/>
                        </a:lnTo>
                        <a:lnTo>
                          <a:pt x="1270" y="60"/>
                        </a:lnTo>
                        <a:lnTo>
                          <a:pt x="1212" y="46"/>
                        </a:lnTo>
                        <a:lnTo>
                          <a:pt x="1150" y="34"/>
                        </a:lnTo>
                        <a:lnTo>
                          <a:pt x="1082" y="22"/>
                        </a:lnTo>
                        <a:lnTo>
                          <a:pt x="1010" y="14"/>
                        </a:lnTo>
                        <a:lnTo>
                          <a:pt x="932" y="6"/>
                        </a:lnTo>
                        <a:lnTo>
                          <a:pt x="850" y="2"/>
                        </a:lnTo>
                        <a:lnTo>
                          <a:pt x="762" y="0"/>
                        </a:lnTo>
                        <a:lnTo>
                          <a:pt x="762" y="0"/>
                        </a:lnTo>
                        <a:lnTo>
                          <a:pt x="676" y="2"/>
                        </a:lnTo>
                        <a:lnTo>
                          <a:pt x="594" y="6"/>
                        </a:lnTo>
                        <a:lnTo>
                          <a:pt x="516" y="14"/>
                        </a:lnTo>
                        <a:lnTo>
                          <a:pt x="444" y="22"/>
                        </a:lnTo>
                        <a:lnTo>
                          <a:pt x="376" y="34"/>
                        </a:lnTo>
                        <a:lnTo>
                          <a:pt x="312" y="46"/>
                        </a:lnTo>
                        <a:lnTo>
                          <a:pt x="256" y="60"/>
                        </a:lnTo>
                        <a:lnTo>
                          <a:pt x="204" y="76"/>
                        </a:lnTo>
                        <a:lnTo>
                          <a:pt x="156" y="92"/>
                        </a:lnTo>
                        <a:lnTo>
                          <a:pt x="116" y="110"/>
                        </a:lnTo>
                        <a:lnTo>
                          <a:pt x="80" y="126"/>
                        </a:lnTo>
                        <a:lnTo>
                          <a:pt x="52" y="144"/>
                        </a:lnTo>
                        <a:lnTo>
                          <a:pt x="28" y="160"/>
                        </a:lnTo>
                        <a:lnTo>
                          <a:pt x="12" y="176"/>
                        </a:lnTo>
                        <a:lnTo>
                          <a:pt x="6" y="184"/>
                        </a:lnTo>
                        <a:lnTo>
                          <a:pt x="2" y="192"/>
                        </a:lnTo>
                        <a:lnTo>
                          <a:pt x="0" y="200"/>
                        </a:lnTo>
                        <a:lnTo>
                          <a:pt x="0" y="206"/>
                        </a:lnTo>
                        <a:lnTo>
                          <a:pt x="0" y="206"/>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FFFFFF"/>
                      </a:solidFill>
                      <a:latin typeface="Segoe UI" panose="020B0502040204020203" pitchFamily="34" charset="0"/>
                    </a:endParaRPr>
                  </a:p>
                </p:txBody>
              </p:sp>
            </p:grpSp>
          </p:grpSp>
          <p:sp>
            <p:nvSpPr>
              <p:cNvPr id="325" name="TextBox 324">
                <a:extLst>
                  <a:ext uri="{FF2B5EF4-FFF2-40B4-BE49-F238E27FC236}">
                    <a16:creationId xmlns:a16="http://schemas.microsoft.com/office/drawing/2014/main" id="{7F043EBE-C76E-479D-824A-121D68253846}"/>
                  </a:ext>
                </a:extLst>
              </p:cNvPr>
              <p:cNvSpPr txBox="1"/>
              <p:nvPr/>
            </p:nvSpPr>
            <p:spPr>
              <a:xfrm>
                <a:off x="8438622" y="4126624"/>
                <a:ext cx="1753274" cy="523219"/>
              </a:xfrm>
              <a:prstGeom prst="rect">
                <a:avLst/>
              </a:prstGeom>
              <a:noFill/>
            </p:spPr>
            <p:txBody>
              <a:bodyPr wrap="square" rtlCol="0">
                <a:spAutoFit/>
              </a:bodyPr>
              <a:lstStyle/>
              <a:p>
                <a:pPr defTabSz="932597"/>
                <a:r>
                  <a:rPr lang="en-US" sz="1400">
                    <a:solidFill>
                      <a:schemeClr val="accent5"/>
                    </a:solidFill>
                    <a:latin typeface="Segoe UI" panose="020B0502040204020203" pitchFamily="34" charset="0"/>
                  </a:rPr>
                  <a:t>Process interoperability (IT)</a:t>
                </a:r>
              </a:p>
            </p:txBody>
          </p:sp>
        </p:grpSp>
        <p:grpSp>
          <p:nvGrpSpPr>
            <p:cNvPr id="193" name="Group 192">
              <a:extLst>
                <a:ext uri="{FF2B5EF4-FFF2-40B4-BE49-F238E27FC236}">
                  <a16:creationId xmlns:a16="http://schemas.microsoft.com/office/drawing/2014/main" id="{A55BB793-298E-4548-AB44-D455A1813CF1}"/>
                </a:ext>
              </a:extLst>
            </p:cNvPr>
            <p:cNvGrpSpPr/>
            <p:nvPr/>
          </p:nvGrpSpPr>
          <p:grpSpPr>
            <a:xfrm>
              <a:off x="2628324" y="3737481"/>
              <a:ext cx="1163780" cy="1145307"/>
              <a:chOff x="2856352" y="4437467"/>
              <a:chExt cx="1198840" cy="1179810"/>
            </a:xfrm>
          </p:grpSpPr>
          <p:sp>
            <p:nvSpPr>
              <p:cNvPr id="278" name="TextBox 277">
                <a:extLst>
                  <a:ext uri="{FF2B5EF4-FFF2-40B4-BE49-F238E27FC236}">
                    <a16:creationId xmlns:a16="http://schemas.microsoft.com/office/drawing/2014/main" id="{907E1D14-E4C5-4F34-897E-2808B801712B}"/>
                  </a:ext>
                </a:extLst>
              </p:cNvPr>
              <p:cNvSpPr txBox="1"/>
              <p:nvPr/>
            </p:nvSpPr>
            <p:spPr>
              <a:xfrm>
                <a:off x="2856352" y="5078295"/>
                <a:ext cx="1198840" cy="538982"/>
              </a:xfrm>
              <a:prstGeom prst="rect">
                <a:avLst/>
              </a:prstGeom>
              <a:noFill/>
            </p:spPr>
            <p:txBody>
              <a:bodyPr wrap="none" rtlCol="0">
                <a:spAutoFit/>
              </a:bodyPr>
              <a:lstStyle/>
              <a:p>
                <a:pPr defTabSz="932597"/>
                <a:r>
                  <a:rPr lang="en-US" sz="1400">
                    <a:solidFill>
                      <a:schemeClr val="accent5"/>
                    </a:solidFill>
                    <a:latin typeface="Segoe UI" panose="020B0502040204020203" pitchFamily="34" charset="0"/>
                  </a:rPr>
                  <a:t>Information </a:t>
                </a:r>
              </a:p>
              <a:p>
                <a:pPr defTabSz="932597"/>
                <a:r>
                  <a:rPr lang="en-US" sz="1400">
                    <a:solidFill>
                      <a:schemeClr val="accent5"/>
                    </a:solidFill>
                    <a:latin typeface="Segoe UI" panose="020B0502040204020203" pitchFamily="34" charset="0"/>
                  </a:rPr>
                  <a:t>Flow (OT)</a:t>
                </a:r>
              </a:p>
            </p:txBody>
          </p:sp>
          <p:grpSp>
            <p:nvGrpSpPr>
              <p:cNvPr id="279" name="Group 4">
                <a:extLst>
                  <a:ext uri="{FF2B5EF4-FFF2-40B4-BE49-F238E27FC236}">
                    <a16:creationId xmlns:a16="http://schemas.microsoft.com/office/drawing/2014/main" id="{C79CC576-6525-480E-8FE0-9D16934F57BD}"/>
                  </a:ext>
                </a:extLst>
              </p:cNvPr>
              <p:cNvGrpSpPr>
                <a:grpSpLocks noChangeAspect="1"/>
              </p:cNvGrpSpPr>
              <p:nvPr/>
            </p:nvGrpSpPr>
            <p:grpSpPr bwMode="auto">
              <a:xfrm>
                <a:off x="3111325" y="4437467"/>
                <a:ext cx="622161" cy="545264"/>
                <a:chOff x="3822" y="2121"/>
                <a:chExt cx="534" cy="468"/>
              </a:xfrm>
              <a:solidFill>
                <a:schemeClr val="tx2"/>
              </a:solidFill>
            </p:grpSpPr>
            <p:sp>
              <p:nvSpPr>
                <p:cNvPr id="308" name="Freeform 5">
                  <a:extLst>
                    <a:ext uri="{FF2B5EF4-FFF2-40B4-BE49-F238E27FC236}">
                      <a16:creationId xmlns:a16="http://schemas.microsoft.com/office/drawing/2014/main" id="{426F0A36-153B-41AA-BA77-2DD76E724F93}"/>
                    </a:ext>
                  </a:extLst>
                </p:cNvPr>
                <p:cNvSpPr>
                  <a:spLocks/>
                </p:cNvSpPr>
                <p:nvPr/>
              </p:nvSpPr>
              <p:spPr bwMode="auto">
                <a:xfrm>
                  <a:off x="4147" y="2284"/>
                  <a:ext cx="209" cy="305"/>
                </a:xfrm>
                <a:custGeom>
                  <a:avLst/>
                  <a:gdLst>
                    <a:gd name="T0" fmla="*/ 96 w 100"/>
                    <a:gd name="T1" fmla="*/ 146 h 146"/>
                    <a:gd name="T2" fmla="*/ 0 w 100"/>
                    <a:gd name="T3" fmla="*/ 146 h 146"/>
                    <a:gd name="T4" fmla="*/ 0 w 100"/>
                    <a:gd name="T5" fmla="*/ 138 h 146"/>
                    <a:gd name="T6" fmla="*/ 89 w 100"/>
                    <a:gd name="T7" fmla="*/ 138 h 146"/>
                    <a:gd name="T8" fmla="*/ 12 w 100"/>
                    <a:gd name="T9" fmla="*/ 4 h 146"/>
                    <a:gd name="T10" fmla="*/ 19 w 100"/>
                    <a:gd name="T11" fmla="*/ 0 h 146"/>
                    <a:gd name="T12" fmla="*/ 99 w 100"/>
                    <a:gd name="T13" fmla="*/ 140 h 146"/>
                    <a:gd name="T14" fmla="*/ 99 w 100"/>
                    <a:gd name="T15" fmla="*/ 144 h 146"/>
                    <a:gd name="T16" fmla="*/ 96 w 100"/>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46">
                      <a:moveTo>
                        <a:pt x="96" y="146"/>
                      </a:moveTo>
                      <a:cubicBezTo>
                        <a:pt x="0" y="146"/>
                        <a:pt x="0" y="146"/>
                        <a:pt x="0" y="146"/>
                      </a:cubicBezTo>
                      <a:cubicBezTo>
                        <a:pt x="0" y="138"/>
                        <a:pt x="0" y="138"/>
                        <a:pt x="0" y="138"/>
                      </a:cubicBezTo>
                      <a:cubicBezTo>
                        <a:pt x="89" y="138"/>
                        <a:pt x="89" y="138"/>
                        <a:pt x="89" y="138"/>
                      </a:cubicBezTo>
                      <a:cubicBezTo>
                        <a:pt x="12" y="4"/>
                        <a:pt x="12" y="4"/>
                        <a:pt x="12" y="4"/>
                      </a:cubicBezTo>
                      <a:cubicBezTo>
                        <a:pt x="19" y="0"/>
                        <a:pt x="19" y="0"/>
                        <a:pt x="19" y="0"/>
                      </a:cubicBezTo>
                      <a:cubicBezTo>
                        <a:pt x="99" y="140"/>
                        <a:pt x="99" y="140"/>
                        <a:pt x="99" y="140"/>
                      </a:cubicBezTo>
                      <a:cubicBezTo>
                        <a:pt x="100" y="141"/>
                        <a:pt x="100" y="143"/>
                        <a:pt x="99" y="144"/>
                      </a:cubicBezTo>
                      <a:cubicBezTo>
                        <a:pt x="98" y="145"/>
                        <a:pt x="97" y="146"/>
                        <a:pt x="96" y="1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6">
                  <a:extLst>
                    <a:ext uri="{FF2B5EF4-FFF2-40B4-BE49-F238E27FC236}">
                      <a16:creationId xmlns:a16="http://schemas.microsoft.com/office/drawing/2014/main" id="{8737A507-C1C4-4875-868D-9345642D1BF8}"/>
                    </a:ext>
                  </a:extLst>
                </p:cNvPr>
                <p:cNvSpPr>
                  <a:spLocks/>
                </p:cNvSpPr>
                <p:nvPr/>
              </p:nvSpPr>
              <p:spPr bwMode="auto">
                <a:xfrm>
                  <a:off x="3822" y="2284"/>
                  <a:ext cx="209" cy="305"/>
                </a:xfrm>
                <a:custGeom>
                  <a:avLst/>
                  <a:gdLst>
                    <a:gd name="T0" fmla="*/ 100 w 100"/>
                    <a:gd name="T1" fmla="*/ 146 h 146"/>
                    <a:gd name="T2" fmla="*/ 4 w 100"/>
                    <a:gd name="T3" fmla="*/ 146 h 146"/>
                    <a:gd name="T4" fmla="*/ 1 w 100"/>
                    <a:gd name="T5" fmla="*/ 144 h 146"/>
                    <a:gd name="T6" fmla="*/ 1 w 100"/>
                    <a:gd name="T7" fmla="*/ 140 h 146"/>
                    <a:gd name="T8" fmla="*/ 80 w 100"/>
                    <a:gd name="T9" fmla="*/ 0 h 146"/>
                    <a:gd name="T10" fmla="*/ 87 w 100"/>
                    <a:gd name="T11" fmla="*/ 4 h 146"/>
                    <a:gd name="T12" fmla="*/ 11 w 100"/>
                    <a:gd name="T13" fmla="*/ 138 h 146"/>
                    <a:gd name="T14" fmla="*/ 100 w 100"/>
                    <a:gd name="T15" fmla="*/ 138 h 146"/>
                    <a:gd name="T16" fmla="*/ 100 w 100"/>
                    <a:gd name="T1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46">
                      <a:moveTo>
                        <a:pt x="100" y="146"/>
                      </a:moveTo>
                      <a:cubicBezTo>
                        <a:pt x="4" y="146"/>
                        <a:pt x="4" y="146"/>
                        <a:pt x="4" y="146"/>
                      </a:cubicBezTo>
                      <a:cubicBezTo>
                        <a:pt x="3" y="146"/>
                        <a:pt x="1" y="145"/>
                        <a:pt x="1" y="144"/>
                      </a:cubicBezTo>
                      <a:cubicBezTo>
                        <a:pt x="0" y="143"/>
                        <a:pt x="0" y="141"/>
                        <a:pt x="1" y="140"/>
                      </a:cubicBezTo>
                      <a:cubicBezTo>
                        <a:pt x="80" y="0"/>
                        <a:pt x="80" y="0"/>
                        <a:pt x="80" y="0"/>
                      </a:cubicBezTo>
                      <a:cubicBezTo>
                        <a:pt x="87" y="4"/>
                        <a:pt x="87" y="4"/>
                        <a:pt x="87" y="4"/>
                      </a:cubicBezTo>
                      <a:cubicBezTo>
                        <a:pt x="11" y="138"/>
                        <a:pt x="11" y="138"/>
                        <a:pt x="11" y="138"/>
                      </a:cubicBezTo>
                      <a:cubicBezTo>
                        <a:pt x="100" y="138"/>
                        <a:pt x="100" y="138"/>
                        <a:pt x="100" y="138"/>
                      </a:cubicBezTo>
                      <a:lnTo>
                        <a:pt x="100" y="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Rectangle 7">
                  <a:extLst>
                    <a:ext uri="{FF2B5EF4-FFF2-40B4-BE49-F238E27FC236}">
                      <a16:creationId xmlns:a16="http://schemas.microsoft.com/office/drawing/2014/main" id="{86779283-D77B-4CAA-A962-3C7F3D989AE2}"/>
                    </a:ext>
                  </a:extLst>
                </p:cNvPr>
                <p:cNvSpPr>
                  <a:spLocks noChangeArrowheads="1"/>
                </p:cNvSpPr>
                <p:nvPr/>
              </p:nvSpPr>
              <p:spPr bwMode="auto">
                <a:xfrm>
                  <a:off x="4147" y="2505"/>
                  <a:ext cx="159"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8">
                  <a:extLst>
                    <a:ext uri="{FF2B5EF4-FFF2-40B4-BE49-F238E27FC236}">
                      <a16:creationId xmlns:a16="http://schemas.microsoft.com/office/drawing/2014/main" id="{8C21A0D8-D141-4909-844B-4875447B315F}"/>
                    </a:ext>
                  </a:extLst>
                </p:cNvPr>
                <p:cNvSpPr>
                  <a:spLocks noChangeArrowheads="1"/>
                </p:cNvSpPr>
                <p:nvPr/>
              </p:nvSpPr>
              <p:spPr bwMode="auto">
                <a:xfrm>
                  <a:off x="3872" y="2505"/>
                  <a:ext cx="159"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Rectangle 9">
                  <a:extLst>
                    <a:ext uri="{FF2B5EF4-FFF2-40B4-BE49-F238E27FC236}">
                      <a16:creationId xmlns:a16="http://schemas.microsoft.com/office/drawing/2014/main" id="{7BAFFA69-8FBF-4AB5-8675-3032F8B337D9}"/>
                    </a:ext>
                  </a:extLst>
                </p:cNvPr>
                <p:cNvSpPr>
                  <a:spLocks noChangeArrowheads="1"/>
                </p:cNvSpPr>
                <p:nvPr/>
              </p:nvSpPr>
              <p:spPr bwMode="auto">
                <a:xfrm>
                  <a:off x="4147" y="2439"/>
                  <a:ext cx="126"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10">
                  <a:extLst>
                    <a:ext uri="{FF2B5EF4-FFF2-40B4-BE49-F238E27FC236}">
                      <a16:creationId xmlns:a16="http://schemas.microsoft.com/office/drawing/2014/main" id="{7A0A4933-57EE-45D6-B365-6E150B50F6AD}"/>
                    </a:ext>
                  </a:extLst>
                </p:cNvPr>
                <p:cNvSpPr>
                  <a:spLocks noChangeArrowheads="1"/>
                </p:cNvSpPr>
                <p:nvPr/>
              </p:nvSpPr>
              <p:spPr bwMode="auto">
                <a:xfrm>
                  <a:off x="3905" y="2439"/>
                  <a:ext cx="126"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Rectangle 11">
                  <a:extLst>
                    <a:ext uri="{FF2B5EF4-FFF2-40B4-BE49-F238E27FC236}">
                      <a16:creationId xmlns:a16="http://schemas.microsoft.com/office/drawing/2014/main" id="{299921FA-2469-4EE6-9305-7D492C058339}"/>
                    </a:ext>
                  </a:extLst>
                </p:cNvPr>
                <p:cNvSpPr>
                  <a:spLocks noChangeArrowheads="1"/>
                </p:cNvSpPr>
                <p:nvPr/>
              </p:nvSpPr>
              <p:spPr bwMode="auto">
                <a:xfrm>
                  <a:off x="4147" y="2372"/>
                  <a:ext cx="84"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Rectangle 12">
                  <a:extLst>
                    <a:ext uri="{FF2B5EF4-FFF2-40B4-BE49-F238E27FC236}">
                      <a16:creationId xmlns:a16="http://schemas.microsoft.com/office/drawing/2014/main" id="{C6393EC3-A021-4FB8-9A92-DFFBBBF60886}"/>
                    </a:ext>
                  </a:extLst>
                </p:cNvPr>
                <p:cNvSpPr>
                  <a:spLocks noChangeArrowheads="1"/>
                </p:cNvSpPr>
                <p:nvPr/>
              </p:nvSpPr>
              <p:spPr bwMode="auto">
                <a:xfrm>
                  <a:off x="3947" y="2372"/>
                  <a:ext cx="84"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Rectangle 13">
                  <a:extLst>
                    <a:ext uri="{FF2B5EF4-FFF2-40B4-BE49-F238E27FC236}">
                      <a16:creationId xmlns:a16="http://schemas.microsoft.com/office/drawing/2014/main" id="{511A97DB-748D-4278-8882-9CD6D0661C7D}"/>
                    </a:ext>
                  </a:extLst>
                </p:cNvPr>
                <p:cNvSpPr>
                  <a:spLocks noChangeArrowheads="1"/>
                </p:cNvSpPr>
                <p:nvPr/>
              </p:nvSpPr>
              <p:spPr bwMode="auto">
                <a:xfrm>
                  <a:off x="4147" y="2305"/>
                  <a:ext cx="50"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Rectangle 14">
                  <a:extLst>
                    <a:ext uri="{FF2B5EF4-FFF2-40B4-BE49-F238E27FC236}">
                      <a16:creationId xmlns:a16="http://schemas.microsoft.com/office/drawing/2014/main" id="{94804CF6-16EA-4034-A92E-1FCC47C5817F}"/>
                    </a:ext>
                  </a:extLst>
                </p:cNvPr>
                <p:cNvSpPr>
                  <a:spLocks noChangeArrowheads="1"/>
                </p:cNvSpPr>
                <p:nvPr/>
              </p:nvSpPr>
              <p:spPr bwMode="auto">
                <a:xfrm>
                  <a:off x="3980" y="2305"/>
                  <a:ext cx="51"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5">
                  <a:extLst>
                    <a:ext uri="{FF2B5EF4-FFF2-40B4-BE49-F238E27FC236}">
                      <a16:creationId xmlns:a16="http://schemas.microsoft.com/office/drawing/2014/main" id="{1F294089-718D-41AF-922E-5A6EA31EA0AB}"/>
                    </a:ext>
                  </a:extLst>
                </p:cNvPr>
                <p:cNvSpPr>
                  <a:spLocks/>
                </p:cNvSpPr>
                <p:nvPr/>
              </p:nvSpPr>
              <p:spPr bwMode="auto">
                <a:xfrm>
                  <a:off x="4006" y="2121"/>
                  <a:ext cx="166" cy="468"/>
                </a:xfrm>
                <a:custGeom>
                  <a:avLst/>
                  <a:gdLst>
                    <a:gd name="T0" fmla="*/ 60 w 80"/>
                    <a:gd name="T1" fmla="*/ 224 h 224"/>
                    <a:gd name="T2" fmla="*/ 52 w 80"/>
                    <a:gd name="T3" fmla="*/ 224 h 224"/>
                    <a:gd name="T4" fmla="*/ 52 w 80"/>
                    <a:gd name="T5" fmla="*/ 68 h 224"/>
                    <a:gd name="T6" fmla="*/ 56 w 80"/>
                    <a:gd name="T7" fmla="*/ 64 h 224"/>
                    <a:gd name="T8" fmla="*/ 69 w 80"/>
                    <a:gd name="T9" fmla="*/ 64 h 224"/>
                    <a:gd name="T10" fmla="*/ 40 w 80"/>
                    <a:gd name="T11" fmla="*/ 12 h 224"/>
                    <a:gd name="T12" fmla="*/ 11 w 80"/>
                    <a:gd name="T13" fmla="*/ 64 h 224"/>
                    <a:gd name="T14" fmla="*/ 24 w 80"/>
                    <a:gd name="T15" fmla="*/ 64 h 224"/>
                    <a:gd name="T16" fmla="*/ 28 w 80"/>
                    <a:gd name="T17" fmla="*/ 68 h 224"/>
                    <a:gd name="T18" fmla="*/ 28 w 80"/>
                    <a:gd name="T19" fmla="*/ 224 h 224"/>
                    <a:gd name="T20" fmla="*/ 20 w 80"/>
                    <a:gd name="T21" fmla="*/ 224 h 224"/>
                    <a:gd name="T22" fmla="*/ 20 w 80"/>
                    <a:gd name="T23" fmla="*/ 72 h 224"/>
                    <a:gd name="T24" fmla="*/ 4 w 80"/>
                    <a:gd name="T25" fmla="*/ 72 h 224"/>
                    <a:gd name="T26" fmla="*/ 0 w 80"/>
                    <a:gd name="T27" fmla="*/ 70 h 224"/>
                    <a:gd name="T28" fmla="*/ 0 w 80"/>
                    <a:gd name="T29" fmla="*/ 66 h 224"/>
                    <a:gd name="T30" fmla="*/ 36 w 80"/>
                    <a:gd name="T31" fmla="*/ 2 h 224"/>
                    <a:gd name="T32" fmla="*/ 43 w 80"/>
                    <a:gd name="T33" fmla="*/ 2 h 224"/>
                    <a:gd name="T34" fmla="*/ 79 w 80"/>
                    <a:gd name="T35" fmla="*/ 66 h 224"/>
                    <a:gd name="T36" fmla="*/ 79 w 80"/>
                    <a:gd name="T37" fmla="*/ 70 h 224"/>
                    <a:gd name="T38" fmla="*/ 76 w 80"/>
                    <a:gd name="T39" fmla="*/ 72 h 224"/>
                    <a:gd name="T40" fmla="*/ 60 w 80"/>
                    <a:gd name="T41" fmla="*/ 72 h 224"/>
                    <a:gd name="T42" fmla="*/ 60 w 80"/>
                    <a:gd name="T43"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 h="224">
                      <a:moveTo>
                        <a:pt x="60" y="224"/>
                      </a:moveTo>
                      <a:cubicBezTo>
                        <a:pt x="52" y="224"/>
                        <a:pt x="52" y="224"/>
                        <a:pt x="52" y="224"/>
                      </a:cubicBezTo>
                      <a:cubicBezTo>
                        <a:pt x="52" y="68"/>
                        <a:pt x="52" y="68"/>
                        <a:pt x="52" y="68"/>
                      </a:cubicBezTo>
                      <a:cubicBezTo>
                        <a:pt x="52" y="66"/>
                        <a:pt x="54" y="64"/>
                        <a:pt x="56" y="64"/>
                      </a:cubicBezTo>
                      <a:cubicBezTo>
                        <a:pt x="69" y="64"/>
                        <a:pt x="69" y="64"/>
                        <a:pt x="69" y="64"/>
                      </a:cubicBezTo>
                      <a:cubicBezTo>
                        <a:pt x="40" y="12"/>
                        <a:pt x="40" y="12"/>
                        <a:pt x="40" y="12"/>
                      </a:cubicBezTo>
                      <a:cubicBezTo>
                        <a:pt x="11" y="64"/>
                        <a:pt x="11" y="64"/>
                        <a:pt x="11" y="64"/>
                      </a:cubicBezTo>
                      <a:cubicBezTo>
                        <a:pt x="24" y="64"/>
                        <a:pt x="24" y="64"/>
                        <a:pt x="24" y="64"/>
                      </a:cubicBezTo>
                      <a:cubicBezTo>
                        <a:pt x="26" y="64"/>
                        <a:pt x="28" y="66"/>
                        <a:pt x="28" y="68"/>
                      </a:cubicBezTo>
                      <a:cubicBezTo>
                        <a:pt x="28" y="224"/>
                        <a:pt x="28" y="224"/>
                        <a:pt x="28" y="224"/>
                      </a:cubicBezTo>
                      <a:cubicBezTo>
                        <a:pt x="20" y="224"/>
                        <a:pt x="20" y="224"/>
                        <a:pt x="20" y="224"/>
                      </a:cubicBezTo>
                      <a:cubicBezTo>
                        <a:pt x="20" y="72"/>
                        <a:pt x="20" y="72"/>
                        <a:pt x="20" y="72"/>
                      </a:cubicBezTo>
                      <a:cubicBezTo>
                        <a:pt x="4" y="72"/>
                        <a:pt x="4" y="72"/>
                        <a:pt x="4" y="72"/>
                      </a:cubicBezTo>
                      <a:cubicBezTo>
                        <a:pt x="2" y="72"/>
                        <a:pt x="1" y="71"/>
                        <a:pt x="0" y="70"/>
                      </a:cubicBezTo>
                      <a:cubicBezTo>
                        <a:pt x="0" y="69"/>
                        <a:pt x="0" y="67"/>
                        <a:pt x="0" y="66"/>
                      </a:cubicBezTo>
                      <a:cubicBezTo>
                        <a:pt x="36" y="2"/>
                        <a:pt x="36" y="2"/>
                        <a:pt x="36" y="2"/>
                      </a:cubicBezTo>
                      <a:cubicBezTo>
                        <a:pt x="38" y="0"/>
                        <a:pt x="42" y="0"/>
                        <a:pt x="43" y="2"/>
                      </a:cubicBezTo>
                      <a:cubicBezTo>
                        <a:pt x="79" y="66"/>
                        <a:pt x="79" y="66"/>
                        <a:pt x="79" y="66"/>
                      </a:cubicBezTo>
                      <a:cubicBezTo>
                        <a:pt x="80" y="67"/>
                        <a:pt x="80" y="69"/>
                        <a:pt x="79" y="70"/>
                      </a:cubicBezTo>
                      <a:cubicBezTo>
                        <a:pt x="79" y="71"/>
                        <a:pt x="77" y="72"/>
                        <a:pt x="76" y="72"/>
                      </a:cubicBezTo>
                      <a:cubicBezTo>
                        <a:pt x="60" y="72"/>
                        <a:pt x="60" y="72"/>
                        <a:pt x="60" y="72"/>
                      </a:cubicBezTo>
                      <a:lnTo>
                        <a:pt x="60"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Rectangle 16">
                  <a:extLst>
                    <a:ext uri="{FF2B5EF4-FFF2-40B4-BE49-F238E27FC236}">
                      <a16:creationId xmlns:a16="http://schemas.microsoft.com/office/drawing/2014/main" id="{A8CC25B3-9A6D-4E37-975D-AB2E46B9579A}"/>
                    </a:ext>
                  </a:extLst>
                </p:cNvPr>
                <p:cNvSpPr>
                  <a:spLocks noChangeArrowheads="1"/>
                </p:cNvSpPr>
                <p:nvPr/>
              </p:nvSpPr>
              <p:spPr bwMode="auto">
                <a:xfrm>
                  <a:off x="4081" y="2572"/>
                  <a:ext cx="16"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Rectangle 17">
                  <a:extLst>
                    <a:ext uri="{FF2B5EF4-FFF2-40B4-BE49-F238E27FC236}">
                      <a16:creationId xmlns:a16="http://schemas.microsoft.com/office/drawing/2014/main" id="{A7FDDE17-A1C3-4791-8C59-65953A7730BA}"/>
                    </a:ext>
                  </a:extLst>
                </p:cNvPr>
                <p:cNvSpPr>
                  <a:spLocks noChangeArrowheads="1"/>
                </p:cNvSpPr>
                <p:nvPr/>
              </p:nvSpPr>
              <p:spPr bwMode="auto">
                <a:xfrm>
                  <a:off x="4081" y="2505"/>
                  <a:ext cx="16"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Rectangle 18">
                  <a:extLst>
                    <a:ext uri="{FF2B5EF4-FFF2-40B4-BE49-F238E27FC236}">
                      <a16:creationId xmlns:a16="http://schemas.microsoft.com/office/drawing/2014/main" id="{DEC69E2D-B174-4542-AEE4-859751C2C17D}"/>
                    </a:ext>
                  </a:extLst>
                </p:cNvPr>
                <p:cNvSpPr>
                  <a:spLocks noChangeArrowheads="1"/>
                </p:cNvSpPr>
                <p:nvPr/>
              </p:nvSpPr>
              <p:spPr bwMode="auto">
                <a:xfrm>
                  <a:off x="4081" y="2439"/>
                  <a:ext cx="16"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Rectangle 19">
                  <a:extLst>
                    <a:ext uri="{FF2B5EF4-FFF2-40B4-BE49-F238E27FC236}">
                      <a16:creationId xmlns:a16="http://schemas.microsoft.com/office/drawing/2014/main" id="{30496ACD-6ECD-4079-9C03-FAAAF3E68C1E}"/>
                    </a:ext>
                  </a:extLst>
                </p:cNvPr>
                <p:cNvSpPr>
                  <a:spLocks noChangeArrowheads="1"/>
                </p:cNvSpPr>
                <p:nvPr/>
              </p:nvSpPr>
              <p:spPr bwMode="auto">
                <a:xfrm>
                  <a:off x="4081" y="2372"/>
                  <a:ext cx="16"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Rectangle 20">
                  <a:extLst>
                    <a:ext uri="{FF2B5EF4-FFF2-40B4-BE49-F238E27FC236}">
                      <a16:creationId xmlns:a16="http://schemas.microsoft.com/office/drawing/2014/main" id="{CE8CB6AC-98A7-4A08-9C52-F4574270A1E0}"/>
                    </a:ext>
                  </a:extLst>
                </p:cNvPr>
                <p:cNvSpPr>
                  <a:spLocks noChangeArrowheads="1"/>
                </p:cNvSpPr>
                <p:nvPr/>
              </p:nvSpPr>
              <p:spPr bwMode="auto">
                <a:xfrm>
                  <a:off x="4081" y="2305"/>
                  <a:ext cx="16"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00" name="Group 199">
              <a:extLst>
                <a:ext uri="{FF2B5EF4-FFF2-40B4-BE49-F238E27FC236}">
                  <a16:creationId xmlns:a16="http://schemas.microsoft.com/office/drawing/2014/main" id="{6B8828F9-F588-46C0-9310-9E5CFA50B5B6}"/>
                </a:ext>
              </a:extLst>
            </p:cNvPr>
            <p:cNvGrpSpPr/>
            <p:nvPr/>
          </p:nvGrpSpPr>
          <p:grpSpPr>
            <a:xfrm>
              <a:off x="3580270" y="2493624"/>
              <a:ext cx="1477009" cy="1362736"/>
              <a:chOff x="3820615" y="2794500"/>
              <a:chExt cx="1521505" cy="1403789"/>
            </a:xfrm>
          </p:grpSpPr>
          <p:sp>
            <p:nvSpPr>
              <p:cNvPr id="239" name="Freeform 103">
                <a:extLst>
                  <a:ext uri="{FF2B5EF4-FFF2-40B4-BE49-F238E27FC236}">
                    <a16:creationId xmlns:a16="http://schemas.microsoft.com/office/drawing/2014/main" id="{5B67E733-D668-4804-8603-07A0C49B55C7}"/>
                  </a:ext>
                </a:extLst>
              </p:cNvPr>
              <p:cNvSpPr>
                <a:spLocks/>
              </p:cNvSpPr>
              <p:nvPr/>
            </p:nvSpPr>
            <p:spPr bwMode="auto">
              <a:xfrm>
                <a:off x="4911209" y="3134030"/>
                <a:ext cx="134457" cy="90784"/>
              </a:xfrm>
              <a:custGeom>
                <a:avLst/>
                <a:gdLst>
                  <a:gd name="T0" fmla="*/ 64 w 350"/>
                  <a:gd name="T1" fmla="*/ 0 h 236"/>
                  <a:gd name="T2" fmla="*/ 52 w 350"/>
                  <a:gd name="T3" fmla="*/ 12 h 236"/>
                  <a:gd name="T4" fmla="*/ 40 w 350"/>
                  <a:gd name="T5" fmla="*/ 24 h 236"/>
                  <a:gd name="T6" fmla="*/ 30 w 350"/>
                  <a:gd name="T7" fmla="*/ 38 h 236"/>
                  <a:gd name="T8" fmla="*/ 22 w 350"/>
                  <a:gd name="T9" fmla="*/ 52 h 236"/>
                  <a:gd name="T10" fmla="*/ 14 w 350"/>
                  <a:gd name="T11" fmla="*/ 66 h 236"/>
                  <a:gd name="T12" fmla="*/ 8 w 350"/>
                  <a:gd name="T13" fmla="*/ 82 h 236"/>
                  <a:gd name="T14" fmla="*/ 4 w 350"/>
                  <a:gd name="T15" fmla="*/ 100 h 236"/>
                  <a:gd name="T16" fmla="*/ 2 w 350"/>
                  <a:gd name="T17" fmla="*/ 116 h 236"/>
                  <a:gd name="T18" fmla="*/ 0 w 350"/>
                  <a:gd name="T19" fmla="*/ 134 h 236"/>
                  <a:gd name="T20" fmla="*/ 0 w 350"/>
                  <a:gd name="T21" fmla="*/ 236 h 236"/>
                  <a:gd name="T22" fmla="*/ 350 w 350"/>
                  <a:gd name="T23" fmla="*/ 236 h 236"/>
                  <a:gd name="T24" fmla="*/ 350 w 350"/>
                  <a:gd name="T25" fmla="*/ 134 h 236"/>
                  <a:gd name="T26" fmla="*/ 350 w 350"/>
                  <a:gd name="T27" fmla="*/ 116 h 236"/>
                  <a:gd name="T28" fmla="*/ 348 w 350"/>
                  <a:gd name="T29" fmla="*/ 100 h 236"/>
                  <a:gd name="T30" fmla="*/ 344 w 350"/>
                  <a:gd name="T31" fmla="*/ 84 h 236"/>
                  <a:gd name="T32" fmla="*/ 338 w 350"/>
                  <a:gd name="T33" fmla="*/ 68 h 236"/>
                  <a:gd name="T34" fmla="*/ 330 w 350"/>
                  <a:gd name="T35" fmla="*/ 52 h 236"/>
                  <a:gd name="T36" fmla="*/ 322 w 350"/>
                  <a:gd name="T37" fmla="*/ 38 h 236"/>
                  <a:gd name="T38" fmla="*/ 312 w 350"/>
                  <a:gd name="T39" fmla="*/ 26 h 236"/>
                  <a:gd name="T40" fmla="*/ 302 w 350"/>
                  <a:gd name="T41" fmla="*/ 12 h 236"/>
                  <a:gd name="T42" fmla="*/ 290 w 350"/>
                  <a:gd name="T43" fmla="*/ 2 h 236"/>
                  <a:gd name="T44" fmla="*/ 278 w 350"/>
                  <a:gd name="T45" fmla="*/ 12 h 236"/>
                  <a:gd name="T46" fmla="*/ 266 w 350"/>
                  <a:gd name="T47" fmla="*/ 20 h 236"/>
                  <a:gd name="T48" fmla="*/ 252 w 350"/>
                  <a:gd name="T49" fmla="*/ 28 h 236"/>
                  <a:gd name="T50" fmla="*/ 238 w 350"/>
                  <a:gd name="T51" fmla="*/ 36 h 236"/>
                  <a:gd name="T52" fmla="*/ 224 w 350"/>
                  <a:gd name="T53" fmla="*/ 40 h 236"/>
                  <a:gd name="T54" fmla="*/ 210 w 350"/>
                  <a:gd name="T55" fmla="*/ 44 h 236"/>
                  <a:gd name="T56" fmla="*/ 194 w 350"/>
                  <a:gd name="T57" fmla="*/ 48 h 236"/>
                  <a:gd name="T58" fmla="*/ 178 w 350"/>
                  <a:gd name="T59" fmla="*/ 48 h 236"/>
                  <a:gd name="T60" fmla="*/ 160 w 350"/>
                  <a:gd name="T61" fmla="*/ 48 h 236"/>
                  <a:gd name="T62" fmla="*/ 144 w 350"/>
                  <a:gd name="T63" fmla="*/ 44 h 236"/>
                  <a:gd name="T64" fmla="*/ 130 w 350"/>
                  <a:gd name="T65" fmla="*/ 40 h 236"/>
                  <a:gd name="T66" fmla="*/ 114 w 350"/>
                  <a:gd name="T67" fmla="*/ 36 h 236"/>
                  <a:gd name="T68" fmla="*/ 100 w 350"/>
                  <a:gd name="T69" fmla="*/ 28 h 236"/>
                  <a:gd name="T70" fmla="*/ 88 w 350"/>
                  <a:gd name="T71" fmla="*/ 20 h 236"/>
                  <a:gd name="T72" fmla="*/ 76 w 350"/>
                  <a:gd name="T73" fmla="*/ 10 h 236"/>
                  <a:gd name="T74" fmla="*/ 64 w 350"/>
                  <a:gd name="T75" fmla="*/ 0 h 236"/>
                  <a:gd name="T76" fmla="*/ 64 w 350"/>
                  <a:gd name="T77" fmla="*/ 0 h 236"/>
                  <a:gd name="T78" fmla="*/ 64 w 350"/>
                  <a:gd name="T7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0" h="236">
                    <a:moveTo>
                      <a:pt x="64" y="0"/>
                    </a:moveTo>
                    <a:lnTo>
                      <a:pt x="52" y="12"/>
                    </a:lnTo>
                    <a:lnTo>
                      <a:pt x="40" y="24"/>
                    </a:lnTo>
                    <a:lnTo>
                      <a:pt x="30" y="38"/>
                    </a:lnTo>
                    <a:lnTo>
                      <a:pt x="22" y="52"/>
                    </a:lnTo>
                    <a:lnTo>
                      <a:pt x="14" y="66"/>
                    </a:lnTo>
                    <a:lnTo>
                      <a:pt x="8" y="82"/>
                    </a:lnTo>
                    <a:lnTo>
                      <a:pt x="4" y="100"/>
                    </a:lnTo>
                    <a:lnTo>
                      <a:pt x="2" y="116"/>
                    </a:lnTo>
                    <a:lnTo>
                      <a:pt x="0" y="134"/>
                    </a:lnTo>
                    <a:lnTo>
                      <a:pt x="0" y="236"/>
                    </a:lnTo>
                    <a:lnTo>
                      <a:pt x="350" y="236"/>
                    </a:lnTo>
                    <a:lnTo>
                      <a:pt x="350" y="134"/>
                    </a:lnTo>
                    <a:lnTo>
                      <a:pt x="350" y="116"/>
                    </a:lnTo>
                    <a:lnTo>
                      <a:pt x="348" y="100"/>
                    </a:lnTo>
                    <a:lnTo>
                      <a:pt x="344" y="84"/>
                    </a:lnTo>
                    <a:lnTo>
                      <a:pt x="338" y="68"/>
                    </a:lnTo>
                    <a:lnTo>
                      <a:pt x="330" y="52"/>
                    </a:lnTo>
                    <a:lnTo>
                      <a:pt x="322" y="38"/>
                    </a:lnTo>
                    <a:lnTo>
                      <a:pt x="312" y="26"/>
                    </a:lnTo>
                    <a:lnTo>
                      <a:pt x="302" y="12"/>
                    </a:lnTo>
                    <a:lnTo>
                      <a:pt x="290" y="2"/>
                    </a:lnTo>
                    <a:lnTo>
                      <a:pt x="278" y="12"/>
                    </a:lnTo>
                    <a:lnTo>
                      <a:pt x="266" y="20"/>
                    </a:lnTo>
                    <a:lnTo>
                      <a:pt x="252" y="28"/>
                    </a:lnTo>
                    <a:lnTo>
                      <a:pt x="238" y="36"/>
                    </a:lnTo>
                    <a:lnTo>
                      <a:pt x="224" y="40"/>
                    </a:lnTo>
                    <a:lnTo>
                      <a:pt x="210" y="44"/>
                    </a:lnTo>
                    <a:lnTo>
                      <a:pt x="194" y="48"/>
                    </a:lnTo>
                    <a:lnTo>
                      <a:pt x="178" y="48"/>
                    </a:lnTo>
                    <a:lnTo>
                      <a:pt x="160" y="48"/>
                    </a:lnTo>
                    <a:lnTo>
                      <a:pt x="144" y="44"/>
                    </a:lnTo>
                    <a:lnTo>
                      <a:pt x="130" y="40"/>
                    </a:lnTo>
                    <a:lnTo>
                      <a:pt x="114" y="36"/>
                    </a:lnTo>
                    <a:lnTo>
                      <a:pt x="100" y="28"/>
                    </a:lnTo>
                    <a:lnTo>
                      <a:pt x="88" y="20"/>
                    </a:lnTo>
                    <a:lnTo>
                      <a:pt x="76" y="10"/>
                    </a:lnTo>
                    <a:lnTo>
                      <a:pt x="64" y="0"/>
                    </a:lnTo>
                    <a:lnTo>
                      <a:pt x="64" y="0"/>
                    </a:lnTo>
                    <a:lnTo>
                      <a:pt x="64"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40" name="Freeform 104">
                <a:extLst>
                  <a:ext uri="{FF2B5EF4-FFF2-40B4-BE49-F238E27FC236}">
                    <a16:creationId xmlns:a16="http://schemas.microsoft.com/office/drawing/2014/main" id="{CBDFECBD-5AF1-4CD3-A29F-214F17430B25}"/>
                  </a:ext>
                </a:extLst>
              </p:cNvPr>
              <p:cNvSpPr>
                <a:spLocks/>
              </p:cNvSpPr>
              <p:nvPr/>
            </p:nvSpPr>
            <p:spPr bwMode="auto">
              <a:xfrm>
                <a:off x="4625388" y="3074790"/>
                <a:ext cx="18440" cy="69241"/>
              </a:xfrm>
              <a:custGeom>
                <a:avLst/>
                <a:gdLst>
                  <a:gd name="T0" fmla="*/ 42 w 48"/>
                  <a:gd name="T1" fmla="*/ 0 h 180"/>
                  <a:gd name="T2" fmla="*/ 4 w 48"/>
                  <a:gd name="T3" fmla="*/ 0 h 180"/>
                  <a:gd name="T4" fmla="*/ 2 w 48"/>
                  <a:gd name="T5" fmla="*/ 0 h 180"/>
                  <a:gd name="T6" fmla="*/ 0 w 48"/>
                  <a:gd name="T7" fmla="*/ 2 h 180"/>
                  <a:gd name="T8" fmla="*/ 0 w 48"/>
                  <a:gd name="T9" fmla="*/ 4 h 180"/>
                  <a:gd name="T10" fmla="*/ 18 w 48"/>
                  <a:gd name="T11" fmla="*/ 176 h 180"/>
                  <a:gd name="T12" fmla="*/ 20 w 48"/>
                  <a:gd name="T13" fmla="*/ 178 h 180"/>
                  <a:gd name="T14" fmla="*/ 20 w 48"/>
                  <a:gd name="T15" fmla="*/ 180 h 180"/>
                  <a:gd name="T16" fmla="*/ 22 w 48"/>
                  <a:gd name="T17" fmla="*/ 180 h 180"/>
                  <a:gd name="T18" fmla="*/ 24 w 48"/>
                  <a:gd name="T19" fmla="*/ 180 h 180"/>
                  <a:gd name="T20" fmla="*/ 26 w 48"/>
                  <a:gd name="T21" fmla="*/ 180 h 180"/>
                  <a:gd name="T22" fmla="*/ 28 w 48"/>
                  <a:gd name="T23" fmla="*/ 178 h 180"/>
                  <a:gd name="T24" fmla="*/ 28 w 48"/>
                  <a:gd name="T25" fmla="*/ 176 h 180"/>
                  <a:gd name="T26" fmla="*/ 48 w 48"/>
                  <a:gd name="T27" fmla="*/ 4 h 180"/>
                  <a:gd name="T28" fmla="*/ 48 w 48"/>
                  <a:gd name="T29" fmla="*/ 2 h 180"/>
                  <a:gd name="T30" fmla="*/ 46 w 48"/>
                  <a:gd name="T31" fmla="*/ 0 h 180"/>
                  <a:gd name="T32" fmla="*/ 42 w 48"/>
                  <a:gd name="T33" fmla="*/ 0 h 180"/>
                  <a:gd name="T34" fmla="*/ 42 w 48"/>
                  <a:gd name="T35" fmla="*/ 0 h 180"/>
                  <a:gd name="T36" fmla="*/ 42 w 48"/>
                  <a:gd name="T37"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180">
                    <a:moveTo>
                      <a:pt x="42" y="0"/>
                    </a:moveTo>
                    <a:lnTo>
                      <a:pt x="4" y="0"/>
                    </a:lnTo>
                    <a:lnTo>
                      <a:pt x="2" y="0"/>
                    </a:lnTo>
                    <a:lnTo>
                      <a:pt x="0" y="2"/>
                    </a:lnTo>
                    <a:lnTo>
                      <a:pt x="0" y="4"/>
                    </a:lnTo>
                    <a:lnTo>
                      <a:pt x="18" y="176"/>
                    </a:lnTo>
                    <a:lnTo>
                      <a:pt x="20" y="178"/>
                    </a:lnTo>
                    <a:lnTo>
                      <a:pt x="20" y="180"/>
                    </a:lnTo>
                    <a:lnTo>
                      <a:pt x="22" y="180"/>
                    </a:lnTo>
                    <a:lnTo>
                      <a:pt x="24" y="180"/>
                    </a:lnTo>
                    <a:lnTo>
                      <a:pt x="26" y="180"/>
                    </a:lnTo>
                    <a:lnTo>
                      <a:pt x="28" y="178"/>
                    </a:lnTo>
                    <a:lnTo>
                      <a:pt x="28" y="176"/>
                    </a:lnTo>
                    <a:lnTo>
                      <a:pt x="48" y="4"/>
                    </a:lnTo>
                    <a:lnTo>
                      <a:pt x="48" y="2"/>
                    </a:lnTo>
                    <a:lnTo>
                      <a:pt x="46" y="0"/>
                    </a:lnTo>
                    <a:lnTo>
                      <a:pt x="42" y="0"/>
                    </a:lnTo>
                    <a:lnTo>
                      <a:pt x="42" y="0"/>
                    </a:lnTo>
                    <a:lnTo>
                      <a:pt x="4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41" name="Freeform 105">
                <a:extLst>
                  <a:ext uri="{FF2B5EF4-FFF2-40B4-BE49-F238E27FC236}">
                    <a16:creationId xmlns:a16="http://schemas.microsoft.com/office/drawing/2014/main" id="{22C161DE-971B-4B16-A479-5CC55E42D269}"/>
                  </a:ext>
                </a:extLst>
              </p:cNvPr>
              <p:cNvSpPr>
                <a:spLocks noEditPoints="1"/>
              </p:cNvSpPr>
              <p:nvPr/>
            </p:nvSpPr>
            <p:spPr bwMode="auto">
              <a:xfrm>
                <a:off x="4928878" y="3041710"/>
                <a:ext cx="100652" cy="100014"/>
              </a:xfrm>
              <a:custGeom>
                <a:avLst/>
                <a:gdLst>
                  <a:gd name="T0" fmla="*/ 132 w 262"/>
                  <a:gd name="T1" fmla="*/ 18 h 260"/>
                  <a:gd name="T2" fmla="*/ 104 w 262"/>
                  <a:gd name="T3" fmla="*/ 22 h 260"/>
                  <a:gd name="T4" fmla="*/ 78 w 262"/>
                  <a:gd name="T5" fmla="*/ 32 h 260"/>
                  <a:gd name="T6" fmla="*/ 58 w 262"/>
                  <a:gd name="T7" fmla="*/ 46 h 260"/>
                  <a:gd name="T8" fmla="*/ 40 w 262"/>
                  <a:gd name="T9" fmla="*/ 66 h 260"/>
                  <a:gd name="T10" fmla="*/ 28 w 262"/>
                  <a:gd name="T11" fmla="*/ 90 h 260"/>
                  <a:gd name="T12" fmla="*/ 20 w 262"/>
                  <a:gd name="T13" fmla="*/ 116 h 260"/>
                  <a:gd name="T14" fmla="*/ 20 w 262"/>
                  <a:gd name="T15" fmla="*/ 144 h 260"/>
                  <a:gd name="T16" fmla="*/ 28 w 262"/>
                  <a:gd name="T17" fmla="*/ 170 h 260"/>
                  <a:gd name="T18" fmla="*/ 40 w 262"/>
                  <a:gd name="T19" fmla="*/ 194 h 260"/>
                  <a:gd name="T20" fmla="*/ 58 w 262"/>
                  <a:gd name="T21" fmla="*/ 214 h 260"/>
                  <a:gd name="T22" fmla="*/ 78 w 262"/>
                  <a:gd name="T23" fmla="*/ 228 h 260"/>
                  <a:gd name="T24" fmla="*/ 104 w 262"/>
                  <a:gd name="T25" fmla="*/ 238 h 260"/>
                  <a:gd name="T26" fmla="*/ 132 w 262"/>
                  <a:gd name="T27" fmla="*/ 242 h 260"/>
                  <a:gd name="T28" fmla="*/ 158 w 262"/>
                  <a:gd name="T29" fmla="*/ 238 h 260"/>
                  <a:gd name="T30" fmla="*/ 184 w 262"/>
                  <a:gd name="T31" fmla="*/ 228 h 260"/>
                  <a:gd name="T32" fmla="*/ 206 w 262"/>
                  <a:gd name="T33" fmla="*/ 214 h 260"/>
                  <a:gd name="T34" fmla="*/ 222 w 262"/>
                  <a:gd name="T35" fmla="*/ 194 h 260"/>
                  <a:gd name="T36" fmla="*/ 236 w 262"/>
                  <a:gd name="T37" fmla="*/ 170 h 260"/>
                  <a:gd name="T38" fmla="*/ 242 w 262"/>
                  <a:gd name="T39" fmla="*/ 144 h 260"/>
                  <a:gd name="T40" fmla="*/ 242 w 262"/>
                  <a:gd name="T41" fmla="*/ 116 h 260"/>
                  <a:gd name="T42" fmla="*/ 236 w 262"/>
                  <a:gd name="T43" fmla="*/ 90 h 260"/>
                  <a:gd name="T44" fmla="*/ 222 w 262"/>
                  <a:gd name="T45" fmla="*/ 66 h 260"/>
                  <a:gd name="T46" fmla="*/ 206 w 262"/>
                  <a:gd name="T47" fmla="*/ 46 h 260"/>
                  <a:gd name="T48" fmla="*/ 184 w 262"/>
                  <a:gd name="T49" fmla="*/ 32 h 260"/>
                  <a:gd name="T50" fmla="*/ 158 w 262"/>
                  <a:gd name="T51" fmla="*/ 22 h 260"/>
                  <a:gd name="T52" fmla="*/ 132 w 262"/>
                  <a:gd name="T53" fmla="*/ 18 h 260"/>
                  <a:gd name="T54" fmla="*/ 132 w 262"/>
                  <a:gd name="T55" fmla="*/ 0 h 260"/>
                  <a:gd name="T56" fmla="*/ 146 w 262"/>
                  <a:gd name="T57" fmla="*/ 0 h 260"/>
                  <a:gd name="T58" fmla="*/ 176 w 262"/>
                  <a:gd name="T59" fmla="*/ 8 h 260"/>
                  <a:gd name="T60" fmla="*/ 202 w 262"/>
                  <a:gd name="T61" fmla="*/ 20 h 260"/>
                  <a:gd name="T62" fmla="*/ 224 w 262"/>
                  <a:gd name="T63" fmla="*/ 38 h 260"/>
                  <a:gd name="T64" fmla="*/ 242 w 262"/>
                  <a:gd name="T65" fmla="*/ 60 h 260"/>
                  <a:gd name="T66" fmla="*/ 254 w 262"/>
                  <a:gd name="T67" fmla="*/ 86 h 260"/>
                  <a:gd name="T68" fmla="*/ 260 w 262"/>
                  <a:gd name="T69" fmla="*/ 114 h 260"/>
                  <a:gd name="T70" fmla="*/ 260 w 262"/>
                  <a:gd name="T71" fmla="*/ 146 h 260"/>
                  <a:gd name="T72" fmla="*/ 254 w 262"/>
                  <a:gd name="T73" fmla="*/ 174 h 260"/>
                  <a:gd name="T74" fmla="*/ 242 w 262"/>
                  <a:gd name="T75" fmla="*/ 200 h 260"/>
                  <a:gd name="T76" fmla="*/ 224 w 262"/>
                  <a:gd name="T77" fmla="*/ 222 h 260"/>
                  <a:gd name="T78" fmla="*/ 202 w 262"/>
                  <a:gd name="T79" fmla="*/ 240 h 260"/>
                  <a:gd name="T80" fmla="*/ 176 w 262"/>
                  <a:gd name="T81" fmla="*/ 254 h 260"/>
                  <a:gd name="T82" fmla="*/ 146 w 262"/>
                  <a:gd name="T83" fmla="*/ 260 h 260"/>
                  <a:gd name="T84" fmla="*/ 116 w 262"/>
                  <a:gd name="T85" fmla="*/ 260 h 260"/>
                  <a:gd name="T86" fmla="*/ 88 w 262"/>
                  <a:gd name="T87" fmla="*/ 254 h 260"/>
                  <a:gd name="T88" fmla="*/ 62 w 262"/>
                  <a:gd name="T89" fmla="*/ 240 h 260"/>
                  <a:gd name="T90" fmla="*/ 40 w 262"/>
                  <a:gd name="T91" fmla="*/ 222 h 260"/>
                  <a:gd name="T92" fmla="*/ 20 w 262"/>
                  <a:gd name="T93" fmla="*/ 200 h 260"/>
                  <a:gd name="T94" fmla="*/ 8 w 262"/>
                  <a:gd name="T95" fmla="*/ 174 h 260"/>
                  <a:gd name="T96" fmla="*/ 2 w 262"/>
                  <a:gd name="T97" fmla="*/ 146 h 260"/>
                  <a:gd name="T98" fmla="*/ 2 w 262"/>
                  <a:gd name="T99" fmla="*/ 114 h 260"/>
                  <a:gd name="T100" fmla="*/ 8 w 262"/>
                  <a:gd name="T101" fmla="*/ 86 h 260"/>
                  <a:gd name="T102" fmla="*/ 20 w 262"/>
                  <a:gd name="T103" fmla="*/ 60 h 260"/>
                  <a:gd name="T104" fmla="*/ 40 w 262"/>
                  <a:gd name="T105" fmla="*/ 38 h 260"/>
                  <a:gd name="T106" fmla="*/ 62 w 262"/>
                  <a:gd name="T107" fmla="*/ 20 h 260"/>
                  <a:gd name="T108" fmla="*/ 88 w 262"/>
                  <a:gd name="T109" fmla="*/ 8 h 260"/>
                  <a:gd name="T110" fmla="*/ 116 w 262"/>
                  <a:gd name="T111" fmla="*/ 0 h 260"/>
                  <a:gd name="T112" fmla="*/ 132 w 262"/>
                  <a:gd name="T113"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2" h="260">
                    <a:moveTo>
                      <a:pt x="132" y="18"/>
                    </a:moveTo>
                    <a:lnTo>
                      <a:pt x="132" y="18"/>
                    </a:lnTo>
                    <a:lnTo>
                      <a:pt x="118" y="20"/>
                    </a:lnTo>
                    <a:lnTo>
                      <a:pt x="104" y="22"/>
                    </a:lnTo>
                    <a:lnTo>
                      <a:pt x="90" y="26"/>
                    </a:lnTo>
                    <a:lnTo>
                      <a:pt x="78" y="32"/>
                    </a:lnTo>
                    <a:lnTo>
                      <a:pt x="68" y="38"/>
                    </a:lnTo>
                    <a:lnTo>
                      <a:pt x="58" y="46"/>
                    </a:lnTo>
                    <a:lnTo>
                      <a:pt x="48" y="56"/>
                    </a:lnTo>
                    <a:lnTo>
                      <a:pt x="40" y="66"/>
                    </a:lnTo>
                    <a:lnTo>
                      <a:pt x="32" y="78"/>
                    </a:lnTo>
                    <a:lnTo>
                      <a:pt x="28" y="90"/>
                    </a:lnTo>
                    <a:lnTo>
                      <a:pt x="22" y="102"/>
                    </a:lnTo>
                    <a:lnTo>
                      <a:pt x="20" y="116"/>
                    </a:lnTo>
                    <a:lnTo>
                      <a:pt x="20" y="130"/>
                    </a:lnTo>
                    <a:lnTo>
                      <a:pt x="20" y="144"/>
                    </a:lnTo>
                    <a:lnTo>
                      <a:pt x="22" y="158"/>
                    </a:lnTo>
                    <a:lnTo>
                      <a:pt x="28" y="170"/>
                    </a:lnTo>
                    <a:lnTo>
                      <a:pt x="32" y="182"/>
                    </a:lnTo>
                    <a:lnTo>
                      <a:pt x="40" y="194"/>
                    </a:lnTo>
                    <a:lnTo>
                      <a:pt x="48" y="204"/>
                    </a:lnTo>
                    <a:lnTo>
                      <a:pt x="58" y="214"/>
                    </a:lnTo>
                    <a:lnTo>
                      <a:pt x="68" y="222"/>
                    </a:lnTo>
                    <a:lnTo>
                      <a:pt x="78" y="228"/>
                    </a:lnTo>
                    <a:lnTo>
                      <a:pt x="90" y="234"/>
                    </a:lnTo>
                    <a:lnTo>
                      <a:pt x="104" y="238"/>
                    </a:lnTo>
                    <a:lnTo>
                      <a:pt x="118" y="242"/>
                    </a:lnTo>
                    <a:lnTo>
                      <a:pt x="132" y="242"/>
                    </a:lnTo>
                    <a:lnTo>
                      <a:pt x="146" y="242"/>
                    </a:lnTo>
                    <a:lnTo>
                      <a:pt x="158" y="238"/>
                    </a:lnTo>
                    <a:lnTo>
                      <a:pt x="172" y="234"/>
                    </a:lnTo>
                    <a:lnTo>
                      <a:pt x="184" y="228"/>
                    </a:lnTo>
                    <a:lnTo>
                      <a:pt x="194" y="222"/>
                    </a:lnTo>
                    <a:lnTo>
                      <a:pt x="206" y="214"/>
                    </a:lnTo>
                    <a:lnTo>
                      <a:pt x="214" y="204"/>
                    </a:lnTo>
                    <a:lnTo>
                      <a:pt x="222" y="194"/>
                    </a:lnTo>
                    <a:lnTo>
                      <a:pt x="230" y="182"/>
                    </a:lnTo>
                    <a:lnTo>
                      <a:pt x="236" y="170"/>
                    </a:lnTo>
                    <a:lnTo>
                      <a:pt x="240" y="158"/>
                    </a:lnTo>
                    <a:lnTo>
                      <a:pt x="242" y="144"/>
                    </a:lnTo>
                    <a:lnTo>
                      <a:pt x="244" y="130"/>
                    </a:lnTo>
                    <a:lnTo>
                      <a:pt x="242" y="116"/>
                    </a:lnTo>
                    <a:lnTo>
                      <a:pt x="240" y="102"/>
                    </a:lnTo>
                    <a:lnTo>
                      <a:pt x="236" y="90"/>
                    </a:lnTo>
                    <a:lnTo>
                      <a:pt x="230" y="78"/>
                    </a:lnTo>
                    <a:lnTo>
                      <a:pt x="222" y="66"/>
                    </a:lnTo>
                    <a:lnTo>
                      <a:pt x="214" y="56"/>
                    </a:lnTo>
                    <a:lnTo>
                      <a:pt x="206" y="46"/>
                    </a:lnTo>
                    <a:lnTo>
                      <a:pt x="194" y="38"/>
                    </a:lnTo>
                    <a:lnTo>
                      <a:pt x="184" y="32"/>
                    </a:lnTo>
                    <a:lnTo>
                      <a:pt x="172" y="26"/>
                    </a:lnTo>
                    <a:lnTo>
                      <a:pt x="158" y="22"/>
                    </a:lnTo>
                    <a:lnTo>
                      <a:pt x="146" y="20"/>
                    </a:lnTo>
                    <a:lnTo>
                      <a:pt x="132" y="18"/>
                    </a:lnTo>
                    <a:lnTo>
                      <a:pt x="132" y="18"/>
                    </a:lnTo>
                    <a:close/>
                    <a:moveTo>
                      <a:pt x="132" y="0"/>
                    </a:moveTo>
                    <a:lnTo>
                      <a:pt x="132" y="0"/>
                    </a:lnTo>
                    <a:lnTo>
                      <a:pt x="146" y="0"/>
                    </a:lnTo>
                    <a:lnTo>
                      <a:pt x="162" y="2"/>
                    </a:lnTo>
                    <a:lnTo>
                      <a:pt x="176" y="8"/>
                    </a:lnTo>
                    <a:lnTo>
                      <a:pt x="188" y="12"/>
                    </a:lnTo>
                    <a:lnTo>
                      <a:pt x="202" y="20"/>
                    </a:lnTo>
                    <a:lnTo>
                      <a:pt x="212" y="28"/>
                    </a:lnTo>
                    <a:lnTo>
                      <a:pt x="224" y="38"/>
                    </a:lnTo>
                    <a:lnTo>
                      <a:pt x="232" y="48"/>
                    </a:lnTo>
                    <a:lnTo>
                      <a:pt x="242" y="60"/>
                    </a:lnTo>
                    <a:lnTo>
                      <a:pt x="248" y="72"/>
                    </a:lnTo>
                    <a:lnTo>
                      <a:pt x="254" y="86"/>
                    </a:lnTo>
                    <a:lnTo>
                      <a:pt x="258" y="100"/>
                    </a:lnTo>
                    <a:lnTo>
                      <a:pt x="260" y="114"/>
                    </a:lnTo>
                    <a:lnTo>
                      <a:pt x="262" y="130"/>
                    </a:lnTo>
                    <a:lnTo>
                      <a:pt x="260" y="146"/>
                    </a:lnTo>
                    <a:lnTo>
                      <a:pt x="258" y="160"/>
                    </a:lnTo>
                    <a:lnTo>
                      <a:pt x="254" y="174"/>
                    </a:lnTo>
                    <a:lnTo>
                      <a:pt x="248" y="188"/>
                    </a:lnTo>
                    <a:lnTo>
                      <a:pt x="242" y="200"/>
                    </a:lnTo>
                    <a:lnTo>
                      <a:pt x="232" y="212"/>
                    </a:lnTo>
                    <a:lnTo>
                      <a:pt x="224" y="222"/>
                    </a:lnTo>
                    <a:lnTo>
                      <a:pt x="212" y="232"/>
                    </a:lnTo>
                    <a:lnTo>
                      <a:pt x="202" y="240"/>
                    </a:lnTo>
                    <a:lnTo>
                      <a:pt x="188" y="248"/>
                    </a:lnTo>
                    <a:lnTo>
                      <a:pt x="176" y="254"/>
                    </a:lnTo>
                    <a:lnTo>
                      <a:pt x="162" y="256"/>
                    </a:lnTo>
                    <a:lnTo>
                      <a:pt x="146" y="260"/>
                    </a:lnTo>
                    <a:lnTo>
                      <a:pt x="132" y="260"/>
                    </a:lnTo>
                    <a:lnTo>
                      <a:pt x="116" y="260"/>
                    </a:lnTo>
                    <a:lnTo>
                      <a:pt x="102" y="256"/>
                    </a:lnTo>
                    <a:lnTo>
                      <a:pt x="88" y="254"/>
                    </a:lnTo>
                    <a:lnTo>
                      <a:pt x="74" y="248"/>
                    </a:lnTo>
                    <a:lnTo>
                      <a:pt x="62" y="240"/>
                    </a:lnTo>
                    <a:lnTo>
                      <a:pt x="50" y="232"/>
                    </a:lnTo>
                    <a:lnTo>
                      <a:pt x="40" y="222"/>
                    </a:lnTo>
                    <a:lnTo>
                      <a:pt x="30" y="212"/>
                    </a:lnTo>
                    <a:lnTo>
                      <a:pt x="20" y="200"/>
                    </a:lnTo>
                    <a:lnTo>
                      <a:pt x="14" y="188"/>
                    </a:lnTo>
                    <a:lnTo>
                      <a:pt x="8" y="174"/>
                    </a:lnTo>
                    <a:lnTo>
                      <a:pt x="4" y="160"/>
                    </a:lnTo>
                    <a:lnTo>
                      <a:pt x="2" y="146"/>
                    </a:lnTo>
                    <a:lnTo>
                      <a:pt x="0" y="130"/>
                    </a:lnTo>
                    <a:lnTo>
                      <a:pt x="2" y="114"/>
                    </a:lnTo>
                    <a:lnTo>
                      <a:pt x="4" y="100"/>
                    </a:lnTo>
                    <a:lnTo>
                      <a:pt x="8" y="86"/>
                    </a:lnTo>
                    <a:lnTo>
                      <a:pt x="14" y="72"/>
                    </a:lnTo>
                    <a:lnTo>
                      <a:pt x="20" y="60"/>
                    </a:lnTo>
                    <a:lnTo>
                      <a:pt x="30" y="48"/>
                    </a:lnTo>
                    <a:lnTo>
                      <a:pt x="40" y="38"/>
                    </a:lnTo>
                    <a:lnTo>
                      <a:pt x="50" y="28"/>
                    </a:lnTo>
                    <a:lnTo>
                      <a:pt x="62" y="20"/>
                    </a:lnTo>
                    <a:lnTo>
                      <a:pt x="74" y="12"/>
                    </a:lnTo>
                    <a:lnTo>
                      <a:pt x="88" y="8"/>
                    </a:lnTo>
                    <a:lnTo>
                      <a:pt x="102" y="2"/>
                    </a:lnTo>
                    <a:lnTo>
                      <a:pt x="116" y="0"/>
                    </a:lnTo>
                    <a:lnTo>
                      <a:pt x="132" y="0"/>
                    </a:lnTo>
                    <a:lnTo>
                      <a:pt x="13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42" name="Freeform 106">
                <a:extLst>
                  <a:ext uri="{FF2B5EF4-FFF2-40B4-BE49-F238E27FC236}">
                    <a16:creationId xmlns:a16="http://schemas.microsoft.com/office/drawing/2014/main" id="{86022E70-591A-4DAF-831C-384A0CE2C3FF}"/>
                  </a:ext>
                </a:extLst>
              </p:cNvPr>
              <p:cNvSpPr>
                <a:spLocks noEditPoints="1"/>
              </p:cNvSpPr>
              <p:nvPr/>
            </p:nvSpPr>
            <p:spPr bwMode="auto">
              <a:xfrm>
                <a:off x="4780593" y="2915535"/>
                <a:ext cx="79138" cy="80012"/>
              </a:xfrm>
              <a:custGeom>
                <a:avLst/>
                <a:gdLst>
                  <a:gd name="T0" fmla="*/ 102 w 206"/>
                  <a:gd name="T1" fmla="*/ 20 h 208"/>
                  <a:gd name="T2" fmla="*/ 80 w 206"/>
                  <a:gd name="T3" fmla="*/ 22 h 208"/>
                  <a:gd name="T4" fmla="*/ 60 w 206"/>
                  <a:gd name="T5" fmla="*/ 32 h 208"/>
                  <a:gd name="T6" fmla="*/ 42 w 206"/>
                  <a:gd name="T7" fmla="*/ 44 h 208"/>
                  <a:gd name="T8" fmla="*/ 30 w 206"/>
                  <a:gd name="T9" fmla="*/ 62 h 208"/>
                  <a:gd name="T10" fmla="*/ 22 w 206"/>
                  <a:gd name="T11" fmla="*/ 82 h 208"/>
                  <a:gd name="T12" fmla="*/ 18 w 206"/>
                  <a:gd name="T13" fmla="*/ 104 h 208"/>
                  <a:gd name="T14" fmla="*/ 22 w 206"/>
                  <a:gd name="T15" fmla="*/ 126 h 208"/>
                  <a:gd name="T16" fmla="*/ 30 w 206"/>
                  <a:gd name="T17" fmla="*/ 146 h 208"/>
                  <a:gd name="T18" fmla="*/ 42 w 206"/>
                  <a:gd name="T19" fmla="*/ 164 h 208"/>
                  <a:gd name="T20" fmla="*/ 60 w 206"/>
                  <a:gd name="T21" fmla="*/ 176 h 208"/>
                  <a:gd name="T22" fmla="*/ 80 w 206"/>
                  <a:gd name="T23" fmla="*/ 186 h 208"/>
                  <a:gd name="T24" fmla="*/ 102 w 206"/>
                  <a:gd name="T25" fmla="*/ 188 h 208"/>
                  <a:gd name="T26" fmla="*/ 124 w 206"/>
                  <a:gd name="T27" fmla="*/ 186 h 208"/>
                  <a:gd name="T28" fmla="*/ 144 w 206"/>
                  <a:gd name="T29" fmla="*/ 176 h 208"/>
                  <a:gd name="T30" fmla="*/ 162 w 206"/>
                  <a:gd name="T31" fmla="*/ 164 h 208"/>
                  <a:gd name="T32" fmla="*/ 174 w 206"/>
                  <a:gd name="T33" fmla="*/ 146 h 208"/>
                  <a:gd name="T34" fmla="*/ 184 w 206"/>
                  <a:gd name="T35" fmla="*/ 126 h 208"/>
                  <a:gd name="T36" fmla="*/ 186 w 206"/>
                  <a:gd name="T37" fmla="*/ 104 h 208"/>
                  <a:gd name="T38" fmla="*/ 184 w 206"/>
                  <a:gd name="T39" fmla="*/ 82 h 208"/>
                  <a:gd name="T40" fmla="*/ 174 w 206"/>
                  <a:gd name="T41" fmla="*/ 62 h 208"/>
                  <a:gd name="T42" fmla="*/ 162 w 206"/>
                  <a:gd name="T43" fmla="*/ 44 h 208"/>
                  <a:gd name="T44" fmla="*/ 144 w 206"/>
                  <a:gd name="T45" fmla="*/ 32 h 208"/>
                  <a:gd name="T46" fmla="*/ 124 w 206"/>
                  <a:gd name="T47" fmla="*/ 22 h 208"/>
                  <a:gd name="T48" fmla="*/ 102 w 206"/>
                  <a:gd name="T49" fmla="*/ 20 h 208"/>
                  <a:gd name="T50" fmla="*/ 102 w 206"/>
                  <a:gd name="T51" fmla="*/ 0 h 208"/>
                  <a:gd name="T52" fmla="*/ 114 w 206"/>
                  <a:gd name="T53" fmla="*/ 2 h 208"/>
                  <a:gd name="T54" fmla="*/ 140 w 206"/>
                  <a:gd name="T55" fmla="*/ 8 h 208"/>
                  <a:gd name="T56" fmla="*/ 160 w 206"/>
                  <a:gd name="T57" fmla="*/ 20 h 208"/>
                  <a:gd name="T58" fmla="*/ 180 w 206"/>
                  <a:gd name="T59" fmla="*/ 36 h 208"/>
                  <a:gd name="T60" fmla="*/ 194 w 206"/>
                  <a:gd name="T61" fmla="*/ 56 h 208"/>
                  <a:gd name="T62" fmla="*/ 202 w 206"/>
                  <a:gd name="T63" fmla="*/ 78 h 208"/>
                  <a:gd name="T64" fmla="*/ 206 w 206"/>
                  <a:gd name="T65" fmla="*/ 104 h 208"/>
                  <a:gd name="T66" fmla="*/ 202 w 206"/>
                  <a:gd name="T67" fmla="*/ 130 h 208"/>
                  <a:gd name="T68" fmla="*/ 194 w 206"/>
                  <a:gd name="T69" fmla="*/ 152 h 208"/>
                  <a:gd name="T70" fmla="*/ 180 w 206"/>
                  <a:gd name="T71" fmla="*/ 172 h 208"/>
                  <a:gd name="T72" fmla="*/ 160 w 206"/>
                  <a:gd name="T73" fmla="*/ 188 h 208"/>
                  <a:gd name="T74" fmla="*/ 140 w 206"/>
                  <a:gd name="T75" fmla="*/ 200 h 208"/>
                  <a:gd name="T76" fmla="*/ 114 w 206"/>
                  <a:gd name="T77" fmla="*/ 206 h 208"/>
                  <a:gd name="T78" fmla="*/ 90 w 206"/>
                  <a:gd name="T79" fmla="*/ 206 h 208"/>
                  <a:gd name="T80" fmla="*/ 66 w 206"/>
                  <a:gd name="T81" fmla="*/ 200 h 208"/>
                  <a:gd name="T82" fmla="*/ 44 w 206"/>
                  <a:gd name="T83" fmla="*/ 188 h 208"/>
                  <a:gd name="T84" fmla="*/ 26 w 206"/>
                  <a:gd name="T85" fmla="*/ 172 h 208"/>
                  <a:gd name="T86" fmla="*/ 12 w 206"/>
                  <a:gd name="T87" fmla="*/ 152 h 208"/>
                  <a:gd name="T88" fmla="*/ 2 w 206"/>
                  <a:gd name="T89" fmla="*/ 130 h 208"/>
                  <a:gd name="T90" fmla="*/ 0 w 206"/>
                  <a:gd name="T91" fmla="*/ 104 h 208"/>
                  <a:gd name="T92" fmla="*/ 2 w 206"/>
                  <a:gd name="T93" fmla="*/ 78 h 208"/>
                  <a:gd name="T94" fmla="*/ 12 w 206"/>
                  <a:gd name="T95" fmla="*/ 56 h 208"/>
                  <a:gd name="T96" fmla="*/ 26 w 206"/>
                  <a:gd name="T97" fmla="*/ 36 h 208"/>
                  <a:gd name="T98" fmla="*/ 44 w 206"/>
                  <a:gd name="T99" fmla="*/ 20 h 208"/>
                  <a:gd name="T100" fmla="*/ 66 w 206"/>
                  <a:gd name="T101" fmla="*/ 8 h 208"/>
                  <a:gd name="T102" fmla="*/ 90 w 206"/>
                  <a:gd name="T103" fmla="*/ 2 h 208"/>
                  <a:gd name="T104" fmla="*/ 102 w 206"/>
                  <a:gd name="T10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6" h="208">
                    <a:moveTo>
                      <a:pt x="102" y="20"/>
                    </a:moveTo>
                    <a:lnTo>
                      <a:pt x="102" y="20"/>
                    </a:lnTo>
                    <a:lnTo>
                      <a:pt x="90" y="20"/>
                    </a:lnTo>
                    <a:lnTo>
                      <a:pt x="80" y="22"/>
                    </a:lnTo>
                    <a:lnTo>
                      <a:pt x="70" y="26"/>
                    </a:lnTo>
                    <a:lnTo>
                      <a:pt x="60" y="32"/>
                    </a:lnTo>
                    <a:lnTo>
                      <a:pt x="50" y="38"/>
                    </a:lnTo>
                    <a:lnTo>
                      <a:pt x="42" y="44"/>
                    </a:lnTo>
                    <a:lnTo>
                      <a:pt x="36" y="52"/>
                    </a:lnTo>
                    <a:lnTo>
                      <a:pt x="30" y="62"/>
                    </a:lnTo>
                    <a:lnTo>
                      <a:pt x="24" y="72"/>
                    </a:lnTo>
                    <a:lnTo>
                      <a:pt x="22" y="82"/>
                    </a:lnTo>
                    <a:lnTo>
                      <a:pt x="20" y="92"/>
                    </a:lnTo>
                    <a:lnTo>
                      <a:pt x="18" y="104"/>
                    </a:lnTo>
                    <a:lnTo>
                      <a:pt x="20" y="116"/>
                    </a:lnTo>
                    <a:lnTo>
                      <a:pt x="22" y="126"/>
                    </a:lnTo>
                    <a:lnTo>
                      <a:pt x="24" y="136"/>
                    </a:lnTo>
                    <a:lnTo>
                      <a:pt x="30" y="146"/>
                    </a:lnTo>
                    <a:lnTo>
                      <a:pt x="36" y="156"/>
                    </a:lnTo>
                    <a:lnTo>
                      <a:pt x="42" y="164"/>
                    </a:lnTo>
                    <a:lnTo>
                      <a:pt x="50" y="170"/>
                    </a:lnTo>
                    <a:lnTo>
                      <a:pt x="60" y="176"/>
                    </a:lnTo>
                    <a:lnTo>
                      <a:pt x="70" y="182"/>
                    </a:lnTo>
                    <a:lnTo>
                      <a:pt x="80" y="186"/>
                    </a:lnTo>
                    <a:lnTo>
                      <a:pt x="90" y="188"/>
                    </a:lnTo>
                    <a:lnTo>
                      <a:pt x="102" y="188"/>
                    </a:lnTo>
                    <a:lnTo>
                      <a:pt x="114" y="188"/>
                    </a:lnTo>
                    <a:lnTo>
                      <a:pt x="124" y="186"/>
                    </a:lnTo>
                    <a:lnTo>
                      <a:pt x="136" y="182"/>
                    </a:lnTo>
                    <a:lnTo>
                      <a:pt x="144" y="176"/>
                    </a:lnTo>
                    <a:lnTo>
                      <a:pt x="154" y="170"/>
                    </a:lnTo>
                    <a:lnTo>
                      <a:pt x="162" y="164"/>
                    </a:lnTo>
                    <a:lnTo>
                      <a:pt x="168" y="156"/>
                    </a:lnTo>
                    <a:lnTo>
                      <a:pt x="174" y="146"/>
                    </a:lnTo>
                    <a:lnTo>
                      <a:pt x="180" y="136"/>
                    </a:lnTo>
                    <a:lnTo>
                      <a:pt x="184" y="126"/>
                    </a:lnTo>
                    <a:lnTo>
                      <a:pt x="186" y="116"/>
                    </a:lnTo>
                    <a:lnTo>
                      <a:pt x="186" y="104"/>
                    </a:lnTo>
                    <a:lnTo>
                      <a:pt x="186" y="92"/>
                    </a:lnTo>
                    <a:lnTo>
                      <a:pt x="184" y="82"/>
                    </a:lnTo>
                    <a:lnTo>
                      <a:pt x="180" y="72"/>
                    </a:lnTo>
                    <a:lnTo>
                      <a:pt x="174" y="62"/>
                    </a:lnTo>
                    <a:lnTo>
                      <a:pt x="168" y="52"/>
                    </a:lnTo>
                    <a:lnTo>
                      <a:pt x="162" y="44"/>
                    </a:lnTo>
                    <a:lnTo>
                      <a:pt x="154" y="38"/>
                    </a:lnTo>
                    <a:lnTo>
                      <a:pt x="144" y="32"/>
                    </a:lnTo>
                    <a:lnTo>
                      <a:pt x="136" y="26"/>
                    </a:lnTo>
                    <a:lnTo>
                      <a:pt x="124" y="22"/>
                    </a:lnTo>
                    <a:lnTo>
                      <a:pt x="114" y="20"/>
                    </a:lnTo>
                    <a:lnTo>
                      <a:pt x="102" y="20"/>
                    </a:lnTo>
                    <a:lnTo>
                      <a:pt x="102" y="20"/>
                    </a:lnTo>
                    <a:close/>
                    <a:moveTo>
                      <a:pt x="102" y="0"/>
                    </a:moveTo>
                    <a:lnTo>
                      <a:pt x="102" y="0"/>
                    </a:lnTo>
                    <a:lnTo>
                      <a:pt x="114" y="2"/>
                    </a:lnTo>
                    <a:lnTo>
                      <a:pt x="128" y="4"/>
                    </a:lnTo>
                    <a:lnTo>
                      <a:pt x="140" y="8"/>
                    </a:lnTo>
                    <a:lnTo>
                      <a:pt x="150" y="12"/>
                    </a:lnTo>
                    <a:lnTo>
                      <a:pt x="160" y="20"/>
                    </a:lnTo>
                    <a:lnTo>
                      <a:pt x="170" y="26"/>
                    </a:lnTo>
                    <a:lnTo>
                      <a:pt x="180" y="36"/>
                    </a:lnTo>
                    <a:lnTo>
                      <a:pt x="186" y="46"/>
                    </a:lnTo>
                    <a:lnTo>
                      <a:pt x="194" y="56"/>
                    </a:lnTo>
                    <a:lnTo>
                      <a:pt x="198" y="66"/>
                    </a:lnTo>
                    <a:lnTo>
                      <a:pt x="202" y="78"/>
                    </a:lnTo>
                    <a:lnTo>
                      <a:pt x="204" y="90"/>
                    </a:lnTo>
                    <a:lnTo>
                      <a:pt x="206" y="104"/>
                    </a:lnTo>
                    <a:lnTo>
                      <a:pt x="204" y="116"/>
                    </a:lnTo>
                    <a:lnTo>
                      <a:pt x="202" y="130"/>
                    </a:lnTo>
                    <a:lnTo>
                      <a:pt x="198" y="140"/>
                    </a:lnTo>
                    <a:lnTo>
                      <a:pt x="194" y="152"/>
                    </a:lnTo>
                    <a:lnTo>
                      <a:pt x="186" y="162"/>
                    </a:lnTo>
                    <a:lnTo>
                      <a:pt x="180" y="172"/>
                    </a:lnTo>
                    <a:lnTo>
                      <a:pt x="170" y="182"/>
                    </a:lnTo>
                    <a:lnTo>
                      <a:pt x="160" y="188"/>
                    </a:lnTo>
                    <a:lnTo>
                      <a:pt x="150" y="194"/>
                    </a:lnTo>
                    <a:lnTo>
                      <a:pt x="140" y="200"/>
                    </a:lnTo>
                    <a:lnTo>
                      <a:pt x="128" y="204"/>
                    </a:lnTo>
                    <a:lnTo>
                      <a:pt x="114" y="206"/>
                    </a:lnTo>
                    <a:lnTo>
                      <a:pt x="102" y="208"/>
                    </a:lnTo>
                    <a:lnTo>
                      <a:pt x="90" y="206"/>
                    </a:lnTo>
                    <a:lnTo>
                      <a:pt x="76" y="204"/>
                    </a:lnTo>
                    <a:lnTo>
                      <a:pt x="66" y="200"/>
                    </a:lnTo>
                    <a:lnTo>
                      <a:pt x="54" y="194"/>
                    </a:lnTo>
                    <a:lnTo>
                      <a:pt x="44" y="188"/>
                    </a:lnTo>
                    <a:lnTo>
                      <a:pt x="34" y="182"/>
                    </a:lnTo>
                    <a:lnTo>
                      <a:pt x="26" y="172"/>
                    </a:lnTo>
                    <a:lnTo>
                      <a:pt x="18" y="162"/>
                    </a:lnTo>
                    <a:lnTo>
                      <a:pt x="12" y="152"/>
                    </a:lnTo>
                    <a:lnTo>
                      <a:pt x="6" y="140"/>
                    </a:lnTo>
                    <a:lnTo>
                      <a:pt x="2" y="130"/>
                    </a:lnTo>
                    <a:lnTo>
                      <a:pt x="0" y="116"/>
                    </a:lnTo>
                    <a:lnTo>
                      <a:pt x="0" y="104"/>
                    </a:lnTo>
                    <a:lnTo>
                      <a:pt x="0" y="90"/>
                    </a:lnTo>
                    <a:lnTo>
                      <a:pt x="2" y="78"/>
                    </a:lnTo>
                    <a:lnTo>
                      <a:pt x="6" y="66"/>
                    </a:lnTo>
                    <a:lnTo>
                      <a:pt x="12" y="56"/>
                    </a:lnTo>
                    <a:lnTo>
                      <a:pt x="18" y="46"/>
                    </a:lnTo>
                    <a:lnTo>
                      <a:pt x="26" y="36"/>
                    </a:lnTo>
                    <a:lnTo>
                      <a:pt x="34" y="26"/>
                    </a:lnTo>
                    <a:lnTo>
                      <a:pt x="44" y="20"/>
                    </a:lnTo>
                    <a:lnTo>
                      <a:pt x="54" y="12"/>
                    </a:lnTo>
                    <a:lnTo>
                      <a:pt x="66" y="8"/>
                    </a:lnTo>
                    <a:lnTo>
                      <a:pt x="76" y="4"/>
                    </a:lnTo>
                    <a:lnTo>
                      <a:pt x="90" y="2"/>
                    </a:lnTo>
                    <a:lnTo>
                      <a:pt x="102" y="0"/>
                    </a:lnTo>
                    <a:lnTo>
                      <a:pt x="102"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43" name="Freeform 107">
                <a:extLst>
                  <a:ext uri="{FF2B5EF4-FFF2-40B4-BE49-F238E27FC236}">
                    <a16:creationId xmlns:a16="http://schemas.microsoft.com/office/drawing/2014/main" id="{3A605040-E453-4265-86A5-2C86EECEA424}"/>
                  </a:ext>
                </a:extLst>
              </p:cNvPr>
              <p:cNvSpPr>
                <a:spLocks noEditPoints="1"/>
              </p:cNvSpPr>
              <p:nvPr/>
            </p:nvSpPr>
            <p:spPr bwMode="auto">
              <a:xfrm>
                <a:off x="4600033" y="2960158"/>
                <a:ext cx="68382" cy="68472"/>
              </a:xfrm>
              <a:custGeom>
                <a:avLst/>
                <a:gdLst>
                  <a:gd name="T0" fmla="*/ 90 w 178"/>
                  <a:gd name="T1" fmla="*/ 20 h 178"/>
                  <a:gd name="T2" fmla="*/ 70 w 178"/>
                  <a:gd name="T3" fmla="*/ 22 h 178"/>
                  <a:gd name="T4" fmla="*/ 52 w 178"/>
                  <a:gd name="T5" fmla="*/ 30 h 178"/>
                  <a:gd name="T6" fmla="*/ 36 w 178"/>
                  <a:gd name="T7" fmla="*/ 44 h 178"/>
                  <a:gd name="T8" fmla="*/ 26 w 178"/>
                  <a:gd name="T9" fmla="*/ 60 h 178"/>
                  <a:gd name="T10" fmla="*/ 20 w 178"/>
                  <a:gd name="T11" fmla="*/ 78 h 178"/>
                  <a:gd name="T12" fmla="*/ 20 w 178"/>
                  <a:gd name="T13" fmla="*/ 98 h 178"/>
                  <a:gd name="T14" fmla="*/ 26 w 178"/>
                  <a:gd name="T15" fmla="*/ 118 h 178"/>
                  <a:gd name="T16" fmla="*/ 36 w 178"/>
                  <a:gd name="T17" fmla="*/ 134 h 178"/>
                  <a:gd name="T18" fmla="*/ 52 w 178"/>
                  <a:gd name="T19" fmla="*/ 148 h 178"/>
                  <a:gd name="T20" fmla="*/ 70 w 178"/>
                  <a:gd name="T21" fmla="*/ 156 h 178"/>
                  <a:gd name="T22" fmla="*/ 90 w 178"/>
                  <a:gd name="T23" fmla="*/ 158 h 178"/>
                  <a:gd name="T24" fmla="*/ 110 w 178"/>
                  <a:gd name="T25" fmla="*/ 156 h 178"/>
                  <a:gd name="T26" fmla="*/ 128 w 178"/>
                  <a:gd name="T27" fmla="*/ 148 h 178"/>
                  <a:gd name="T28" fmla="*/ 142 w 178"/>
                  <a:gd name="T29" fmla="*/ 134 h 178"/>
                  <a:gd name="T30" fmla="*/ 152 w 178"/>
                  <a:gd name="T31" fmla="*/ 118 h 178"/>
                  <a:gd name="T32" fmla="*/ 158 w 178"/>
                  <a:gd name="T33" fmla="*/ 98 h 178"/>
                  <a:gd name="T34" fmla="*/ 158 w 178"/>
                  <a:gd name="T35" fmla="*/ 78 h 178"/>
                  <a:gd name="T36" fmla="*/ 152 w 178"/>
                  <a:gd name="T37" fmla="*/ 60 h 178"/>
                  <a:gd name="T38" fmla="*/ 142 w 178"/>
                  <a:gd name="T39" fmla="*/ 44 h 178"/>
                  <a:gd name="T40" fmla="*/ 128 w 178"/>
                  <a:gd name="T41" fmla="*/ 30 h 178"/>
                  <a:gd name="T42" fmla="*/ 110 w 178"/>
                  <a:gd name="T43" fmla="*/ 22 h 178"/>
                  <a:gd name="T44" fmla="*/ 90 w 178"/>
                  <a:gd name="T45" fmla="*/ 20 h 178"/>
                  <a:gd name="T46" fmla="*/ 90 w 178"/>
                  <a:gd name="T47" fmla="*/ 0 h 178"/>
                  <a:gd name="T48" fmla="*/ 102 w 178"/>
                  <a:gd name="T49" fmla="*/ 2 h 178"/>
                  <a:gd name="T50" fmla="*/ 124 w 178"/>
                  <a:gd name="T51" fmla="*/ 8 h 178"/>
                  <a:gd name="T52" fmla="*/ 144 w 178"/>
                  <a:gd name="T53" fmla="*/ 20 h 178"/>
                  <a:gd name="T54" fmla="*/ 160 w 178"/>
                  <a:gd name="T55" fmla="*/ 36 h 178"/>
                  <a:gd name="T56" fmla="*/ 170 w 178"/>
                  <a:gd name="T57" fmla="*/ 54 h 178"/>
                  <a:gd name="T58" fmla="*/ 178 w 178"/>
                  <a:gd name="T59" fmla="*/ 76 h 178"/>
                  <a:gd name="T60" fmla="*/ 178 w 178"/>
                  <a:gd name="T61" fmla="*/ 100 h 178"/>
                  <a:gd name="T62" fmla="*/ 170 w 178"/>
                  <a:gd name="T63" fmla="*/ 124 h 178"/>
                  <a:gd name="T64" fmla="*/ 160 w 178"/>
                  <a:gd name="T65" fmla="*/ 142 h 178"/>
                  <a:gd name="T66" fmla="*/ 144 w 178"/>
                  <a:gd name="T67" fmla="*/ 158 h 178"/>
                  <a:gd name="T68" fmla="*/ 124 w 178"/>
                  <a:gd name="T69" fmla="*/ 170 h 178"/>
                  <a:gd name="T70" fmla="*/ 102 w 178"/>
                  <a:gd name="T71" fmla="*/ 176 h 178"/>
                  <a:gd name="T72" fmla="*/ 78 w 178"/>
                  <a:gd name="T73" fmla="*/ 176 h 178"/>
                  <a:gd name="T74" fmla="*/ 54 w 178"/>
                  <a:gd name="T75" fmla="*/ 170 h 178"/>
                  <a:gd name="T76" fmla="*/ 36 w 178"/>
                  <a:gd name="T77" fmla="*/ 158 h 178"/>
                  <a:gd name="T78" fmla="*/ 20 w 178"/>
                  <a:gd name="T79" fmla="*/ 142 h 178"/>
                  <a:gd name="T80" fmla="*/ 8 w 178"/>
                  <a:gd name="T81" fmla="*/ 124 h 178"/>
                  <a:gd name="T82" fmla="*/ 2 w 178"/>
                  <a:gd name="T83" fmla="*/ 100 h 178"/>
                  <a:gd name="T84" fmla="*/ 2 w 178"/>
                  <a:gd name="T85" fmla="*/ 76 h 178"/>
                  <a:gd name="T86" fmla="*/ 8 w 178"/>
                  <a:gd name="T87" fmla="*/ 54 h 178"/>
                  <a:gd name="T88" fmla="*/ 20 w 178"/>
                  <a:gd name="T89" fmla="*/ 36 h 178"/>
                  <a:gd name="T90" fmla="*/ 36 w 178"/>
                  <a:gd name="T91" fmla="*/ 20 h 178"/>
                  <a:gd name="T92" fmla="*/ 54 w 178"/>
                  <a:gd name="T93" fmla="*/ 8 h 178"/>
                  <a:gd name="T94" fmla="*/ 78 w 178"/>
                  <a:gd name="T95" fmla="*/ 2 h 178"/>
                  <a:gd name="T96" fmla="*/ 90 w 178"/>
                  <a:gd name="T9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8" h="178">
                    <a:moveTo>
                      <a:pt x="90" y="20"/>
                    </a:moveTo>
                    <a:lnTo>
                      <a:pt x="90" y="20"/>
                    </a:lnTo>
                    <a:lnTo>
                      <a:pt x="78" y="20"/>
                    </a:lnTo>
                    <a:lnTo>
                      <a:pt x="70" y="22"/>
                    </a:lnTo>
                    <a:lnTo>
                      <a:pt x="60" y="26"/>
                    </a:lnTo>
                    <a:lnTo>
                      <a:pt x="52" y="30"/>
                    </a:lnTo>
                    <a:lnTo>
                      <a:pt x="44" y="36"/>
                    </a:lnTo>
                    <a:lnTo>
                      <a:pt x="36" y="44"/>
                    </a:lnTo>
                    <a:lnTo>
                      <a:pt x="30" y="50"/>
                    </a:lnTo>
                    <a:lnTo>
                      <a:pt x="26" y="60"/>
                    </a:lnTo>
                    <a:lnTo>
                      <a:pt x="22" y="68"/>
                    </a:lnTo>
                    <a:lnTo>
                      <a:pt x="20" y="78"/>
                    </a:lnTo>
                    <a:lnTo>
                      <a:pt x="20" y="88"/>
                    </a:lnTo>
                    <a:lnTo>
                      <a:pt x="20" y="98"/>
                    </a:lnTo>
                    <a:lnTo>
                      <a:pt x="22" y="110"/>
                    </a:lnTo>
                    <a:lnTo>
                      <a:pt x="26" y="118"/>
                    </a:lnTo>
                    <a:lnTo>
                      <a:pt x="30" y="126"/>
                    </a:lnTo>
                    <a:lnTo>
                      <a:pt x="36" y="134"/>
                    </a:lnTo>
                    <a:lnTo>
                      <a:pt x="44" y="142"/>
                    </a:lnTo>
                    <a:lnTo>
                      <a:pt x="52" y="148"/>
                    </a:lnTo>
                    <a:lnTo>
                      <a:pt x="60" y="152"/>
                    </a:lnTo>
                    <a:lnTo>
                      <a:pt x="70" y="156"/>
                    </a:lnTo>
                    <a:lnTo>
                      <a:pt x="78" y="158"/>
                    </a:lnTo>
                    <a:lnTo>
                      <a:pt x="90" y="158"/>
                    </a:lnTo>
                    <a:lnTo>
                      <a:pt x="100" y="158"/>
                    </a:lnTo>
                    <a:lnTo>
                      <a:pt x="110" y="156"/>
                    </a:lnTo>
                    <a:lnTo>
                      <a:pt x="118" y="152"/>
                    </a:lnTo>
                    <a:lnTo>
                      <a:pt x="128" y="148"/>
                    </a:lnTo>
                    <a:lnTo>
                      <a:pt x="134" y="142"/>
                    </a:lnTo>
                    <a:lnTo>
                      <a:pt x="142" y="134"/>
                    </a:lnTo>
                    <a:lnTo>
                      <a:pt x="148" y="126"/>
                    </a:lnTo>
                    <a:lnTo>
                      <a:pt x="152" y="118"/>
                    </a:lnTo>
                    <a:lnTo>
                      <a:pt x="156" y="110"/>
                    </a:lnTo>
                    <a:lnTo>
                      <a:pt x="158" y="98"/>
                    </a:lnTo>
                    <a:lnTo>
                      <a:pt x="158" y="88"/>
                    </a:lnTo>
                    <a:lnTo>
                      <a:pt x="158" y="78"/>
                    </a:lnTo>
                    <a:lnTo>
                      <a:pt x="156" y="68"/>
                    </a:lnTo>
                    <a:lnTo>
                      <a:pt x="152" y="60"/>
                    </a:lnTo>
                    <a:lnTo>
                      <a:pt x="148" y="50"/>
                    </a:lnTo>
                    <a:lnTo>
                      <a:pt x="142" y="44"/>
                    </a:lnTo>
                    <a:lnTo>
                      <a:pt x="134" y="36"/>
                    </a:lnTo>
                    <a:lnTo>
                      <a:pt x="128" y="30"/>
                    </a:lnTo>
                    <a:lnTo>
                      <a:pt x="118" y="26"/>
                    </a:lnTo>
                    <a:lnTo>
                      <a:pt x="110" y="22"/>
                    </a:lnTo>
                    <a:lnTo>
                      <a:pt x="100" y="20"/>
                    </a:lnTo>
                    <a:lnTo>
                      <a:pt x="90" y="20"/>
                    </a:lnTo>
                    <a:lnTo>
                      <a:pt x="90" y="20"/>
                    </a:lnTo>
                    <a:close/>
                    <a:moveTo>
                      <a:pt x="90" y="0"/>
                    </a:moveTo>
                    <a:lnTo>
                      <a:pt x="90" y="0"/>
                    </a:lnTo>
                    <a:lnTo>
                      <a:pt x="102" y="2"/>
                    </a:lnTo>
                    <a:lnTo>
                      <a:pt x="112" y="4"/>
                    </a:lnTo>
                    <a:lnTo>
                      <a:pt x="124" y="8"/>
                    </a:lnTo>
                    <a:lnTo>
                      <a:pt x="134" y="12"/>
                    </a:lnTo>
                    <a:lnTo>
                      <a:pt x="144" y="20"/>
                    </a:lnTo>
                    <a:lnTo>
                      <a:pt x="152" y="26"/>
                    </a:lnTo>
                    <a:lnTo>
                      <a:pt x="160" y="36"/>
                    </a:lnTo>
                    <a:lnTo>
                      <a:pt x="166" y="44"/>
                    </a:lnTo>
                    <a:lnTo>
                      <a:pt x="170" y="54"/>
                    </a:lnTo>
                    <a:lnTo>
                      <a:pt x="174" y="66"/>
                    </a:lnTo>
                    <a:lnTo>
                      <a:pt x="178" y="76"/>
                    </a:lnTo>
                    <a:lnTo>
                      <a:pt x="178" y="88"/>
                    </a:lnTo>
                    <a:lnTo>
                      <a:pt x="178" y="100"/>
                    </a:lnTo>
                    <a:lnTo>
                      <a:pt x="174" y="112"/>
                    </a:lnTo>
                    <a:lnTo>
                      <a:pt x="170" y="124"/>
                    </a:lnTo>
                    <a:lnTo>
                      <a:pt x="166" y="134"/>
                    </a:lnTo>
                    <a:lnTo>
                      <a:pt x="160" y="142"/>
                    </a:lnTo>
                    <a:lnTo>
                      <a:pt x="152" y="152"/>
                    </a:lnTo>
                    <a:lnTo>
                      <a:pt x="144" y="158"/>
                    </a:lnTo>
                    <a:lnTo>
                      <a:pt x="134" y="166"/>
                    </a:lnTo>
                    <a:lnTo>
                      <a:pt x="124" y="170"/>
                    </a:lnTo>
                    <a:lnTo>
                      <a:pt x="112" y="174"/>
                    </a:lnTo>
                    <a:lnTo>
                      <a:pt x="102" y="176"/>
                    </a:lnTo>
                    <a:lnTo>
                      <a:pt x="90" y="178"/>
                    </a:lnTo>
                    <a:lnTo>
                      <a:pt x="78" y="176"/>
                    </a:lnTo>
                    <a:lnTo>
                      <a:pt x="66" y="174"/>
                    </a:lnTo>
                    <a:lnTo>
                      <a:pt x="54" y="170"/>
                    </a:lnTo>
                    <a:lnTo>
                      <a:pt x="44" y="166"/>
                    </a:lnTo>
                    <a:lnTo>
                      <a:pt x="36" y="158"/>
                    </a:lnTo>
                    <a:lnTo>
                      <a:pt x="26" y="152"/>
                    </a:lnTo>
                    <a:lnTo>
                      <a:pt x="20" y="142"/>
                    </a:lnTo>
                    <a:lnTo>
                      <a:pt x="12" y="134"/>
                    </a:lnTo>
                    <a:lnTo>
                      <a:pt x="8" y="124"/>
                    </a:lnTo>
                    <a:lnTo>
                      <a:pt x="4" y="112"/>
                    </a:lnTo>
                    <a:lnTo>
                      <a:pt x="2" y="100"/>
                    </a:lnTo>
                    <a:lnTo>
                      <a:pt x="0" y="88"/>
                    </a:lnTo>
                    <a:lnTo>
                      <a:pt x="2" y="76"/>
                    </a:lnTo>
                    <a:lnTo>
                      <a:pt x="4" y="66"/>
                    </a:lnTo>
                    <a:lnTo>
                      <a:pt x="8" y="54"/>
                    </a:lnTo>
                    <a:lnTo>
                      <a:pt x="12" y="44"/>
                    </a:lnTo>
                    <a:lnTo>
                      <a:pt x="20" y="36"/>
                    </a:lnTo>
                    <a:lnTo>
                      <a:pt x="26" y="26"/>
                    </a:lnTo>
                    <a:lnTo>
                      <a:pt x="36" y="20"/>
                    </a:lnTo>
                    <a:lnTo>
                      <a:pt x="44" y="12"/>
                    </a:lnTo>
                    <a:lnTo>
                      <a:pt x="54" y="8"/>
                    </a:lnTo>
                    <a:lnTo>
                      <a:pt x="66" y="4"/>
                    </a:lnTo>
                    <a:lnTo>
                      <a:pt x="78" y="2"/>
                    </a:lnTo>
                    <a:lnTo>
                      <a:pt x="90" y="0"/>
                    </a:lnTo>
                    <a:lnTo>
                      <a:pt x="9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44" name="Freeform 108">
                <a:extLst>
                  <a:ext uri="{FF2B5EF4-FFF2-40B4-BE49-F238E27FC236}">
                    <a16:creationId xmlns:a16="http://schemas.microsoft.com/office/drawing/2014/main" id="{41335FFC-A05F-456C-9644-6E1EB38D5086}"/>
                  </a:ext>
                </a:extLst>
              </p:cNvPr>
              <p:cNvSpPr>
                <a:spLocks/>
              </p:cNvSpPr>
              <p:nvPr/>
            </p:nvSpPr>
            <p:spPr bwMode="auto">
              <a:xfrm>
                <a:off x="4609253" y="3031705"/>
                <a:ext cx="50710" cy="35390"/>
              </a:xfrm>
              <a:custGeom>
                <a:avLst/>
                <a:gdLst>
                  <a:gd name="T0" fmla="*/ 126 w 132"/>
                  <a:gd name="T1" fmla="*/ 2 h 92"/>
                  <a:gd name="T2" fmla="*/ 122 w 132"/>
                  <a:gd name="T3" fmla="*/ 4 h 92"/>
                  <a:gd name="T4" fmla="*/ 116 w 132"/>
                  <a:gd name="T5" fmla="*/ 6 h 92"/>
                  <a:gd name="T6" fmla="*/ 110 w 132"/>
                  <a:gd name="T7" fmla="*/ 10 h 92"/>
                  <a:gd name="T8" fmla="*/ 106 w 132"/>
                  <a:gd name="T9" fmla="*/ 10 h 92"/>
                  <a:gd name="T10" fmla="*/ 100 w 132"/>
                  <a:gd name="T11" fmla="*/ 12 h 92"/>
                  <a:gd name="T12" fmla="*/ 94 w 132"/>
                  <a:gd name="T13" fmla="*/ 14 h 92"/>
                  <a:gd name="T14" fmla="*/ 90 w 132"/>
                  <a:gd name="T15" fmla="*/ 16 h 92"/>
                  <a:gd name="T16" fmla="*/ 84 w 132"/>
                  <a:gd name="T17" fmla="*/ 16 h 92"/>
                  <a:gd name="T18" fmla="*/ 78 w 132"/>
                  <a:gd name="T19" fmla="*/ 18 h 92"/>
                  <a:gd name="T20" fmla="*/ 72 w 132"/>
                  <a:gd name="T21" fmla="*/ 18 h 92"/>
                  <a:gd name="T22" fmla="*/ 66 w 132"/>
                  <a:gd name="T23" fmla="*/ 18 h 92"/>
                  <a:gd name="T24" fmla="*/ 58 w 132"/>
                  <a:gd name="T25" fmla="*/ 18 h 92"/>
                  <a:gd name="T26" fmla="*/ 52 w 132"/>
                  <a:gd name="T27" fmla="*/ 18 h 92"/>
                  <a:gd name="T28" fmla="*/ 48 w 132"/>
                  <a:gd name="T29" fmla="*/ 16 h 92"/>
                  <a:gd name="T30" fmla="*/ 40 w 132"/>
                  <a:gd name="T31" fmla="*/ 16 h 92"/>
                  <a:gd name="T32" fmla="*/ 36 w 132"/>
                  <a:gd name="T33" fmla="*/ 14 h 92"/>
                  <a:gd name="T34" fmla="*/ 30 w 132"/>
                  <a:gd name="T35" fmla="*/ 12 h 92"/>
                  <a:gd name="T36" fmla="*/ 24 w 132"/>
                  <a:gd name="T37" fmla="*/ 10 h 92"/>
                  <a:gd name="T38" fmla="*/ 20 w 132"/>
                  <a:gd name="T39" fmla="*/ 10 h 92"/>
                  <a:gd name="T40" fmla="*/ 14 w 132"/>
                  <a:gd name="T41" fmla="*/ 6 h 92"/>
                  <a:gd name="T42" fmla="*/ 10 w 132"/>
                  <a:gd name="T43" fmla="*/ 4 h 92"/>
                  <a:gd name="T44" fmla="*/ 4 w 132"/>
                  <a:gd name="T45" fmla="*/ 2 h 92"/>
                  <a:gd name="T46" fmla="*/ 0 w 132"/>
                  <a:gd name="T47" fmla="*/ 4 h 92"/>
                  <a:gd name="T48" fmla="*/ 0 w 132"/>
                  <a:gd name="T49" fmla="*/ 70 h 92"/>
                  <a:gd name="T50" fmla="*/ 2 w 132"/>
                  <a:gd name="T51" fmla="*/ 80 h 92"/>
                  <a:gd name="T52" fmla="*/ 10 w 132"/>
                  <a:gd name="T53" fmla="*/ 88 h 92"/>
                  <a:gd name="T54" fmla="*/ 22 w 132"/>
                  <a:gd name="T55" fmla="*/ 92 h 92"/>
                  <a:gd name="T56" fmla="*/ 116 w 132"/>
                  <a:gd name="T57" fmla="*/ 90 h 92"/>
                  <a:gd name="T58" fmla="*/ 124 w 132"/>
                  <a:gd name="T59" fmla="*/ 86 h 92"/>
                  <a:gd name="T60" fmla="*/ 130 w 132"/>
                  <a:gd name="T61" fmla="*/ 76 h 92"/>
                  <a:gd name="T62" fmla="*/ 132 w 132"/>
                  <a:gd name="T63" fmla="*/ 8 h 92"/>
                  <a:gd name="T64" fmla="*/ 130 w 132"/>
                  <a:gd name="T65" fmla="*/ 0 h 92"/>
                  <a:gd name="T66" fmla="*/ 130 w 132"/>
                  <a:gd name="T6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2" h="92">
                    <a:moveTo>
                      <a:pt x="130" y="0"/>
                    </a:moveTo>
                    <a:lnTo>
                      <a:pt x="126" y="2"/>
                    </a:lnTo>
                    <a:lnTo>
                      <a:pt x="124" y="2"/>
                    </a:lnTo>
                    <a:lnTo>
                      <a:pt x="122" y="4"/>
                    </a:lnTo>
                    <a:lnTo>
                      <a:pt x="120" y="4"/>
                    </a:lnTo>
                    <a:lnTo>
                      <a:pt x="116" y="6"/>
                    </a:lnTo>
                    <a:lnTo>
                      <a:pt x="114" y="8"/>
                    </a:lnTo>
                    <a:lnTo>
                      <a:pt x="110" y="10"/>
                    </a:lnTo>
                    <a:lnTo>
                      <a:pt x="108" y="10"/>
                    </a:lnTo>
                    <a:lnTo>
                      <a:pt x="106" y="10"/>
                    </a:lnTo>
                    <a:lnTo>
                      <a:pt x="104" y="12"/>
                    </a:lnTo>
                    <a:lnTo>
                      <a:pt x="100" y="12"/>
                    </a:lnTo>
                    <a:lnTo>
                      <a:pt x="100" y="14"/>
                    </a:lnTo>
                    <a:lnTo>
                      <a:pt x="94" y="14"/>
                    </a:lnTo>
                    <a:lnTo>
                      <a:pt x="92" y="14"/>
                    </a:lnTo>
                    <a:lnTo>
                      <a:pt x="90" y="16"/>
                    </a:lnTo>
                    <a:lnTo>
                      <a:pt x="88" y="16"/>
                    </a:lnTo>
                    <a:lnTo>
                      <a:pt x="84" y="16"/>
                    </a:lnTo>
                    <a:lnTo>
                      <a:pt x="82" y="18"/>
                    </a:lnTo>
                    <a:lnTo>
                      <a:pt x="78" y="18"/>
                    </a:lnTo>
                    <a:lnTo>
                      <a:pt x="76" y="18"/>
                    </a:lnTo>
                    <a:lnTo>
                      <a:pt x="72" y="18"/>
                    </a:lnTo>
                    <a:lnTo>
                      <a:pt x="70" y="18"/>
                    </a:lnTo>
                    <a:lnTo>
                      <a:pt x="66" y="18"/>
                    </a:lnTo>
                    <a:lnTo>
                      <a:pt x="60" y="18"/>
                    </a:lnTo>
                    <a:lnTo>
                      <a:pt x="58" y="18"/>
                    </a:lnTo>
                    <a:lnTo>
                      <a:pt x="54" y="18"/>
                    </a:lnTo>
                    <a:lnTo>
                      <a:pt x="52" y="18"/>
                    </a:lnTo>
                    <a:lnTo>
                      <a:pt x="48" y="18"/>
                    </a:lnTo>
                    <a:lnTo>
                      <a:pt x="48" y="16"/>
                    </a:lnTo>
                    <a:lnTo>
                      <a:pt x="42" y="16"/>
                    </a:lnTo>
                    <a:lnTo>
                      <a:pt x="40" y="16"/>
                    </a:lnTo>
                    <a:lnTo>
                      <a:pt x="38" y="14"/>
                    </a:lnTo>
                    <a:lnTo>
                      <a:pt x="36" y="14"/>
                    </a:lnTo>
                    <a:lnTo>
                      <a:pt x="32" y="14"/>
                    </a:lnTo>
                    <a:lnTo>
                      <a:pt x="30" y="12"/>
                    </a:lnTo>
                    <a:lnTo>
                      <a:pt x="26" y="12"/>
                    </a:lnTo>
                    <a:lnTo>
                      <a:pt x="24" y="10"/>
                    </a:lnTo>
                    <a:lnTo>
                      <a:pt x="22" y="10"/>
                    </a:lnTo>
                    <a:lnTo>
                      <a:pt x="20" y="10"/>
                    </a:lnTo>
                    <a:lnTo>
                      <a:pt x="16" y="8"/>
                    </a:lnTo>
                    <a:lnTo>
                      <a:pt x="14" y="6"/>
                    </a:lnTo>
                    <a:lnTo>
                      <a:pt x="12" y="4"/>
                    </a:lnTo>
                    <a:lnTo>
                      <a:pt x="10" y="4"/>
                    </a:lnTo>
                    <a:lnTo>
                      <a:pt x="8" y="2"/>
                    </a:lnTo>
                    <a:lnTo>
                      <a:pt x="4" y="2"/>
                    </a:lnTo>
                    <a:lnTo>
                      <a:pt x="2" y="0"/>
                    </a:lnTo>
                    <a:lnTo>
                      <a:pt x="0" y="4"/>
                    </a:lnTo>
                    <a:lnTo>
                      <a:pt x="0" y="8"/>
                    </a:lnTo>
                    <a:lnTo>
                      <a:pt x="0" y="70"/>
                    </a:lnTo>
                    <a:lnTo>
                      <a:pt x="0" y="76"/>
                    </a:lnTo>
                    <a:lnTo>
                      <a:pt x="2" y="80"/>
                    </a:lnTo>
                    <a:lnTo>
                      <a:pt x="6" y="86"/>
                    </a:lnTo>
                    <a:lnTo>
                      <a:pt x="10" y="88"/>
                    </a:lnTo>
                    <a:lnTo>
                      <a:pt x="16" y="90"/>
                    </a:lnTo>
                    <a:lnTo>
                      <a:pt x="22" y="92"/>
                    </a:lnTo>
                    <a:lnTo>
                      <a:pt x="110" y="92"/>
                    </a:lnTo>
                    <a:lnTo>
                      <a:pt x="116" y="90"/>
                    </a:lnTo>
                    <a:lnTo>
                      <a:pt x="120" y="88"/>
                    </a:lnTo>
                    <a:lnTo>
                      <a:pt x="124" y="86"/>
                    </a:lnTo>
                    <a:lnTo>
                      <a:pt x="128" y="80"/>
                    </a:lnTo>
                    <a:lnTo>
                      <a:pt x="130" y="76"/>
                    </a:lnTo>
                    <a:lnTo>
                      <a:pt x="132" y="70"/>
                    </a:lnTo>
                    <a:lnTo>
                      <a:pt x="132" y="8"/>
                    </a:lnTo>
                    <a:lnTo>
                      <a:pt x="130" y="4"/>
                    </a:lnTo>
                    <a:lnTo>
                      <a:pt x="130" y="0"/>
                    </a:lnTo>
                    <a:lnTo>
                      <a:pt x="130" y="0"/>
                    </a:lnTo>
                    <a:lnTo>
                      <a:pt x="13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45" name="Freeform 109">
                <a:extLst>
                  <a:ext uri="{FF2B5EF4-FFF2-40B4-BE49-F238E27FC236}">
                    <a16:creationId xmlns:a16="http://schemas.microsoft.com/office/drawing/2014/main" id="{EA9EF34A-B555-41C8-AD11-FCBD4866FC02}"/>
                  </a:ext>
                </a:extLst>
              </p:cNvPr>
              <p:cNvSpPr>
                <a:spLocks/>
              </p:cNvSpPr>
              <p:nvPr/>
            </p:nvSpPr>
            <p:spPr bwMode="auto">
              <a:xfrm>
                <a:off x="4832839" y="2958619"/>
                <a:ext cx="137533" cy="119250"/>
              </a:xfrm>
              <a:custGeom>
                <a:avLst/>
                <a:gdLst>
                  <a:gd name="T0" fmla="*/ 98 w 358"/>
                  <a:gd name="T1" fmla="*/ 0 h 310"/>
                  <a:gd name="T2" fmla="*/ 94 w 358"/>
                  <a:gd name="T3" fmla="*/ 22 h 310"/>
                  <a:gd name="T4" fmla="*/ 90 w 358"/>
                  <a:gd name="T5" fmla="*/ 32 h 310"/>
                  <a:gd name="T6" fmla="*/ 86 w 358"/>
                  <a:gd name="T7" fmla="*/ 44 h 310"/>
                  <a:gd name="T8" fmla="*/ 80 w 358"/>
                  <a:gd name="T9" fmla="*/ 56 h 310"/>
                  <a:gd name="T10" fmla="*/ 76 w 358"/>
                  <a:gd name="T11" fmla="*/ 64 h 310"/>
                  <a:gd name="T12" fmla="*/ 74 w 358"/>
                  <a:gd name="T13" fmla="*/ 68 h 310"/>
                  <a:gd name="T14" fmla="*/ 68 w 358"/>
                  <a:gd name="T15" fmla="*/ 74 h 310"/>
                  <a:gd name="T16" fmla="*/ 66 w 358"/>
                  <a:gd name="T17" fmla="*/ 78 h 310"/>
                  <a:gd name="T18" fmla="*/ 60 w 358"/>
                  <a:gd name="T19" fmla="*/ 84 h 310"/>
                  <a:gd name="T20" fmla="*/ 56 w 358"/>
                  <a:gd name="T21" fmla="*/ 86 h 310"/>
                  <a:gd name="T22" fmla="*/ 54 w 358"/>
                  <a:gd name="T23" fmla="*/ 90 h 310"/>
                  <a:gd name="T24" fmla="*/ 50 w 358"/>
                  <a:gd name="T25" fmla="*/ 92 h 310"/>
                  <a:gd name="T26" fmla="*/ 46 w 358"/>
                  <a:gd name="T27" fmla="*/ 96 h 310"/>
                  <a:gd name="T28" fmla="*/ 42 w 358"/>
                  <a:gd name="T29" fmla="*/ 98 h 310"/>
                  <a:gd name="T30" fmla="*/ 40 w 358"/>
                  <a:gd name="T31" fmla="*/ 100 h 310"/>
                  <a:gd name="T32" fmla="*/ 36 w 358"/>
                  <a:gd name="T33" fmla="*/ 102 h 310"/>
                  <a:gd name="T34" fmla="*/ 32 w 358"/>
                  <a:gd name="T35" fmla="*/ 106 h 310"/>
                  <a:gd name="T36" fmla="*/ 28 w 358"/>
                  <a:gd name="T37" fmla="*/ 108 h 310"/>
                  <a:gd name="T38" fmla="*/ 22 w 358"/>
                  <a:gd name="T39" fmla="*/ 110 h 310"/>
                  <a:gd name="T40" fmla="*/ 18 w 358"/>
                  <a:gd name="T41" fmla="*/ 112 h 310"/>
                  <a:gd name="T42" fmla="*/ 16 w 358"/>
                  <a:gd name="T43" fmla="*/ 112 h 310"/>
                  <a:gd name="T44" fmla="*/ 12 w 358"/>
                  <a:gd name="T45" fmla="*/ 114 h 310"/>
                  <a:gd name="T46" fmla="*/ 10 w 358"/>
                  <a:gd name="T47" fmla="*/ 116 h 310"/>
                  <a:gd name="T48" fmla="*/ 6 w 358"/>
                  <a:gd name="T49" fmla="*/ 116 h 310"/>
                  <a:gd name="T50" fmla="*/ 224 w 358"/>
                  <a:gd name="T51" fmla="*/ 310 h 310"/>
                  <a:gd name="T52" fmla="*/ 226 w 358"/>
                  <a:gd name="T53" fmla="*/ 306 h 310"/>
                  <a:gd name="T54" fmla="*/ 230 w 358"/>
                  <a:gd name="T55" fmla="*/ 292 h 310"/>
                  <a:gd name="T56" fmla="*/ 232 w 358"/>
                  <a:gd name="T57" fmla="*/ 284 h 310"/>
                  <a:gd name="T58" fmla="*/ 234 w 358"/>
                  <a:gd name="T59" fmla="*/ 280 h 310"/>
                  <a:gd name="T60" fmla="*/ 242 w 358"/>
                  <a:gd name="T61" fmla="*/ 264 h 310"/>
                  <a:gd name="T62" fmla="*/ 244 w 358"/>
                  <a:gd name="T63" fmla="*/ 260 h 310"/>
                  <a:gd name="T64" fmla="*/ 246 w 358"/>
                  <a:gd name="T65" fmla="*/ 256 h 310"/>
                  <a:gd name="T66" fmla="*/ 248 w 358"/>
                  <a:gd name="T67" fmla="*/ 252 h 310"/>
                  <a:gd name="T68" fmla="*/ 254 w 358"/>
                  <a:gd name="T69" fmla="*/ 246 h 310"/>
                  <a:gd name="T70" fmla="*/ 256 w 358"/>
                  <a:gd name="T71" fmla="*/ 242 h 310"/>
                  <a:gd name="T72" fmla="*/ 258 w 358"/>
                  <a:gd name="T73" fmla="*/ 240 h 310"/>
                  <a:gd name="T74" fmla="*/ 262 w 358"/>
                  <a:gd name="T75" fmla="*/ 236 h 310"/>
                  <a:gd name="T76" fmla="*/ 264 w 358"/>
                  <a:gd name="T77" fmla="*/ 232 h 310"/>
                  <a:gd name="T78" fmla="*/ 268 w 358"/>
                  <a:gd name="T79" fmla="*/ 228 h 310"/>
                  <a:gd name="T80" fmla="*/ 272 w 358"/>
                  <a:gd name="T81" fmla="*/ 226 h 310"/>
                  <a:gd name="T82" fmla="*/ 274 w 358"/>
                  <a:gd name="T83" fmla="*/ 222 h 310"/>
                  <a:gd name="T84" fmla="*/ 278 w 358"/>
                  <a:gd name="T85" fmla="*/ 220 h 310"/>
                  <a:gd name="T86" fmla="*/ 282 w 358"/>
                  <a:gd name="T87" fmla="*/ 218 h 310"/>
                  <a:gd name="T88" fmla="*/ 286 w 358"/>
                  <a:gd name="T89" fmla="*/ 214 h 310"/>
                  <a:gd name="T90" fmla="*/ 290 w 358"/>
                  <a:gd name="T91" fmla="*/ 212 h 310"/>
                  <a:gd name="T92" fmla="*/ 292 w 358"/>
                  <a:gd name="T93" fmla="*/ 208 h 310"/>
                  <a:gd name="T94" fmla="*/ 296 w 358"/>
                  <a:gd name="T95" fmla="*/ 206 h 310"/>
                  <a:gd name="T96" fmla="*/ 300 w 358"/>
                  <a:gd name="T97" fmla="*/ 204 h 310"/>
                  <a:gd name="T98" fmla="*/ 304 w 358"/>
                  <a:gd name="T99" fmla="*/ 202 h 310"/>
                  <a:gd name="T100" fmla="*/ 310 w 358"/>
                  <a:gd name="T101" fmla="*/ 200 h 310"/>
                  <a:gd name="T102" fmla="*/ 316 w 358"/>
                  <a:gd name="T103" fmla="*/ 196 h 310"/>
                  <a:gd name="T104" fmla="*/ 322 w 358"/>
                  <a:gd name="T105" fmla="*/ 194 h 310"/>
                  <a:gd name="T106" fmla="*/ 328 w 358"/>
                  <a:gd name="T107" fmla="*/ 192 h 310"/>
                  <a:gd name="T108" fmla="*/ 334 w 358"/>
                  <a:gd name="T109" fmla="*/ 190 h 310"/>
                  <a:gd name="T110" fmla="*/ 340 w 358"/>
                  <a:gd name="T111" fmla="*/ 188 h 310"/>
                  <a:gd name="T112" fmla="*/ 346 w 358"/>
                  <a:gd name="T113" fmla="*/ 186 h 310"/>
                  <a:gd name="T114" fmla="*/ 352 w 358"/>
                  <a:gd name="T115" fmla="*/ 186 h 310"/>
                  <a:gd name="T116" fmla="*/ 96 w 358"/>
                  <a:gd name="T117" fmla="*/ 0 h 310"/>
                  <a:gd name="T118" fmla="*/ 96 w 358"/>
                  <a:gd name="T119"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8" h="310">
                    <a:moveTo>
                      <a:pt x="96" y="0"/>
                    </a:moveTo>
                    <a:lnTo>
                      <a:pt x="98" y="0"/>
                    </a:lnTo>
                    <a:lnTo>
                      <a:pt x="96" y="10"/>
                    </a:lnTo>
                    <a:lnTo>
                      <a:pt x="94" y="22"/>
                    </a:lnTo>
                    <a:lnTo>
                      <a:pt x="90" y="32"/>
                    </a:lnTo>
                    <a:lnTo>
                      <a:pt x="90" y="32"/>
                    </a:lnTo>
                    <a:lnTo>
                      <a:pt x="86" y="44"/>
                    </a:lnTo>
                    <a:lnTo>
                      <a:pt x="86" y="44"/>
                    </a:lnTo>
                    <a:lnTo>
                      <a:pt x="80" y="56"/>
                    </a:lnTo>
                    <a:lnTo>
                      <a:pt x="80" y="56"/>
                    </a:lnTo>
                    <a:lnTo>
                      <a:pt x="76" y="64"/>
                    </a:lnTo>
                    <a:lnTo>
                      <a:pt x="76" y="64"/>
                    </a:lnTo>
                    <a:lnTo>
                      <a:pt x="74" y="66"/>
                    </a:lnTo>
                    <a:lnTo>
                      <a:pt x="74" y="68"/>
                    </a:lnTo>
                    <a:lnTo>
                      <a:pt x="68" y="74"/>
                    </a:lnTo>
                    <a:lnTo>
                      <a:pt x="68" y="74"/>
                    </a:lnTo>
                    <a:lnTo>
                      <a:pt x="66" y="76"/>
                    </a:lnTo>
                    <a:lnTo>
                      <a:pt x="66" y="78"/>
                    </a:lnTo>
                    <a:lnTo>
                      <a:pt x="60" y="82"/>
                    </a:lnTo>
                    <a:lnTo>
                      <a:pt x="60" y="84"/>
                    </a:lnTo>
                    <a:lnTo>
                      <a:pt x="58" y="86"/>
                    </a:lnTo>
                    <a:lnTo>
                      <a:pt x="56" y="86"/>
                    </a:lnTo>
                    <a:lnTo>
                      <a:pt x="54" y="90"/>
                    </a:lnTo>
                    <a:lnTo>
                      <a:pt x="54" y="90"/>
                    </a:lnTo>
                    <a:lnTo>
                      <a:pt x="50" y="92"/>
                    </a:lnTo>
                    <a:lnTo>
                      <a:pt x="50" y="92"/>
                    </a:lnTo>
                    <a:lnTo>
                      <a:pt x="48" y="94"/>
                    </a:lnTo>
                    <a:lnTo>
                      <a:pt x="46" y="96"/>
                    </a:lnTo>
                    <a:lnTo>
                      <a:pt x="44" y="98"/>
                    </a:lnTo>
                    <a:lnTo>
                      <a:pt x="42" y="98"/>
                    </a:lnTo>
                    <a:lnTo>
                      <a:pt x="40" y="100"/>
                    </a:lnTo>
                    <a:lnTo>
                      <a:pt x="40" y="100"/>
                    </a:lnTo>
                    <a:lnTo>
                      <a:pt x="36" y="102"/>
                    </a:lnTo>
                    <a:lnTo>
                      <a:pt x="36" y="102"/>
                    </a:lnTo>
                    <a:lnTo>
                      <a:pt x="32" y="104"/>
                    </a:lnTo>
                    <a:lnTo>
                      <a:pt x="32" y="106"/>
                    </a:lnTo>
                    <a:lnTo>
                      <a:pt x="28" y="106"/>
                    </a:lnTo>
                    <a:lnTo>
                      <a:pt x="28" y="108"/>
                    </a:lnTo>
                    <a:lnTo>
                      <a:pt x="24" y="108"/>
                    </a:lnTo>
                    <a:lnTo>
                      <a:pt x="22" y="110"/>
                    </a:lnTo>
                    <a:lnTo>
                      <a:pt x="20" y="112"/>
                    </a:lnTo>
                    <a:lnTo>
                      <a:pt x="18" y="112"/>
                    </a:lnTo>
                    <a:lnTo>
                      <a:pt x="16" y="112"/>
                    </a:lnTo>
                    <a:lnTo>
                      <a:pt x="16" y="112"/>
                    </a:lnTo>
                    <a:lnTo>
                      <a:pt x="12" y="114"/>
                    </a:lnTo>
                    <a:lnTo>
                      <a:pt x="12" y="114"/>
                    </a:lnTo>
                    <a:lnTo>
                      <a:pt x="10" y="116"/>
                    </a:lnTo>
                    <a:lnTo>
                      <a:pt x="10" y="116"/>
                    </a:lnTo>
                    <a:lnTo>
                      <a:pt x="6" y="116"/>
                    </a:lnTo>
                    <a:lnTo>
                      <a:pt x="6" y="116"/>
                    </a:lnTo>
                    <a:lnTo>
                      <a:pt x="0" y="118"/>
                    </a:lnTo>
                    <a:lnTo>
                      <a:pt x="224" y="310"/>
                    </a:lnTo>
                    <a:lnTo>
                      <a:pt x="226" y="306"/>
                    </a:lnTo>
                    <a:lnTo>
                      <a:pt x="226" y="306"/>
                    </a:lnTo>
                    <a:lnTo>
                      <a:pt x="226" y="300"/>
                    </a:lnTo>
                    <a:lnTo>
                      <a:pt x="230" y="292"/>
                    </a:lnTo>
                    <a:lnTo>
                      <a:pt x="232" y="284"/>
                    </a:lnTo>
                    <a:lnTo>
                      <a:pt x="232" y="284"/>
                    </a:lnTo>
                    <a:lnTo>
                      <a:pt x="234" y="280"/>
                    </a:lnTo>
                    <a:lnTo>
                      <a:pt x="234" y="280"/>
                    </a:lnTo>
                    <a:lnTo>
                      <a:pt x="238" y="272"/>
                    </a:lnTo>
                    <a:lnTo>
                      <a:pt x="242" y="264"/>
                    </a:lnTo>
                    <a:lnTo>
                      <a:pt x="242" y="264"/>
                    </a:lnTo>
                    <a:lnTo>
                      <a:pt x="244" y="260"/>
                    </a:lnTo>
                    <a:lnTo>
                      <a:pt x="244" y="260"/>
                    </a:lnTo>
                    <a:lnTo>
                      <a:pt x="246" y="256"/>
                    </a:lnTo>
                    <a:lnTo>
                      <a:pt x="246" y="256"/>
                    </a:lnTo>
                    <a:lnTo>
                      <a:pt x="248" y="252"/>
                    </a:lnTo>
                    <a:lnTo>
                      <a:pt x="248" y="252"/>
                    </a:lnTo>
                    <a:lnTo>
                      <a:pt x="254" y="246"/>
                    </a:lnTo>
                    <a:lnTo>
                      <a:pt x="254" y="246"/>
                    </a:lnTo>
                    <a:lnTo>
                      <a:pt x="256" y="242"/>
                    </a:lnTo>
                    <a:lnTo>
                      <a:pt x="256" y="242"/>
                    </a:lnTo>
                    <a:lnTo>
                      <a:pt x="258" y="240"/>
                    </a:lnTo>
                    <a:lnTo>
                      <a:pt x="260" y="238"/>
                    </a:lnTo>
                    <a:lnTo>
                      <a:pt x="262" y="236"/>
                    </a:lnTo>
                    <a:lnTo>
                      <a:pt x="262" y="234"/>
                    </a:lnTo>
                    <a:lnTo>
                      <a:pt x="264" y="232"/>
                    </a:lnTo>
                    <a:lnTo>
                      <a:pt x="266" y="232"/>
                    </a:lnTo>
                    <a:lnTo>
                      <a:pt x="268" y="228"/>
                    </a:lnTo>
                    <a:lnTo>
                      <a:pt x="268" y="228"/>
                    </a:lnTo>
                    <a:lnTo>
                      <a:pt x="272" y="226"/>
                    </a:lnTo>
                    <a:lnTo>
                      <a:pt x="272" y="226"/>
                    </a:lnTo>
                    <a:lnTo>
                      <a:pt x="274" y="222"/>
                    </a:lnTo>
                    <a:lnTo>
                      <a:pt x="276" y="222"/>
                    </a:lnTo>
                    <a:lnTo>
                      <a:pt x="278" y="220"/>
                    </a:lnTo>
                    <a:lnTo>
                      <a:pt x="280" y="218"/>
                    </a:lnTo>
                    <a:lnTo>
                      <a:pt x="282" y="218"/>
                    </a:lnTo>
                    <a:lnTo>
                      <a:pt x="282" y="216"/>
                    </a:lnTo>
                    <a:lnTo>
                      <a:pt x="286" y="214"/>
                    </a:lnTo>
                    <a:lnTo>
                      <a:pt x="286" y="214"/>
                    </a:lnTo>
                    <a:lnTo>
                      <a:pt x="290" y="212"/>
                    </a:lnTo>
                    <a:lnTo>
                      <a:pt x="290" y="210"/>
                    </a:lnTo>
                    <a:lnTo>
                      <a:pt x="292" y="208"/>
                    </a:lnTo>
                    <a:lnTo>
                      <a:pt x="294" y="208"/>
                    </a:lnTo>
                    <a:lnTo>
                      <a:pt x="296" y="206"/>
                    </a:lnTo>
                    <a:lnTo>
                      <a:pt x="298" y="206"/>
                    </a:lnTo>
                    <a:lnTo>
                      <a:pt x="300" y="204"/>
                    </a:lnTo>
                    <a:lnTo>
                      <a:pt x="302" y="204"/>
                    </a:lnTo>
                    <a:lnTo>
                      <a:pt x="304" y="202"/>
                    </a:lnTo>
                    <a:lnTo>
                      <a:pt x="306" y="202"/>
                    </a:lnTo>
                    <a:lnTo>
                      <a:pt x="310" y="200"/>
                    </a:lnTo>
                    <a:lnTo>
                      <a:pt x="316" y="196"/>
                    </a:lnTo>
                    <a:lnTo>
                      <a:pt x="316" y="196"/>
                    </a:lnTo>
                    <a:lnTo>
                      <a:pt x="322" y="194"/>
                    </a:lnTo>
                    <a:lnTo>
                      <a:pt x="322" y="194"/>
                    </a:lnTo>
                    <a:lnTo>
                      <a:pt x="328" y="192"/>
                    </a:lnTo>
                    <a:lnTo>
                      <a:pt x="328" y="192"/>
                    </a:lnTo>
                    <a:lnTo>
                      <a:pt x="334" y="190"/>
                    </a:lnTo>
                    <a:lnTo>
                      <a:pt x="334" y="190"/>
                    </a:lnTo>
                    <a:lnTo>
                      <a:pt x="340" y="188"/>
                    </a:lnTo>
                    <a:lnTo>
                      <a:pt x="340" y="188"/>
                    </a:lnTo>
                    <a:lnTo>
                      <a:pt x="346" y="186"/>
                    </a:lnTo>
                    <a:lnTo>
                      <a:pt x="346" y="186"/>
                    </a:lnTo>
                    <a:lnTo>
                      <a:pt x="352" y="186"/>
                    </a:lnTo>
                    <a:lnTo>
                      <a:pt x="352" y="186"/>
                    </a:lnTo>
                    <a:lnTo>
                      <a:pt x="358" y="184"/>
                    </a:lnTo>
                    <a:lnTo>
                      <a:pt x="96" y="0"/>
                    </a:lnTo>
                    <a:lnTo>
                      <a:pt x="96" y="0"/>
                    </a:lnTo>
                    <a:lnTo>
                      <a:pt x="96"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46" name="Freeform 110">
                <a:extLst>
                  <a:ext uri="{FF2B5EF4-FFF2-40B4-BE49-F238E27FC236}">
                    <a16:creationId xmlns:a16="http://schemas.microsoft.com/office/drawing/2014/main" id="{3D95C7A2-69E5-45C3-99B8-652C351CEF2A}"/>
                  </a:ext>
                </a:extLst>
              </p:cNvPr>
              <p:cNvSpPr>
                <a:spLocks/>
              </p:cNvSpPr>
              <p:nvPr/>
            </p:nvSpPr>
            <p:spPr bwMode="auto">
              <a:xfrm>
                <a:off x="4660729" y="2923998"/>
                <a:ext cx="122935" cy="82319"/>
              </a:xfrm>
              <a:custGeom>
                <a:avLst/>
                <a:gdLst>
                  <a:gd name="T0" fmla="*/ 0 w 320"/>
                  <a:gd name="T1" fmla="*/ 86 h 214"/>
                  <a:gd name="T2" fmla="*/ 4 w 320"/>
                  <a:gd name="T3" fmla="*/ 90 h 214"/>
                  <a:gd name="T4" fmla="*/ 20 w 320"/>
                  <a:gd name="T5" fmla="*/ 104 h 214"/>
                  <a:gd name="T6" fmla="*/ 24 w 320"/>
                  <a:gd name="T7" fmla="*/ 110 h 214"/>
                  <a:gd name="T8" fmla="*/ 30 w 320"/>
                  <a:gd name="T9" fmla="*/ 120 h 214"/>
                  <a:gd name="T10" fmla="*/ 32 w 320"/>
                  <a:gd name="T11" fmla="*/ 124 h 214"/>
                  <a:gd name="T12" fmla="*/ 38 w 320"/>
                  <a:gd name="T13" fmla="*/ 136 h 214"/>
                  <a:gd name="T14" fmla="*/ 40 w 320"/>
                  <a:gd name="T15" fmla="*/ 140 h 214"/>
                  <a:gd name="T16" fmla="*/ 40 w 320"/>
                  <a:gd name="T17" fmla="*/ 144 h 214"/>
                  <a:gd name="T18" fmla="*/ 46 w 320"/>
                  <a:gd name="T19" fmla="*/ 160 h 214"/>
                  <a:gd name="T20" fmla="*/ 46 w 320"/>
                  <a:gd name="T21" fmla="*/ 164 h 214"/>
                  <a:gd name="T22" fmla="*/ 46 w 320"/>
                  <a:gd name="T23" fmla="*/ 174 h 214"/>
                  <a:gd name="T24" fmla="*/ 46 w 320"/>
                  <a:gd name="T25" fmla="*/ 184 h 214"/>
                  <a:gd name="T26" fmla="*/ 46 w 320"/>
                  <a:gd name="T27" fmla="*/ 188 h 214"/>
                  <a:gd name="T28" fmla="*/ 44 w 320"/>
                  <a:gd name="T29" fmla="*/ 204 h 214"/>
                  <a:gd name="T30" fmla="*/ 42 w 320"/>
                  <a:gd name="T31" fmla="*/ 210 h 214"/>
                  <a:gd name="T32" fmla="*/ 42 w 320"/>
                  <a:gd name="T33" fmla="*/ 214 h 214"/>
                  <a:gd name="T34" fmla="*/ 316 w 320"/>
                  <a:gd name="T35" fmla="*/ 162 h 214"/>
                  <a:gd name="T36" fmla="*/ 314 w 320"/>
                  <a:gd name="T37" fmla="*/ 158 h 214"/>
                  <a:gd name="T38" fmla="*/ 312 w 320"/>
                  <a:gd name="T39" fmla="*/ 154 h 214"/>
                  <a:gd name="T40" fmla="*/ 308 w 320"/>
                  <a:gd name="T41" fmla="*/ 152 h 214"/>
                  <a:gd name="T42" fmla="*/ 304 w 320"/>
                  <a:gd name="T43" fmla="*/ 144 h 214"/>
                  <a:gd name="T44" fmla="*/ 302 w 320"/>
                  <a:gd name="T45" fmla="*/ 140 h 214"/>
                  <a:gd name="T46" fmla="*/ 300 w 320"/>
                  <a:gd name="T47" fmla="*/ 136 h 214"/>
                  <a:gd name="T48" fmla="*/ 298 w 320"/>
                  <a:gd name="T49" fmla="*/ 132 h 214"/>
                  <a:gd name="T50" fmla="*/ 296 w 320"/>
                  <a:gd name="T51" fmla="*/ 124 h 214"/>
                  <a:gd name="T52" fmla="*/ 294 w 320"/>
                  <a:gd name="T53" fmla="*/ 120 h 214"/>
                  <a:gd name="T54" fmla="*/ 294 w 320"/>
                  <a:gd name="T55" fmla="*/ 114 h 214"/>
                  <a:gd name="T56" fmla="*/ 292 w 320"/>
                  <a:gd name="T57" fmla="*/ 110 h 214"/>
                  <a:gd name="T58" fmla="*/ 290 w 320"/>
                  <a:gd name="T59" fmla="*/ 102 h 214"/>
                  <a:gd name="T60" fmla="*/ 290 w 320"/>
                  <a:gd name="T61" fmla="*/ 98 h 214"/>
                  <a:gd name="T62" fmla="*/ 290 w 320"/>
                  <a:gd name="T63" fmla="*/ 94 h 214"/>
                  <a:gd name="T64" fmla="*/ 288 w 320"/>
                  <a:gd name="T65" fmla="*/ 90 h 214"/>
                  <a:gd name="T66" fmla="*/ 288 w 320"/>
                  <a:gd name="T67" fmla="*/ 84 h 214"/>
                  <a:gd name="T68" fmla="*/ 288 w 320"/>
                  <a:gd name="T69" fmla="*/ 80 h 214"/>
                  <a:gd name="T70" fmla="*/ 288 w 320"/>
                  <a:gd name="T71" fmla="*/ 76 h 214"/>
                  <a:gd name="T72" fmla="*/ 290 w 320"/>
                  <a:gd name="T73" fmla="*/ 72 h 214"/>
                  <a:gd name="T74" fmla="*/ 290 w 320"/>
                  <a:gd name="T75" fmla="*/ 68 h 214"/>
                  <a:gd name="T76" fmla="*/ 290 w 320"/>
                  <a:gd name="T77" fmla="*/ 62 h 214"/>
                  <a:gd name="T78" fmla="*/ 290 w 320"/>
                  <a:gd name="T79" fmla="*/ 58 h 214"/>
                  <a:gd name="T80" fmla="*/ 292 w 320"/>
                  <a:gd name="T81" fmla="*/ 54 h 214"/>
                  <a:gd name="T82" fmla="*/ 292 w 320"/>
                  <a:gd name="T83" fmla="*/ 50 h 214"/>
                  <a:gd name="T84" fmla="*/ 294 w 320"/>
                  <a:gd name="T85" fmla="*/ 44 h 214"/>
                  <a:gd name="T86" fmla="*/ 296 w 320"/>
                  <a:gd name="T87" fmla="*/ 40 h 214"/>
                  <a:gd name="T88" fmla="*/ 298 w 320"/>
                  <a:gd name="T89" fmla="*/ 36 h 214"/>
                  <a:gd name="T90" fmla="*/ 300 w 320"/>
                  <a:gd name="T91" fmla="*/ 30 h 214"/>
                  <a:gd name="T92" fmla="*/ 302 w 320"/>
                  <a:gd name="T93" fmla="*/ 26 h 214"/>
                  <a:gd name="T94" fmla="*/ 304 w 320"/>
                  <a:gd name="T95" fmla="*/ 22 h 214"/>
                  <a:gd name="T96" fmla="*/ 306 w 320"/>
                  <a:gd name="T97" fmla="*/ 18 h 214"/>
                  <a:gd name="T98" fmla="*/ 308 w 320"/>
                  <a:gd name="T99" fmla="*/ 14 h 214"/>
                  <a:gd name="T100" fmla="*/ 312 w 320"/>
                  <a:gd name="T101" fmla="*/ 6 h 214"/>
                  <a:gd name="T102" fmla="*/ 318 w 320"/>
                  <a:gd name="T103"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14">
                    <a:moveTo>
                      <a:pt x="318" y="0"/>
                    </a:moveTo>
                    <a:lnTo>
                      <a:pt x="0" y="86"/>
                    </a:lnTo>
                    <a:lnTo>
                      <a:pt x="4" y="90"/>
                    </a:lnTo>
                    <a:lnTo>
                      <a:pt x="4" y="90"/>
                    </a:lnTo>
                    <a:lnTo>
                      <a:pt x="12" y="98"/>
                    </a:lnTo>
                    <a:lnTo>
                      <a:pt x="20" y="104"/>
                    </a:lnTo>
                    <a:lnTo>
                      <a:pt x="20" y="106"/>
                    </a:lnTo>
                    <a:lnTo>
                      <a:pt x="24" y="110"/>
                    </a:lnTo>
                    <a:lnTo>
                      <a:pt x="30" y="120"/>
                    </a:lnTo>
                    <a:lnTo>
                      <a:pt x="30" y="120"/>
                    </a:lnTo>
                    <a:lnTo>
                      <a:pt x="32" y="124"/>
                    </a:lnTo>
                    <a:lnTo>
                      <a:pt x="32" y="124"/>
                    </a:lnTo>
                    <a:lnTo>
                      <a:pt x="36" y="134"/>
                    </a:lnTo>
                    <a:lnTo>
                      <a:pt x="38" y="136"/>
                    </a:lnTo>
                    <a:lnTo>
                      <a:pt x="40" y="140"/>
                    </a:lnTo>
                    <a:lnTo>
                      <a:pt x="40" y="140"/>
                    </a:lnTo>
                    <a:lnTo>
                      <a:pt x="42" y="144"/>
                    </a:lnTo>
                    <a:lnTo>
                      <a:pt x="40" y="144"/>
                    </a:lnTo>
                    <a:lnTo>
                      <a:pt x="44" y="152"/>
                    </a:lnTo>
                    <a:lnTo>
                      <a:pt x="46" y="160"/>
                    </a:lnTo>
                    <a:lnTo>
                      <a:pt x="46" y="160"/>
                    </a:lnTo>
                    <a:lnTo>
                      <a:pt x="46" y="164"/>
                    </a:lnTo>
                    <a:lnTo>
                      <a:pt x="46" y="166"/>
                    </a:lnTo>
                    <a:lnTo>
                      <a:pt x="46" y="174"/>
                    </a:lnTo>
                    <a:lnTo>
                      <a:pt x="46" y="182"/>
                    </a:lnTo>
                    <a:lnTo>
                      <a:pt x="46" y="184"/>
                    </a:lnTo>
                    <a:lnTo>
                      <a:pt x="46" y="188"/>
                    </a:lnTo>
                    <a:lnTo>
                      <a:pt x="46" y="188"/>
                    </a:lnTo>
                    <a:lnTo>
                      <a:pt x="46" y="198"/>
                    </a:lnTo>
                    <a:lnTo>
                      <a:pt x="44" y="204"/>
                    </a:lnTo>
                    <a:lnTo>
                      <a:pt x="44" y="206"/>
                    </a:lnTo>
                    <a:lnTo>
                      <a:pt x="42" y="210"/>
                    </a:lnTo>
                    <a:lnTo>
                      <a:pt x="42" y="210"/>
                    </a:lnTo>
                    <a:lnTo>
                      <a:pt x="42" y="214"/>
                    </a:lnTo>
                    <a:lnTo>
                      <a:pt x="320" y="164"/>
                    </a:lnTo>
                    <a:lnTo>
                      <a:pt x="316" y="162"/>
                    </a:lnTo>
                    <a:lnTo>
                      <a:pt x="316" y="162"/>
                    </a:lnTo>
                    <a:lnTo>
                      <a:pt x="314" y="158"/>
                    </a:lnTo>
                    <a:lnTo>
                      <a:pt x="314" y="158"/>
                    </a:lnTo>
                    <a:lnTo>
                      <a:pt x="312" y="154"/>
                    </a:lnTo>
                    <a:lnTo>
                      <a:pt x="312" y="154"/>
                    </a:lnTo>
                    <a:lnTo>
                      <a:pt x="308" y="152"/>
                    </a:lnTo>
                    <a:lnTo>
                      <a:pt x="308" y="150"/>
                    </a:lnTo>
                    <a:lnTo>
                      <a:pt x="304" y="144"/>
                    </a:lnTo>
                    <a:lnTo>
                      <a:pt x="304" y="142"/>
                    </a:lnTo>
                    <a:lnTo>
                      <a:pt x="302" y="140"/>
                    </a:lnTo>
                    <a:lnTo>
                      <a:pt x="302" y="140"/>
                    </a:lnTo>
                    <a:lnTo>
                      <a:pt x="300" y="136"/>
                    </a:lnTo>
                    <a:lnTo>
                      <a:pt x="300" y="136"/>
                    </a:lnTo>
                    <a:lnTo>
                      <a:pt x="298" y="132"/>
                    </a:lnTo>
                    <a:lnTo>
                      <a:pt x="298" y="132"/>
                    </a:lnTo>
                    <a:lnTo>
                      <a:pt x="296" y="124"/>
                    </a:lnTo>
                    <a:lnTo>
                      <a:pt x="296" y="122"/>
                    </a:lnTo>
                    <a:lnTo>
                      <a:pt x="294" y="120"/>
                    </a:lnTo>
                    <a:lnTo>
                      <a:pt x="294" y="118"/>
                    </a:lnTo>
                    <a:lnTo>
                      <a:pt x="294" y="114"/>
                    </a:lnTo>
                    <a:lnTo>
                      <a:pt x="292" y="114"/>
                    </a:lnTo>
                    <a:lnTo>
                      <a:pt x="292" y="110"/>
                    </a:lnTo>
                    <a:lnTo>
                      <a:pt x="292" y="110"/>
                    </a:lnTo>
                    <a:lnTo>
                      <a:pt x="290" y="102"/>
                    </a:lnTo>
                    <a:lnTo>
                      <a:pt x="290" y="102"/>
                    </a:lnTo>
                    <a:lnTo>
                      <a:pt x="290" y="98"/>
                    </a:lnTo>
                    <a:lnTo>
                      <a:pt x="290" y="98"/>
                    </a:lnTo>
                    <a:lnTo>
                      <a:pt x="290" y="94"/>
                    </a:lnTo>
                    <a:lnTo>
                      <a:pt x="290" y="92"/>
                    </a:lnTo>
                    <a:lnTo>
                      <a:pt x="288" y="90"/>
                    </a:lnTo>
                    <a:lnTo>
                      <a:pt x="288" y="88"/>
                    </a:lnTo>
                    <a:lnTo>
                      <a:pt x="288" y="84"/>
                    </a:lnTo>
                    <a:lnTo>
                      <a:pt x="288" y="84"/>
                    </a:lnTo>
                    <a:lnTo>
                      <a:pt x="288" y="80"/>
                    </a:lnTo>
                    <a:lnTo>
                      <a:pt x="288" y="80"/>
                    </a:lnTo>
                    <a:lnTo>
                      <a:pt x="288" y="76"/>
                    </a:lnTo>
                    <a:lnTo>
                      <a:pt x="288" y="76"/>
                    </a:lnTo>
                    <a:lnTo>
                      <a:pt x="290" y="72"/>
                    </a:lnTo>
                    <a:lnTo>
                      <a:pt x="290" y="70"/>
                    </a:lnTo>
                    <a:lnTo>
                      <a:pt x="290" y="68"/>
                    </a:lnTo>
                    <a:lnTo>
                      <a:pt x="290" y="66"/>
                    </a:lnTo>
                    <a:lnTo>
                      <a:pt x="290" y="62"/>
                    </a:lnTo>
                    <a:lnTo>
                      <a:pt x="290" y="62"/>
                    </a:lnTo>
                    <a:lnTo>
                      <a:pt x="290" y="58"/>
                    </a:lnTo>
                    <a:lnTo>
                      <a:pt x="292" y="58"/>
                    </a:lnTo>
                    <a:lnTo>
                      <a:pt x="292" y="54"/>
                    </a:lnTo>
                    <a:lnTo>
                      <a:pt x="292" y="52"/>
                    </a:lnTo>
                    <a:lnTo>
                      <a:pt x="292" y="50"/>
                    </a:lnTo>
                    <a:lnTo>
                      <a:pt x="294" y="48"/>
                    </a:lnTo>
                    <a:lnTo>
                      <a:pt x="294" y="44"/>
                    </a:lnTo>
                    <a:lnTo>
                      <a:pt x="294" y="44"/>
                    </a:lnTo>
                    <a:lnTo>
                      <a:pt x="296" y="40"/>
                    </a:lnTo>
                    <a:lnTo>
                      <a:pt x="296" y="40"/>
                    </a:lnTo>
                    <a:lnTo>
                      <a:pt x="298" y="36"/>
                    </a:lnTo>
                    <a:lnTo>
                      <a:pt x="298" y="34"/>
                    </a:lnTo>
                    <a:lnTo>
                      <a:pt x="300" y="30"/>
                    </a:lnTo>
                    <a:lnTo>
                      <a:pt x="300" y="28"/>
                    </a:lnTo>
                    <a:lnTo>
                      <a:pt x="302" y="26"/>
                    </a:lnTo>
                    <a:lnTo>
                      <a:pt x="302" y="22"/>
                    </a:lnTo>
                    <a:lnTo>
                      <a:pt x="304" y="22"/>
                    </a:lnTo>
                    <a:lnTo>
                      <a:pt x="304" y="18"/>
                    </a:lnTo>
                    <a:lnTo>
                      <a:pt x="306" y="18"/>
                    </a:lnTo>
                    <a:lnTo>
                      <a:pt x="308" y="14"/>
                    </a:lnTo>
                    <a:lnTo>
                      <a:pt x="308" y="14"/>
                    </a:lnTo>
                    <a:lnTo>
                      <a:pt x="312" y="6"/>
                    </a:lnTo>
                    <a:lnTo>
                      <a:pt x="312" y="6"/>
                    </a:lnTo>
                    <a:lnTo>
                      <a:pt x="318" y="0"/>
                    </a:lnTo>
                    <a:lnTo>
                      <a:pt x="318" y="0"/>
                    </a:lnTo>
                    <a:lnTo>
                      <a:pt x="31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47" name="Freeform 111">
                <a:extLst>
                  <a:ext uri="{FF2B5EF4-FFF2-40B4-BE49-F238E27FC236}">
                    <a16:creationId xmlns:a16="http://schemas.microsoft.com/office/drawing/2014/main" id="{07B57F9D-C2BA-47F6-959F-E33EE67B95C7}"/>
                  </a:ext>
                </a:extLst>
              </p:cNvPr>
              <p:cNvSpPr>
                <a:spLocks/>
              </p:cNvSpPr>
              <p:nvPr/>
            </p:nvSpPr>
            <p:spPr bwMode="auto">
              <a:xfrm>
                <a:off x="4797493" y="2952463"/>
                <a:ext cx="42260" cy="6924"/>
              </a:xfrm>
              <a:custGeom>
                <a:avLst/>
                <a:gdLst>
                  <a:gd name="T0" fmla="*/ 110 w 110"/>
                  <a:gd name="T1" fmla="*/ 0 h 18"/>
                  <a:gd name="T2" fmla="*/ 0 w 110"/>
                  <a:gd name="T3" fmla="*/ 0 h 18"/>
                  <a:gd name="T4" fmla="*/ 0 w 110"/>
                  <a:gd name="T5" fmla="*/ 18 h 18"/>
                  <a:gd name="T6" fmla="*/ 110 w 110"/>
                  <a:gd name="T7" fmla="*/ 18 h 18"/>
                  <a:gd name="T8" fmla="*/ 110 w 110"/>
                  <a:gd name="T9" fmla="*/ 0 h 18"/>
                  <a:gd name="T10" fmla="*/ 110 w 110"/>
                  <a:gd name="T11" fmla="*/ 0 h 18"/>
                </a:gdLst>
                <a:ahLst/>
                <a:cxnLst>
                  <a:cxn ang="0">
                    <a:pos x="T0" y="T1"/>
                  </a:cxn>
                  <a:cxn ang="0">
                    <a:pos x="T2" y="T3"/>
                  </a:cxn>
                  <a:cxn ang="0">
                    <a:pos x="T4" y="T5"/>
                  </a:cxn>
                  <a:cxn ang="0">
                    <a:pos x="T6" y="T7"/>
                  </a:cxn>
                  <a:cxn ang="0">
                    <a:pos x="T8" y="T9"/>
                  </a:cxn>
                  <a:cxn ang="0">
                    <a:pos x="T10" y="T11"/>
                  </a:cxn>
                </a:cxnLst>
                <a:rect l="0" t="0" r="r" b="b"/>
                <a:pathLst>
                  <a:path w="110" h="18">
                    <a:moveTo>
                      <a:pt x="110" y="0"/>
                    </a:moveTo>
                    <a:lnTo>
                      <a:pt x="0" y="0"/>
                    </a:lnTo>
                    <a:lnTo>
                      <a:pt x="0" y="18"/>
                    </a:lnTo>
                    <a:lnTo>
                      <a:pt x="110" y="18"/>
                    </a:lnTo>
                    <a:lnTo>
                      <a:pt x="110" y="0"/>
                    </a:lnTo>
                    <a:lnTo>
                      <a:pt x="11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59" name="Freeform 112">
                <a:extLst>
                  <a:ext uri="{FF2B5EF4-FFF2-40B4-BE49-F238E27FC236}">
                    <a16:creationId xmlns:a16="http://schemas.microsoft.com/office/drawing/2014/main" id="{500FF0F9-43DA-4FD2-9838-B96AE2593E6D}"/>
                  </a:ext>
                </a:extLst>
              </p:cNvPr>
              <p:cNvSpPr>
                <a:spLocks/>
              </p:cNvSpPr>
              <p:nvPr/>
            </p:nvSpPr>
            <p:spPr bwMode="auto">
              <a:xfrm>
                <a:off x="4630765" y="2978621"/>
                <a:ext cx="6914" cy="33853"/>
              </a:xfrm>
              <a:custGeom>
                <a:avLst/>
                <a:gdLst>
                  <a:gd name="T0" fmla="*/ 18 w 18"/>
                  <a:gd name="T1" fmla="*/ 0 h 88"/>
                  <a:gd name="T2" fmla="*/ 0 w 18"/>
                  <a:gd name="T3" fmla="*/ 0 h 88"/>
                  <a:gd name="T4" fmla="*/ 0 w 18"/>
                  <a:gd name="T5" fmla="*/ 88 h 88"/>
                  <a:gd name="T6" fmla="*/ 18 w 18"/>
                  <a:gd name="T7" fmla="*/ 88 h 88"/>
                  <a:gd name="T8" fmla="*/ 18 w 18"/>
                  <a:gd name="T9" fmla="*/ 0 h 88"/>
                  <a:gd name="T10" fmla="*/ 18 w 18"/>
                  <a:gd name="T11" fmla="*/ 0 h 88"/>
                </a:gdLst>
                <a:ahLst/>
                <a:cxnLst>
                  <a:cxn ang="0">
                    <a:pos x="T0" y="T1"/>
                  </a:cxn>
                  <a:cxn ang="0">
                    <a:pos x="T2" y="T3"/>
                  </a:cxn>
                  <a:cxn ang="0">
                    <a:pos x="T4" y="T5"/>
                  </a:cxn>
                  <a:cxn ang="0">
                    <a:pos x="T6" y="T7"/>
                  </a:cxn>
                  <a:cxn ang="0">
                    <a:pos x="T8" y="T9"/>
                  </a:cxn>
                  <a:cxn ang="0">
                    <a:pos x="T10" y="T11"/>
                  </a:cxn>
                </a:cxnLst>
                <a:rect l="0" t="0" r="r" b="b"/>
                <a:pathLst>
                  <a:path w="18" h="88">
                    <a:moveTo>
                      <a:pt x="18" y="0"/>
                    </a:moveTo>
                    <a:lnTo>
                      <a:pt x="0" y="0"/>
                    </a:lnTo>
                    <a:lnTo>
                      <a:pt x="0" y="88"/>
                    </a:lnTo>
                    <a:lnTo>
                      <a:pt x="18" y="88"/>
                    </a:lnTo>
                    <a:lnTo>
                      <a:pt x="18" y="0"/>
                    </a:lnTo>
                    <a:lnTo>
                      <a:pt x="1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60" name="Freeform 113">
                <a:extLst>
                  <a:ext uri="{FF2B5EF4-FFF2-40B4-BE49-F238E27FC236}">
                    <a16:creationId xmlns:a16="http://schemas.microsoft.com/office/drawing/2014/main" id="{60A264C3-3A5C-4294-A69A-D47023DE6270}"/>
                  </a:ext>
                </a:extLst>
              </p:cNvPr>
              <p:cNvSpPr>
                <a:spLocks/>
              </p:cNvSpPr>
              <p:nvPr/>
            </p:nvSpPr>
            <p:spPr bwMode="auto">
              <a:xfrm>
                <a:off x="4975748" y="3060944"/>
                <a:ext cx="6914" cy="60779"/>
              </a:xfrm>
              <a:custGeom>
                <a:avLst/>
                <a:gdLst>
                  <a:gd name="T0" fmla="*/ 18 w 18"/>
                  <a:gd name="T1" fmla="*/ 0 h 158"/>
                  <a:gd name="T2" fmla="*/ 0 w 18"/>
                  <a:gd name="T3" fmla="*/ 0 h 158"/>
                  <a:gd name="T4" fmla="*/ 0 w 18"/>
                  <a:gd name="T5" fmla="*/ 158 h 158"/>
                  <a:gd name="T6" fmla="*/ 18 w 18"/>
                  <a:gd name="T7" fmla="*/ 158 h 158"/>
                  <a:gd name="T8" fmla="*/ 18 w 18"/>
                  <a:gd name="T9" fmla="*/ 0 h 158"/>
                  <a:gd name="T10" fmla="*/ 18 w 18"/>
                  <a:gd name="T11" fmla="*/ 0 h 158"/>
                </a:gdLst>
                <a:ahLst/>
                <a:cxnLst>
                  <a:cxn ang="0">
                    <a:pos x="T0" y="T1"/>
                  </a:cxn>
                  <a:cxn ang="0">
                    <a:pos x="T2" y="T3"/>
                  </a:cxn>
                  <a:cxn ang="0">
                    <a:pos x="T4" y="T5"/>
                  </a:cxn>
                  <a:cxn ang="0">
                    <a:pos x="T6" y="T7"/>
                  </a:cxn>
                  <a:cxn ang="0">
                    <a:pos x="T8" y="T9"/>
                  </a:cxn>
                  <a:cxn ang="0">
                    <a:pos x="T10" y="T11"/>
                  </a:cxn>
                </a:cxnLst>
                <a:rect l="0" t="0" r="r" b="b"/>
                <a:pathLst>
                  <a:path w="18" h="158">
                    <a:moveTo>
                      <a:pt x="18" y="0"/>
                    </a:moveTo>
                    <a:lnTo>
                      <a:pt x="0" y="0"/>
                    </a:lnTo>
                    <a:lnTo>
                      <a:pt x="0" y="158"/>
                    </a:lnTo>
                    <a:lnTo>
                      <a:pt x="18" y="158"/>
                    </a:lnTo>
                    <a:lnTo>
                      <a:pt x="18" y="0"/>
                    </a:lnTo>
                    <a:lnTo>
                      <a:pt x="18"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64" name="Freeform 258">
                <a:extLst>
                  <a:ext uri="{FF2B5EF4-FFF2-40B4-BE49-F238E27FC236}">
                    <a16:creationId xmlns:a16="http://schemas.microsoft.com/office/drawing/2014/main" id="{89F84336-0C4E-4DA4-B9A1-FDDF5E144FA6}"/>
                  </a:ext>
                </a:extLst>
              </p:cNvPr>
              <p:cNvSpPr>
                <a:spLocks noChangeAspect="1"/>
              </p:cNvSpPr>
              <p:nvPr/>
            </p:nvSpPr>
            <p:spPr bwMode="auto">
              <a:xfrm rot="5400000">
                <a:off x="4450883" y="3479036"/>
                <a:ext cx="222940" cy="182802"/>
              </a:xfrm>
              <a:custGeom>
                <a:avLst/>
                <a:gdLst>
                  <a:gd name="connsiteX0" fmla="*/ 840077 w 928475"/>
                  <a:gd name="connsiteY0" fmla="*/ 467226 h 762315"/>
                  <a:gd name="connsiteX1" fmla="*/ 847388 w 928475"/>
                  <a:gd name="connsiteY1" fmla="*/ 465897 h 762315"/>
                  <a:gd name="connsiteX2" fmla="*/ 853369 w 928475"/>
                  <a:gd name="connsiteY2" fmla="*/ 463903 h 762315"/>
                  <a:gd name="connsiteX3" fmla="*/ 858686 w 928475"/>
                  <a:gd name="connsiteY3" fmla="*/ 460580 h 762315"/>
                  <a:gd name="connsiteX4" fmla="*/ 863339 w 928475"/>
                  <a:gd name="connsiteY4" fmla="*/ 456592 h 762315"/>
                  <a:gd name="connsiteX5" fmla="*/ 867326 w 928475"/>
                  <a:gd name="connsiteY5" fmla="*/ 451940 h 762315"/>
                  <a:gd name="connsiteX6" fmla="*/ 870649 w 928475"/>
                  <a:gd name="connsiteY6" fmla="*/ 446623 h 762315"/>
                  <a:gd name="connsiteX7" fmla="*/ 872643 w 928475"/>
                  <a:gd name="connsiteY7" fmla="*/ 439977 h 762315"/>
                  <a:gd name="connsiteX8" fmla="*/ 874637 w 928475"/>
                  <a:gd name="connsiteY8" fmla="*/ 433330 h 762315"/>
                  <a:gd name="connsiteX9" fmla="*/ 875966 w 928475"/>
                  <a:gd name="connsiteY9" fmla="*/ 425355 h 762315"/>
                  <a:gd name="connsiteX10" fmla="*/ 877296 w 928475"/>
                  <a:gd name="connsiteY10" fmla="*/ 417380 h 762315"/>
                  <a:gd name="connsiteX11" fmla="*/ 877960 w 928475"/>
                  <a:gd name="connsiteY11" fmla="*/ 399435 h 762315"/>
                  <a:gd name="connsiteX12" fmla="*/ 877960 w 928475"/>
                  <a:gd name="connsiteY12" fmla="*/ 380161 h 762315"/>
                  <a:gd name="connsiteX13" fmla="*/ 877960 w 928475"/>
                  <a:gd name="connsiteY13" fmla="*/ 360223 h 762315"/>
                  <a:gd name="connsiteX14" fmla="*/ 877960 w 928475"/>
                  <a:gd name="connsiteY14" fmla="*/ 275817 h 762315"/>
                  <a:gd name="connsiteX15" fmla="*/ 878625 w 928475"/>
                  <a:gd name="connsiteY15" fmla="*/ 247903 h 762315"/>
                  <a:gd name="connsiteX16" fmla="*/ 879954 w 928475"/>
                  <a:gd name="connsiteY16" fmla="*/ 217995 h 762315"/>
                  <a:gd name="connsiteX17" fmla="*/ 880619 w 928475"/>
                  <a:gd name="connsiteY17" fmla="*/ 187423 h 762315"/>
                  <a:gd name="connsiteX18" fmla="*/ 880619 w 928475"/>
                  <a:gd name="connsiteY18" fmla="*/ 172137 h 762315"/>
                  <a:gd name="connsiteX19" fmla="*/ 879954 w 928475"/>
                  <a:gd name="connsiteY19" fmla="*/ 157515 h 762315"/>
                  <a:gd name="connsiteX20" fmla="*/ 878625 w 928475"/>
                  <a:gd name="connsiteY20" fmla="*/ 143558 h 762315"/>
                  <a:gd name="connsiteX21" fmla="*/ 876631 w 928475"/>
                  <a:gd name="connsiteY21" fmla="*/ 130931 h 762315"/>
                  <a:gd name="connsiteX22" fmla="*/ 873308 w 928475"/>
                  <a:gd name="connsiteY22" fmla="*/ 118968 h 762315"/>
                  <a:gd name="connsiteX23" fmla="*/ 871314 w 928475"/>
                  <a:gd name="connsiteY23" fmla="*/ 113651 h 762315"/>
                  <a:gd name="connsiteX24" fmla="*/ 869320 w 928475"/>
                  <a:gd name="connsiteY24" fmla="*/ 108334 h 762315"/>
                  <a:gd name="connsiteX25" fmla="*/ 866662 w 928475"/>
                  <a:gd name="connsiteY25" fmla="*/ 103682 h 762315"/>
                  <a:gd name="connsiteX26" fmla="*/ 864003 w 928475"/>
                  <a:gd name="connsiteY26" fmla="*/ 99693 h 762315"/>
                  <a:gd name="connsiteX27" fmla="*/ 860680 w 928475"/>
                  <a:gd name="connsiteY27" fmla="*/ 95705 h 762315"/>
                  <a:gd name="connsiteX28" fmla="*/ 857357 w 928475"/>
                  <a:gd name="connsiteY28" fmla="*/ 92382 h 762315"/>
                  <a:gd name="connsiteX29" fmla="*/ 853369 w 928475"/>
                  <a:gd name="connsiteY29" fmla="*/ 89724 h 762315"/>
                  <a:gd name="connsiteX30" fmla="*/ 849381 w 928475"/>
                  <a:gd name="connsiteY30" fmla="*/ 87065 h 762315"/>
                  <a:gd name="connsiteX31" fmla="*/ 844729 w 928475"/>
                  <a:gd name="connsiteY31" fmla="*/ 85071 h 762315"/>
                  <a:gd name="connsiteX32" fmla="*/ 840077 w 928475"/>
                  <a:gd name="connsiteY32" fmla="*/ 84407 h 762315"/>
                  <a:gd name="connsiteX33" fmla="*/ 779597 w 928475"/>
                  <a:gd name="connsiteY33" fmla="*/ 501786 h 762315"/>
                  <a:gd name="connsiteX34" fmla="*/ 784250 w 928475"/>
                  <a:gd name="connsiteY34" fmla="*/ 501786 h 762315"/>
                  <a:gd name="connsiteX35" fmla="*/ 788902 w 928475"/>
                  <a:gd name="connsiteY35" fmla="*/ 501786 h 762315"/>
                  <a:gd name="connsiteX36" fmla="*/ 798871 w 928475"/>
                  <a:gd name="connsiteY36" fmla="*/ 502450 h 762315"/>
                  <a:gd name="connsiteX37" fmla="*/ 803523 w 928475"/>
                  <a:gd name="connsiteY37" fmla="*/ 502450 h 762315"/>
                  <a:gd name="connsiteX38" fmla="*/ 807511 w 928475"/>
                  <a:gd name="connsiteY38" fmla="*/ 501786 h 762315"/>
                  <a:gd name="connsiteX39" fmla="*/ 812163 w 928475"/>
                  <a:gd name="connsiteY39" fmla="*/ 501121 h 762315"/>
                  <a:gd name="connsiteX40" fmla="*/ 815486 w 928475"/>
                  <a:gd name="connsiteY40" fmla="*/ 499127 h 762315"/>
                  <a:gd name="connsiteX41" fmla="*/ 816151 w 928475"/>
                  <a:gd name="connsiteY41" fmla="*/ 489158 h 762315"/>
                  <a:gd name="connsiteX42" fmla="*/ 816816 w 928475"/>
                  <a:gd name="connsiteY42" fmla="*/ 476530 h 762315"/>
                  <a:gd name="connsiteX43" fmla="*/ 817480 w 928475"/>
                  <a:gd name="connsiteY43" fmla="*/ 447952 h 762315"/>
                  <a:gd name="connsiteX44" fmla="*/ 817480 w 928475"/>
                  <a:gd name="connsiteY44" fmla="*/ 388801 h 762315"/>
                  <a:gd name="connsiteX45" fmla="*/ 817480 w 928475"/>
                  <a:gd name="connsiteY45" fmla="*/ 217331 h 762315"/>
                  <a:gd name="connsiteX46" fmla="*/ 816816 w 928475"/>
                  <a:gd name="connsiteY46" fmla="*/ 133589 h 762315"/>
                  <a:gd name="connsiteX47" fmla="*/ 816151 w 928475"/>
                  <a:gd name="connsiteY47" fmla="*/ 53834 h 762315"/>
                  <a:gd name="connsiteX48" fmla="*/ 812828 w 928475"/>
                  <a:gd name="connsiteY48" fmla="*/ 51840 h 762315"/>
                  <a:gd name="connsiteX49" fmla="*/ 808176 w 928475"/>
                  <a:gd name="connsiteY49" fmla="*/ 50511 h 762315"/>
                  <a:gd name="connsiteX50" fmla="*/ 804188 w 928475"/>
                  <a:gd name="connsiteY50" fmla="*/ 50511 h 762315"/>
                  <a:gd name="connsiteX51" fmla="*/ 798871 w 928475"/>
                  <a:gd name="connsiteY51" fmla="*/ 50511 h 762315"/>
                  <a:gd name="connsiteX52" fmla="*/ 788902 w 928475"/>
                  <a:gd name="connsiteY52" fmla="*/ 50511 h 762315"/>
                  <a:gd name="connsiteX53" fmla="*/ 784250 w 928475"/>
                  <a:gd name="connsiteY53" fmla="*/ 51176 h 762315"/>
                  <a:gd name="connsiteX54" fmla="*/ 779597 w 928475"/>
                  <a:gd name="connsiteY54" fmla="*/ 50511 h 762315"/>
                  <a:gd name="connsiteX55" fmla="*/ 380161 w 928475"/>
                  <a:gd name="connsiteY55" fmla="*/ 713798 h 762315"/>
                  <a:gd name="connsiteX56" fmla="*/ 454599 w 928475"/>
                  <a:gd name="connsiteY56" fmla="*/ 713798 h 762315"/>
                  <a:gd name="connsiteX57" fmla="*/ 533024 w 928475"/>
                  <a:gd name="connsiteY57" fmla="*/ 713798 h 762315"/>
                  <a:gd name="connsiteX58" fmla="*/ 610784 w 928475"/>
                  <a:gd name="connsiteY58" fmla="*/ 713798 h 762315"/>
                  <a:gd name="connsiteX59" fmla="*/ 648667 w 928475"/>
                  <a:gd name="connsiteY59" fmla="*/ 713798 h 762315"/>
                  <a:gd name="connsiteX60" fmla="*/ 685222 w 928475"/>
                  <a:gd name="connsiteY60" fmla="*/ 712469 h 762315"/>
                  <a:gd name="connsiteX61" fmla="*/ 687215 w 928475"/>
                  <a:gd name="connsiteY61" fmla="*/ 709811 h 762315"/>
                  <a:gd name="connsiteX62" fmla="*/ 688545 w 928475"/>
                  <a:gd name="connsiteY62" fmla="*/ 706487 h 762315"/>
                  <a:gd name="connsiteX63" fmla="*/ 689209 w 928475"/>
                  <a:gd name="connsiteY63" fmla="*/ 701835 h 762315"/>
                  <a:gd name="connsiteX64" fmla="*/ 689209 w 928475"/>
                  <a:gd name="connsiteY64" fmla="*/ 697183 h 762315"/>
                  <a:gd name="connsiteX65" fmla="*/ 689209 w 928475"/>
                  <a:gd name="connsiteY65" fmla="*/ 686549 h 762315"/>
                  <a:gd name="connsiteX66" fmla="*/ 689209 w 928475"/>
                  <a:gd name="connsiteY66" fmla="*/ 675915 h 762315"/>
                  <a:gd name="connsiteX67" fmla="*/ 380826 w 928475"/>
                  <a:gd name="connsiteY67" fmla="*/ 675915 h 762315"/>
                  <a:gd name="connsiteX68" fmla="*/ 380826 w 928475"/>
                  <a:gd name="connsiteY68" fmla="*/ 686549 h 762315"/>
                  <a:gd name="connsiteX69" fmla="*/ 380826 w 928475"/>
                  <a:gd name="connsiteY69" fmla="*/ 695854 h 762315"/>
                  <a:gd name="connsiteX70" fmla="*/ 380826 w 928475"/>
                  <a:gd name="connsiteY70" fmla="*/ 704494 h 762315"/>
                  <a:gd name="connsiteX71" fmla="*/ 359518 w 928475"/>
                  <a:gd name="connsiteY71" fmla="*/ 138139 h 762315"/>
                  <a:gd name="connsiteX72" fmla="*/ 417123 w 928475"/>
                  <a:gd name="connsiteY72" fmla="*/ 100436 h 762315"/>
                  <a:gd name="connsiteX73" fmla="*/ 659974 w 928475"/>
                  <a:gd name="connsiteY73" fmla="*/ 100436 h 762315"/>
                  <a:gd name="connsiteX74" fmla="*/ 717578 w 928475"/>
                  <a:gd name="connsiteY74" fmla="*/ 138139 h 762315"/>
                  <a:gd name="connsiteX75" fmla="*/ 659974 w 928475"/>
                  <a:gd name="connsiteY75" fmla="*/ 175841 h 762315"/>
                  <a:gd name="connsiteX76" fmla="*/ 417123 w 928475"/>
                  <a:gd name="connsiteY76" fmla="*/ 175841 h 762315"/>
                  <a:gd name="connsiteX77" fmla="*/ 359518 w 928475"/>
                  <a:gd name="connsiteY77" fmla="*/ 138139 h 762315"/>
                  <a:gd name="connsiteX78" fmla="*/ 359517 w 928475"/>
                  <a:gd name="connsiteY78" fmla="*/ 275097 h 762315"/>
                  <a:gd name="connsiteX79" fmla="*/ 417122 w 928475"/>
                  <a:gd name="connsiteY79" fmla="*/ 237394 h 762315"/>
                  <a:gd name="connsiteX80" fmla="*/ 659973 w 928475"/>
                  <a:gd name="connsiteY80" fmla="*/ 237394 h 762315"/>
                  <a:gd name="connsiteX81" fmla="*/ 717577 w 928475"/>
                  <a:gd name="connsiteY81" fmla="*/ 275097 h 762315"/>
                  <a:gd name="connsiteX82" fmla="*/ 659973 w 928475"/>
                  <a:gd name="connsiteY82" fmla="*/ 312799 h 762315"/>
                  <a:gd name="connsiteX83" fmla="*/ 417122 w 928475"/>
                  <a:gd name="connsiteY83" fmla="*/ 312799 h 762315"/>
                  <a:gd name="connsiteX84" fmla="*/ 359517 w 928475"/>
                  <a:gd name="connsiteY84" fmla="*/ 275097 h 762315"/>
                  <a:gd name="connsiteX85" fmla="*/ 359516 w 928475"/>
                  <a:gd name="connsiteY85" fmla="*/ 412055 h 762315"/>
                  <a:gd name="connsiteX86" fmla="*/ 417121 w 928475"/>
                  <a:gd name="connsiteY86" fmla="*/ 374352 h 762315"/>
                  <a:gd name="connsiteX87" fmla="*/ 659972 w 928475"/>
                  <a:gd name="connsiteY87" fmla="*/ 374352 h 762315"/>
                  <a:gd name="connsiteX88" fmla="*/ 717576 w 928475"/>
                  <a:gd name="connsiteY88" fmla="*/ 412055 h 762315"/>
                  <a:gd name="connsiteX89" fmla="*/ 659972 w 928475"/>
                  <a:gd name="connsiteY89" fmla="*/ 449757 h 762315"/>
                  <a:gd name="connsiteX90" fmla="*/ 417121 w 928475"/>
                  <a:gd name="connsiteY90" fmla="*/ 449757 h 762315"/>
                  <a:gd name="connsiteX91" fmla="*/ 359516 w 928475"/>
                  <a:gd name="connsiteY91" fmla="*/ 412055 h 762315"/>
                  <a:gd name="connsiteX92" fmla="*/ 330979 w 928475"/>
                  <a:gd name="connsiteY92" fmla="*/ 618093 h 762315"/>
                  <a:gd name="connsiteX93" fmla="*/ 331643 w 928475"/>
                  <a:gd name="connsiteY93" fmla="*/ 654647 h 762315"/>
                  <a:gd name="connsiteX94" fmla="*/ 431337 w 928475"/>
                  <a:gd name="connsiteY94" fmla="*/ 654647 h 762315"/>
                  <a:gd name="connsiteX95" fmla="*/ 535682 w 928475"/>
                  <a:gd name="connsiteY95" fmla="*/ 655977 h 762315"/>
                  <a:gd name="connsiteX96" fmla="*/ 640027 w 928475"/>
                  <a:gd name="connsiteY96" fmla="*/ 656641 h 762315"/>
                  <a:gd name="connsiteX97" fmla="*/ 739720 w 928475"/>
                  <a:gd name="connsiteY97" fmla="*/ 657306 h 762315"/>
                  <a:gd name="connsiteX98" fmla="*/ 739720 w 928475"/>
                  <a:gd name="connsiteY98" fmla="*/ 640026 h 762315"/>
                  <a:gd name="connsiteX99" fmla="*/ 739720 w 928475"/>
                  <a:gd name="connsiteY99" fmla="*/ 619423 h 762315"/>
                  <a:gd name="connsiteX100" fmla="*/ 739055 w 928475"/>
                  <a:gd name="connsiteY100" fmla="*/ 576223 h 762315"/>
                  <a:gd name="connsiteX101" fmla="*/ 737726 w 928475"/>
                  <a:gd name="connsiteY101" fmla="*/ 525712 h 762315"/>
                  <a:gd name="connsiteX102" fmla="*/ 332308 w 928475"/>
                  <a:gd name="connsiteY102" fmla="*/ 525712 h 762315"/>
                  <a:gd name="connsiteX103" fmla="*/ 331643 w 928475"/>
                  <a:gd name="connsiteY103" fmla="*/ 575558 h 762315"/>
                  <a:gd name="connsiteX104" fmla="*/ 312010 w 928475"/>
                  <a:gd name="connsiteY104" fmla="*/ 508368 h 762315"/>
                  <a:gd name="connsiteX105" fmla="*/ 748776 w 928475"/>
                  <a:gd name="connsiteY105" fmla="*/ 508368 h 762315"/>
                  <a:gd name="connsiteX106" fmla="*/ 748776 w 928475"/>
                  <a:gd name="connsiteY106" fmla="*/ 50511 h 762315"/>
                  <a:gd name="connsiteX107" fmla="*/ 312010 w 928475"/>
                  <a:gd name="connsiteY107" fmla="*/ 50511 h 762315"/>
                  <a:gd name="connsiteX108" fmla="*/ 263852 w 928475"/>
                  <a:gd name="connsiteY108" fmla="*/ 275817 h 762315"/>
                  <a:gd name="connsiteX109" fmla="*/ 264516 w 928475"/>
                  <a:gd name="connsiteY109" fmla="*/ 388802 h 762315"/>
                  <a:gd name="connsiteX110" fmla="*/ 265846 w 928475"/>
                  <a:gd name="connsiteY110" fmla="*/ 499128 h 762315"/>
                  <a:gd name="connsiteX111" fmla="*/ 267839 w 928475"/>
                  <a:gd name="connsiteY111" fmla="*/ 500457 h 762315"/>
                  <a:gd name="connsiteX112" fmla="*/ 270498 w 928475"/>
                  <a:gd name="connsiteY112" fmla="*/ 501786 h 762315"/>
                  <a:gd name="connsiteX113" fmla="*/ 273156 w 928475"/>
                  <a:gd name="connsiteY113" fmla="*/ 501786 h 762315"/>
                  <a:gd name="connsiteX114" fmla="*/ 276480 w 928475"/>
                  <a:gd name="connsiteY114" fmla="*/ 502451 h 762315"/>
                  <a:gd name="connsiteX115" fmla="*/ 283790 w 928475"/>
                  <a:gd name="connsiteY115" fmla="*/ 501786 h 762315"/>
                  <a:gd name="connsiteX116" fmla="*/ 290437 w 928475"/>
                  <a:gd name="connsiteY116" fmla="*/ 501786 h 762315"/>
                  <a:gd name="connsiteX117" fmla="*/ 291101 w 928475"/>
                  <a:gd name="connsiteY117" fmla="*/ 501786 h 762315"/>
                  <a:gd name="connsiteX118" fmla="*/ 291766 w 928475"/>
                  <a:gd name="connsiteY118" fmla="*/ 500457 h 762315"/>
                  <a:gd name="connsiteX119" fmla="*/ 291766 w 928475"/>
                  <a:gd name="connsiteY119" fmla="*/ 497134 h 762315"/>
                  <a:gd name="connsiteX120" fmla="*/ 291766 w 928475"/>
                  <a:gd name="connsiteY120" fmla="*/ 50512 h 762315"/>
                  <a:gd name="connsiteX121" fmla="*/ 285120 w 928475"/>
                  <a:gd name="connsiteY121" fmla="*/ 50512 h 762315"/>
                  <a:gd name="connsiteX122" fmla="*/ 277809 w 928475"/>
                  <a:gd name="connsiteY122" fmla="*/ 50512 h 762315"/>
                  <a:gd name="connsiteX123" fmla="*/ 274486 w 928475"/>
                  <a:gd name="connsiteY123" fmla="*/ 50512 h 762315"/>
                  <a:gd name="connsiteX124" fmla="*/ 271163 w 928475"/>
                  <a:gd name="connsiteY124" fmla="*/ 51176 h 762315"/>
                  <a:gd name="connsiteX125" fmla="*/ 268504 w 928475"/>
                  <a:gd name="connsiteY125" fmla="*/ 51841 h 762315"/>
                  <a:gd name="connsiteX126" fmla="*/ 266510 w 928475"/>
                  <a:gd name="connsiteY126" fmla="*/ 53835 h 762315"/>
                  <a:gd name="connsiteX127" fmla="*/ 265181 w 928475"/>
                  <a:gd name="connsiteY127" fmla="*/ 107670 h 762315"/>
                  <a:gd name="connsiteX128" fmla="*/ 264516 w 928475"/>
                  <a:gd name="connsiteY128" fmla="*/ 163497 h 762315"/>
                  <a:gd name="connsiteX129" fmla="*/ 263852 w 928475"/>
                  <a:gd name="connsiteY129" fmla="*/ 219325 h 762315"/>
                  <a:gd name="connsiteX130" fmla="*/ 120295 w 928475"/>
                  <a:gd name="connsiteY130" fmla="*/ 422697 h 762315"/>
                  <a:gd name="connsiteX131" fmla="*/ 147544 w 928475"/>
                  <a:gd name="connsiteY131" fmla="*/ 422032 h 762315"/>
                  <a:gd name="connsiteX132" fmla="*/ 176788 w 928475"/>
                  <a:gd name="connsiteY132" fmla="*/ 422697 h 762315"/>
                  <a:gd name="connsiteX133" fmla="*/ 204037 w 928475"/>
                  <a:gd name="connsiteY133" fmla="*/ 422697 h 762315"/>
                  <a:gd name="connsiteX134" fmla="*/ 216000 w 928475"/>
                  <a:gd name="connsiteY134" fmla="*/ 422032 h 762315"/>
                  <a:gd name="connsiteX135" fmla="*/ 225970 w 928475"/>
                  <a:gd name="connsiteY135" fmla="*/ 420703 h 762315"/>
                  <a:gd name="connsiteX136" fmla="*/ 227963 w 928475"/>
                  <a:gd name="connsiteY136" fmla="*/ 417380 h 762315"/>
                  <a:gd name="connsiteX137" fmla="*/ 229293 w 928475"/>
                  <a:gd name="connsiteY137" fmla="*/ 414057 h 762315"/>
                  <a:gd name="connsiteX138" fmla="*/ 231287 w 928475"/>
                  <a:gd name="connsiteY138" fmla="*/ 406081 h 762315"/>
                  <a:gd name="connsiteX139" fmla="*/ 231951 w 928475"/>
                  <a:gd name="connsiteY139" fmla="*/ 396777 h 762315"/>
                  <a:gd name="connsiteX140" fmla="*/ 232616 w 928475"/>
                  <a:gd name="connsiteY140" fmla="*/ 387472 h 762315"/>
                  <a:gd name="connsiteX141" fmla="*/ 231951 w 928475"/>
                  <a:gd name="connsiteY141" fmla="*/ 367534 h 762315"/>
                  <a:gd name="connsiteX142" fmla="*/ 231951 w 928475"/>
                  <a:gd name="connsiteY142" fmla="*/ 348924 h 762315"/>
                  <a:gd name="connsiteX143" fmla="*/ 231951 w 928475"/>
                  <a:gd name="connsiteY143" fmla="*/ 237934 h 762315"/>
                  <a:gd name="connsiteX144" fmla="*/ 231287 w 928475"/>
                  <a:gd name="connsiteY144" fmla="*/ 184100 h 762315"/>
                  <a:gd name="connsiteX145" fmla="*/ 230622 w 928475"/>
                  <a:gd name="connsiteY145" fmla="*/ 158180 h 762315"/>
                  <a:gd name="connsiteX146" fmla="*/ 228628 w 928475"/>
                  <a:gd name="connsiteY146" fmla="*/ 132260 h 762315"/>
                  <a:gd name="connsiteX147" fmla="*/ 217994 w 928475"/>
                  <a:gd name="connsiteY147" fmla="*/ 130930 h 762315"/>
                  <a:gd name="connsiteX148" fmla="*/ 206031 w 928475"/>
                  <a:gd name="connsiteY148" fmla="*/ 130266 h 762315"/>
                  <a:gd name="connsiteX149" fmla="*/ 178117 w 928475"/>
                  <a:gd name="connsiteY149" fmla="*/ 130266 h 762315"/>
                  <a:gd name="connsiteX150" fmla="*/ 148209 w 928475"/>
                  <a:gd name="connsiteY150" fmla="*/ 130266 h 762315"/>
                  <a:gd name="connsiteX151" fmla="*/ 120295 w 928475"/>
                  <a:gd name="connsiteY151" fmla="*/ 130266 h 762315"/>
                  <a:gd name="connsiteX152" fmla="*/ 47851 w 928475"/>
                  <a:gd name="connsiteY152" fmla="*/ 328322 h 762315"/>
                  <a:gd name="connsiteX153" fmla="*/ 48515 w 928475"/>
                  <a:gd name="connsiteY153" fmla="*/ 335632 h 762315"/>
                  <a:gd name="connsiteX154" fmla="*/ 49845 w 928475"/>
                  <a:gd name="connsiteY154" fmla="*/ 342278 h 762315"/>
                  <a:gd name="connsiteX155" fmla="*/ 51839 w 928475"/>
                  <a:gd name="connsiteY155" fmla="*/ 348925 h 762315"/>
                  <a:gd name="connsiteX156" fmla="*/ 55162 w 928475"/>
                  <a:gd name="connsiteY156" fmla="*/ 355571 h 762315"/>
                  <a:gd name="connsiteX157" fmla="*/ 59149 w 928475"/>
                  <a:gd name="connsiteY157" fmla="*/ 360888 h 762315"/>
                  <a:gd name="connsiteX158" fmla="*/ 64466 w 928475"/>
                  <a:gd name="connsiteY158" fmla="*/ 365540 h 762315"/>
                  <a:gd name="connsiteX159" fmla="*/ 71113 w 928475"/>
                  <a:gd name="connsiteY159" fmla="*/ 368863 h 762315"/>
                  <a:gd name="connsiteX160" fmla="*/ 79088 w 928475"/>
                  <a:gd name="connsiteY160" fmla="*/ 371522 h 762315"/>
                  <a:gd name="connsiteX161" fmla="*/ 88393 w 928475"/>
                  <a:gd name="connsiteY161" fmla="*/ 372851 h 762315"/>
                  <a:gd name="connsiteX162" fmla="*/ 88393 w 928475"/>
                  <a:gd name="connsiteY162" fmla="*/ 178119 h 762315"/>
                  <a:gd name="connsiteX163" fmla="*/ 81082 w 928475"/>
                  <a:gd name="connsiteY163" fmla="*/ 178783 h 762315"/>
                  <a:gd name="connsiteX164" fmla="*/ 74436 w 928475"/>
                  <a:gd name="connsiteY164" fmla="*/ 179448 h 762315"/>
                  <a:gd name="connsiteX165" fmla="*/ 69119 w 928475"/>
                  <a:gd name="connsiteY165" fmla="*/ 181442 h 762315"/>
                  <a:gd name="connsiteX166" fmla="*/ 64466 w 928475"/>
                  <a:gd name="connsiteY166" fmla="*/ 183436 h 762315"/>
                  <a:gd name="connsiteX167" fmla="*/ 61143 w 928475"/>
                  <a:gd name="connsiteY167" fmla="*/ 185430 h 762315"/>
                  <a:gd name="connsiteX168" fmla="*/ 57820 w 928475"/>
                  <a:gd name="connsiteY168" fmla="*/ 188753 h 762315"/>
                  <a:gd name="connsiteX169" fmla="*/ 55162 w 928475"/>
                  <a:gd name="connsiteY169" fmla="*/ 191411 h 762315"/>
                  <a:gd name="connsiteX170" fmla="*/ 53832 w 928475"/>
                  <a:gd name="connsiteY170" fmla="*/ 195399 h 762315"/>
                  <a:gd name="connsiteX171" fmla="*/ 51839 w 928475"/>
                  <a:gd name="connsiteY171" fmla="*/ 199386 h 762315"/>
                  <a:gd name="connsiteX172" fmla="*/ 51174 w 928475"/>
                  <a:gd name="connsiteY172" fmla="*/ 203374 h 762315"/>
                  <a:gd name="connsiteX173" fmla="*/ 50509 w 928475"/>
                  <a:gd name="connsiteY173" fmla="*/ 212679 h 762315"/>
                  <a:gd name="connsiteX174" fmla="*/ 49845 w 928475"/>
                  <a:gd name="connsiteY174" fmla="*/ 221983 h 762315"/>
                  <a:gd name="connsiteX175" fmla="*/ 49845 w 928475"/>
                  <a:gd name="connsiteY175" fmla="*/ 232617 h 762315"/>
                  <a:gd name="connsiteX176" fmla="*/ 49845 w 928475"/>
                  <a:gd name="connsiteY176" fmla="*/ 275817 h 762315"/>
                  <a:gd name="connsiteX177" fmla="*/ 49845 w 928475"/>
                  <a:gd name="connsiteY177" fmla="*/ 289774 h 762315"/>
                  <a:gd name="connsiteX178" fmla="*/ 48515 w 928475"/>
                  <a:gd name="connsiteY178" fmla="*/ 305060 h 762315"/>
                  <a:gd name="connsiteX179" fmla="*/ 47851 w 928475"/>
                  <a:gd name="connsiteY179" fmla="*/ 320346 h 762315"/>
                  <a:gd name="connsiteX180" fmla="*/ 0 w 928475"/>
                  <a:gd name="connsiteY180" fmla="*/ 333638 h 762315"/>
                  <a:gd name="connsiteX181" fmla="*/ 0 w 928475"/>
                  <a:gd name="connsiteY181" fmla="*/ 324998 h 762315"/>
                  <a:gd name="connsiteX182" fmla="*/ 0 w 928475"/>
                  <a:gd name="connsiteY182" fmla="*/ 308382 h 762315"/>
                  <a:gd name="connsiteX183" fmla="*/ 1329 w 928475"/>
                  <a:gd name="connsiteY183" fmla="*/ 292432 h 762315"/>
                  <a:gd name="connsiteX184" fmla="*/ 1994 w 928475"/>
                  <a:gd name="connsiteY184" fmla="*/ 283127 h 762315"/>
                  <a:gd name="connsiteX185" fmla="*/ 1994 w 928475"/>
                  <a:gd name="connsiteY185" fmla="*/ 275816 h 762315"/>
                  <a:gd name="connsiteX186" fmla="*/ 1994 w 928475"/>
                  <a:gd name="connsiteY186" fmla="*/ 232616 h 762315"/>
                  <a:gd name="connsiteX187" fmla="*/ 1994 w 928475"/>
                  <a:gd name="connsiteY187" fmla="*/ 226635 h 762315"/>
                  <a:gd name="connsiteX188" fmla="*/ 1994 w 928475"/>
                  <a:gd name="connsiteY188" fmla="*/ 213342 h 762315"/>
                  <a:gd name="connsiteX189" fmla="*/ 2658 w 928475"/>
                  <a:gd name="connsiteY189" fmla="*/ 206696 h 762315"/>
                  <a:gd name="connsiteX190" fmla="*/ 3323 w 928475"/>
                  <a:gd name="connsiteY190" fmla="*/ 199385 h 762315"/>
                  <a:gd name="connsiteX191" fmla="*/ 4652 w 928475"/>
                  <a:gd name="connsiteY191" fmla="*/ 192075 h 762315"/>
                  <a:gd name="connsiteX192" fmla="*/ 6646 w 928475"/>
                  <a:gd name="connsiteY192" fmla="*/ 184764 h 762315"/>
                  <a:gd name="connsiteX193" fmla="*/ 9305 w 928475"/>
                  <a:gd name="connsiteY193" fmla="*/ 177453 h 762315"/>
                  <a:gd name="connsiteX194" fmla="*/ 12628 w 928475"/>
                  <a:gd name="connsiteY194" fmla="*/ 170142 h 762315"/>
                  <a:gd name="connsiteX195" fmla="*/ 15951 w 928475"/>
                  <a:gd name="connsiteY195" fmla="*/ 164161 h 762315"/>
                  <a:gd name="connsiteX196" fmla="*/ 20603 w 928475"/>
                  <a:gd name="connsiteY196" fmla="*/ 158179 h 762315"/>
                  <a:gd name="connsiteX197" fmla="*/ 25920 w 928475"/>
                  <a:gd name="connsiteY197" fmla="*/ 152198 h 762315"/>
                  <a:gd name="connsiteX198" fmla="*/ 32566 w 928475"/>
                  <a:gd name="connsiteY198" fmla="*/ 146881 h 762315"/>
                  <a:gd name="connsiteX199" fmla="*/ 40542 w 928475"/>
                  <a:gd name="connsiteY199" fmla="*/ 141564 h 762315"/>
                  <a:gd name="connsiteX200" fmla="*/ 49846 w 928475"/>
                  <a:gd name="connsiteY200" fmla="*/ 137576 h 762315"/>
                  <a:gd name="connsiteX201" fmla="*/ 60480 w 928475"/>
                  <a:gd name="connsiteY201" fmla="*/ 133589 h 762315"/>
                  <a:gd name="connsiteX202" fmla="*/ 72443 w 928475"/>
                  <a:gd name="connsiteY202" fmla="*/ 131595 h 762315"/>
                  <a:gd name="connsiteX203" fmla="*/ 73108 w 928475"/>
                  <a:gd name="connsiteY203" fmla="*/ 128936 h 762315"/>
                  <a:gd name="connsiteX204" fmla="*/ 73108 w 928475"/>
                  <a:gd name="connsiteY204" fmla="*/ 123619 h 762315"/>
                  <a:gd name="connsiteX205" fmla="*/ 73108 w 928475"/>
                  <a:gd name="connsiteY205" fmla="*/ 116308 h 762315"/>
                  <a:gd name="connsiteX206" fmla="*/ 73773 w 928475"/>
                  <a:gd name="connsiteY206" fmla="*/ 108998 h 762315"/>
                  <a:gd name="connsiteX207" fmla="*/ 75767 w 928475"/>
                  <a:gd name="connsiteY207" fmla="*/ 102352 h 762315"/>
                  <a:gd name="connsiteX208" fmla="*/ 79090 w 928475"/>
                  <a:gd name="connsiteY208" fmla="*/ 96369 h 762315"/>
                  <a:gd name="connsiteX209" fmla="*/ 83077 w 928475"/>
                  <a:gd name="connsiteY209" fmla="*/ 91717 h 762315"/>
                  <a:gd name="connsiteX210" fmla="*/ 88394 w 928475"/>
                  <a:gd name="connsiteY210" fmla="*/ 87064 h 762315"/>
                  <a:gd name="connsiteX211" fmla="*/ 94376 w 928475"/>
                  <a:gd name="connsiteY211" fmla="*/ 83741 h 762315"/>
                  <a:gd name="connsiteX212" fmla="*/ 101022 w 928475"/>
                  <a:gd name="connsiteY212" fmla="*/ 81747 h 762315"/>
                  <a:gd name="connsiteX213" fmla="*/ 107668 w 928475"/>
                  <a:gd name="connsiteY213" fmla="*/ 81747 h 762315"/>
                  <a:gd name="connsiteX214" fmla="*/ 132924 w 928475"/>
                  <a:gd name="connsiteY214" fmla="*/ 81747 h 762315"/>
                  <a:gd name="connsiteX215" fmla="*/ 186758 w 928475"/>
                  <a:gd name="connsiteY215" fmla="*/ 82412 h 762315"/>
                  <a:gd name="connsiteX216" fmla="*/ 199386 w 928475"/>
                  <a:gd name="connsiteY216" fmla="*/ 82412 h 762315"/>
                  <a:gd name="connsiteX217" fmla="*/ 203373 w 928475"/>
                  <a:gd name="connsiteY217" fmla="*/ 81747 h 762315"/>
                  <a:gd name="connsiteX218" fmla="*/ 207361 w 928475"/>
                  <a:gd name="connsiteY218" fmla="*/ 79754 h 762315"/>
                  <a:gd name="connsiteX219" fmla="*/ 211349 w 928475"/>
                  <a:gd name="connsiteY219" fmla="*/ 76431 h 762315"/>
                  <a:gd name="connsiteX220" fmla="*/ 215337 w 928475"/>
                  <a:gd name="connsiteY220" fmla="*/ 72443 h 762315"/>
                  <a:gd name="connsiteX221" fmla="*/ 218660 w 928475"/>
                  <a:gd name="connsiteY221" fmla="*/ 67791 h 762315"/>
                  <a:gd name="connsiteX222" fmla="*/ 221983 w 928475"/>
                  <a:gd name="connsiteY222" fmla="*/ 61809 h 762315"/>
                  <a:gd name="connsiteX223" fmla="*/ 224641 w 928475"/>
                  <a:gd name="connsiteY223" fmla="*/ 55827 h 762315"/>
                  <a:gd name="connsiteX224" fmla="*/ 226635 w 928475"/>
                  <a:gd name="connsiteY224" fmla="*/ 48517 h 762315"/>
                  <a:gd name="connsiteX225" fmla="*/ 228629 w 928475"/>
                  <a:gd name="connsiteY225" fmla="*/ 42535 h 762315"/>
                  <a:gd name="connsiteX226" fmla="*/ 231952 w 928475"/>
                  <a:gd name="connsiteY226" fmla="*/ 35889 h 762315"/>
                  <a:gd name="connsiteX227" fmla="*/ 236604 w 928475"/>
                  <a:gd name="connsiteY227" fmla="*/ 27914 h 762315"/>
                  <a:gd name="connsiteX228" fmla="*/ 239928 w 928475"/>
                  <a:gd name="connsiteY228" fmla="*/ 24591 h 762315"/>
                  <a:gd name="connsiteX229" fmla="*/ 243251 w 928475"/>
                  <a:gd name="connsiteY229" fmla="*/ 20603 h 762315"/>
                  <a:gd name="connsiteX230" fmla="*/ 247238 w 928475"/>
                  <a:gd name="connsiteY230" fmla="*/ 17280 h 762315"/>
                  <a:gd name="connsiteX231" fmla="*/ 251891 w 928475"/>
                  <a:gd name="connsiteY231" fmla="*/ 13957 h 762315"/>
                  <a:gd name="connsiteX232" fmla="*/ 256543 w 928475"/>
                  <a:gd name="connsiteY232" fmla="*/ 11298 h 762315"/>
                  <a:gd name="connsiteX233" fmla="*/ 262525 w 928475"/>
                  <a:gd name="connsiteY233" fmla="*/ 8640 h 762315"/>
                  <a:gd name="connsiteX234" fmla="*/ 269171 w 928475"/>
                  <a:gd name="connsiteY234" fmla="*/ 7311 h 762315"/>
                  <a:gd name="connsiteX235" fmla="*/ 275817 w 928475"/>
                  <a:gd name="connsiteY235" fmla="*/ 6646 h 762315"/>
                  <a:gd name="connsiteX236" fmla="*/ 315694 w 928475"/>
                  <a:gd name="connsiteY236" fmla="*/ 4652 h 762315"/>
                  <a:gd name="connsiteX237" fmla="*/ 352913 w 928475"/>
                  <a:gd name="connsiteY237" fmla="*/ 3987 h 762315"/>
                  <a:gd name="connsiteX238" fmla="*/ 428681 w 928475"/>
                  <a:gd name="connsiteY238" fmla="*/ 3987 h 762315"/>
                  <a:gd name="connsiteX239" fmla="*/ 557617 w 928475"/>
                  <a:gd name="connsiteY239" fmla="*/ 3323 h 762315"/>
                  <a:gd name="connsiteX240" fmla="*/ 622085 w 928475"/>
                  <a:gd name="connsiteY240" fmla="*/ 2658 h 762315"/>
                  <a:gd name="connsiteX241" fmla="*/ 685888 w 928475"/>
                  <a:gd name="connsiteY241" fmla="*/ 1329 h 762315"/>
                  <a:gd name="connsiteX242" fmla="*/ 710479 w 928475"/>
                  <a:gd name="connsiteY242" fmla="*/ 664 h 762315"/>
                  <a:gd name="connsiteX243" fmla="*/ 737064 w 928475"/>
                  <a:gd name="connsiteY243" fmla="*/ 0 h 762315"/>
                  <a:gd name="connsiteX244" fmla="*/ 763649 w 928475"/>
                  <a:gd name="connsiteY244" fmla="*/ 664 h 762315"/>
                  <a:gd name="connsiteX245" fmla="*/ 776277 w 928475"/>
                  <a:gd name="connsiteY245" fmla="*/ 1329 h 762315"/>
                  <a:gd name="connsiteX246" fmla="*/ 788240 w 928475"/>
                  <a:gd name="connsiteY246" fmla="*/ 2658 h 762315"/>
                  <a:gd name="connsiteX247" fmla="*/ 796215 w 928475"/>
                  <a:gd name="connsiteY247" fmla="*/ 4652 h 762315"/>
                  <a:gd name="connsiteX248" fmla="*/ 804191 w 928475"/>
                  <a:gd name="connsiteY248" fmla="*/ 6646 h 762315"/>
                  <a:gd name="connsiteX249" fmla="*/ 812166 w 928475"/>
                  <a:gd name="connsiteY249" fmla="*/ 9969 h 762315"/>
                  <a:gd name="connsiteX250" fmla="*/ 819477 w 928475"/>
                  <a:gd name="connsiteY250" fmla="*/ 13292 h 762315"/>
                  <a:gd name="connsiteX251" fmla="*/ 827453 w 928475"/>
                  <a:gd name="connsiteY251" fmla="*/ 17280 h 762315"/>
                  <a:gd name="connsiteX252" fmla="*/ 834763 w 928475"/>
                  <a:gd name="connsiteY252" fmla="*/ 21267 h 762315"/>
                  <a:gd name="connsiteX253" fmla="*/ 848720 w 928475"/>
                  <a:gd name="connsiteY253" fmla="*/ 31237 h 762315"/>
                  <a:gd name="connsiteX254" fmla="*/ 856696 w 928475"/>
                  <a:gd name="connsiteY254" fmla="*/ 35889 h 762315"/>
                  <a:gd name="connsiteX255" fmla="*/ 866000 w 928475"/>
                  <a:gd name="connsiteY255" fmla="*/ 40541 h 762315"/>
                  <a:gd name="connsiteX256" fmla="*/ 875970 w 928475"/>
                  <a:gd name="connsiteY256" fmla="*/ 46523 h 762315"/>
                  <a:gd name="connsiteX257" fmla="*/ 881287 w 928475"/>
                  <a:gd name="connsiteY257" fmla="*/ 50511 h 762315"/>
                  <a:gd name="connsiteX258" fmla="*/ 886604 w 928475"/>
                  <a:gd name="connsiteY258" fmla="*/ 54498 h 762315"/>
                  <a:gd name="connsiteX259" fmla="*/ 891256 w 928475"/>
                  <a:gd name="connsiteY259" fmla="*/ 59815 h 762315"/>
                  <a:gd name="connsiteX260" fmla="*/ 895908 w 928475"/>
                  <a:gd name="connsiteY260" fmla="*/ 65132 h 762315"/>
                  <a:gd name="connsiteX261" fmla="*/ 901225 w 928475"/>
                  <a:gd name="connsiteY261" fmla="*/ 71114 h 762315"/>
                  <a:gd name="connsiteX262" fmla="*/ 905213 w 928475"/>
                  <a:gd name="connsiteY262" fmla="*/ 77760 h 762315"/>
                  <a:gd name="connsiteX263" fmla="*/ 909865 w 928475"/>
                  <a:gd name="connsiteY263" fmla="*/ 84406 h 762315"/>
                  <a:gd name="connsiteX264" fmla="*/ 913853 w 928475"/>
                  <a:gd name="connsiteY264" fmla="*/ 92381 h 762315"/>
                  <a:gd name="connsiteX265" fmla="*/ 917176 w 928475"/>
                  <a:gd name="connsiteY265" fmla="*/ 101022 h 762315"/>
                  <a:gd name="connsiteX266" fmla="*/ 920499 w 928475"/>
                  <a:gd name="connsiteY266" fmla="*/ 109662 h 762315"/>
                  <a:gd name="connsiteX267" fmla="*/ 923158 w 928475"/>
                  <a:gd name="connsiteY267" fmla="*/ 119632 h 762315"/>
                  <a:gd name="connsiteX268" fmla="*/ 925152 w 928475"/>
                  <a:gd name="connsiteY268" fmla="*/ 130265 h 762315"/>
                  <a:gd name="connsiteX269" fmla="*/ 926481 w 928475"/>
                  <a:gd name="connsiteY269" fmla="*/ 142893 h 762315"/>
                  <a:gd name="connsiteX270" fmla="*/ 927810 w 928475"/>
                  <a:gd name="connsiteY270" fmla="*/ 156185 h 762315"/>
                  <a:gd name="connsiteX271" fmla="*/ 928475 w 928475"/>
                  <a:gd name="connsiteY271" fmla="*/ 169478 h 762315"/>
                  <a:gd name="connsiteX272" fmla="*/ 928475 w 928475"/>
                  <a:gd name="connsiteY272" fmla="*/ 182770 h 762315"/>
                  <a:gd name="connsiteX273" fmla="*/ 927810 w 928475"/>
                  <a:gd name="connsiteY273" fmla="*/ 210019 h 762315"/>
                  <a:gd name="connsiteX274" fmla="*/ 927146 w 928475"/>
                  <a:gd name="connsiteY274" fmla="*/ 235939 h 762315"/>
                  <a:gd name="connsiteX275" fmla="*/ 926481 w 928475"/>
                  <a:gd name="connsiteY275" fmla="*/ 257207 h 762315"/>
                  <a:gd name="connsiteX276" fmla="*/ 925816 w 928475"/>
                  <a:gd name="connsiteY276" fmla="*/ 275816 h 762315"/>
                  <a:gd name="connsiteX277" fmla="*/ 925816 w 928475"/>
                  <a:gd name="connsiteY277" fmla="*/ 360222 h 762315"/>
                  <a:gd name="connsiteX278" fmla="*/ 925816 w 928475"/>
                  <a:gd name="connsiteY278" fmla="*/ 372185 h 762315"/>
                  <a:gd name="connsiteX279" fmla="*/ 925816 w 928475"/>
                  <a:gd name="connsiteY279" fmla="*/ 393453 h 762315"/>
                  <a:gd name="connsiteX280" fmla="*/ 925152 w 928475"/>
                  <a:gd name="connsiteY280" fmla="*/ 413392 h 762315"/>
                  <a:gd name="connsiteX281" fmla="*/ 924487 w 928475"/>
                  <a:gd name="connsiteY281" fmla="*/ 422696 h 762315"/>
                  <a:gd name="connsiteX282" fmla="*/ 923822 w 928475"/>
                  <a:gd name="connsiteY282" fmla="*/ 432001 h 762315"/>
                  <a:gd name="connsiteX283" fmla="*/ 921829 w 928475"/>
                  <a:gd name="connsiteY283" fmla="*/ 441305 h 762315"/>
                  <a:gd name="connsiteX284" fmla="*/ 919835 w 928475"/>
                  <a:gd name="connsiteY284" fmla="*/ 450610 h 762315"/>
                  <a:gd name="connsiteX285" fmla="*/ 915847 w 928475"/>
                  <a:gd name="connsiteY285" fmla="*/ 461909 h 762315"/>
                  <a:gd name="connsiteX286" fmla="*/ 911195 w 928475"/>
                  <a:gd name="connsiteY286" fmla="*/ 472542 h 762315"/>
                  <a:gd name="connsiteX287" fmla="*/ 905213 w 928475"/>
                  <a:gd name="connsiteY287" fmla="*/ 481847 h 762315"/>
                  <a:gd name="connsiteX288" fmla="*/ 897902 w 928475"/>
                  <a:gd name="connsiteY288" fmla="*/ 489822 h 762315"/>
                  <a:gd name="connsiteX289" fmla="*/ 890591 w 928475"/>
                  <a:gd name="connsiteY289" fmla="*/ 497133 h 762315"/>
                  <a:gd name="connsiteX290" fmla="*/ 881287 w 928475"/>
                  <a:gd name="connsiteY290" fmla="*/ 503115 h 762315"/>
                  <a:gd name="connsiteX291" fmla="*/ 871982 w 928475"/>
                  <a:gd name="connsiteY291" fmla="*/ 507767 h 762315"/>
                  <a:gd name="connsiteX292" fmla="*/ 862013 w 928475"/>
                  <a:gd name="connsiteY292" fmla="*/ 511755 h 762315"/>
                  <a:gd name="connsiteX293" fmla="*/ 861348 w 928475"/>
                  <a:gd name="connsiteY293" fmla="*/ 514413 h 762315"/>
                  <a:gd name="connsiteX294" fmla="*/ 860019 w 928475"/>
                  <a:gd name="connsiteY294" fmla="*/ 517072 h 762315"/>
                  <a:gd name="connsiteX295" fmla="*/ 856696 w 928475"/>
                  <a:gd name="connsiteY295" fmla="*/ 523718 h 762315"/>
                  <a:gd name="connsiteX296" fmla="*/ 851379 w 928475"/>
                  <a:gd name="connsiteY296" fmla="*/ 529699 h 762315"/>
                  <a:gd name="connsiteX297" fmla="*/ 846062 w 928475"/>
                  <a:gd name="connsiteY297" fmla="*/ 535681 h 762315"/>
                  <a:gd name="connsiteX298" fmla="*/ 841410 w 928475"/>
                  <a:gd name="connsiteY298" fmla="*/ 539004 h 762315"/>
                  <a:gd name="connsiteX299" fmla="*/ 836757 w 928475"/>
                  <a:gd name="connsiteY299" fmla="*/ 542327 h 762315"/>
                  <a:gd name="connsiteX300" fmla="*/ 831440 w 928475"/>
                  <a:gd name="connsiteY300" fmla="*/ 544321 h 762315"/>
                  <a:gd name="connsiteX301" fmla="*/ 826123 w 928475"/>
                  <a:gd name="connsiteY301" fmla="*/ 546315 h 762315"/>
                  <a:gd name="connsiteX302" fmla="*/ 820806 w 928475"/>
                  <a:gd name="connsiteY302" fmla="*/ 548309 h 762315"/>
                  <a:gd name="connsiteX303" fmla="*/ 814825 w 928475"/>
                  <a:gd name="connsiteY303" fmla="*/ 549638 h 762315"/>
                  <a:gd name="connsiteX304" fmla="*/ 808179 w 928475"/>
                  <a:gd name="connsiteY304" fmla="*/ 550302 h 762315"/>
                  <a:gd name="connsiteX305" fmla="*/ 802197 w 928475"/>
                  <a:gd name="connsiteY305" fmla="*/ 550302 h 762315"/>
                  <a:gd name="connsiteX306" fmla="*/ 791563 w 928475"/>
                  <a:gd name="connsiteY306" fmla="*/ 549638 h 762315"/>
                  <a:gd name="connsiteX307" fmla="*/ 786911 w 928475"/>
                  <a:gd name="connsiteY307" fmla="*/ 549638 h 762315"/>
                  <a:gd name="connsiteX308" fmla="*/ 787575 w 928475"/>
                  <a:gd name="connsiteY308" fmla="*/ 605465 h 762315"/>
                  <a:gd name="connsiteX309" fmla="*/ 787575 w 928475"/>
                  <a:gd name="connsiteY309" fmla="*/ 634044 h 762315"/>
                  <a:gd name="connsiteX310" fmla="*/ 787575 w 928475"/>
                  <a:gd name="connsiteY310" fmla="*/ 658635 h 762315"/>
                  <a:gd name="connsiteX311" fmla="*/ 786911 w 928475"/>
                  <a:gd name="connsiteY311" fmla="*/ 669269 h 762315"/>
                  <a:gd name="connsiteX312" fmla="*/ 785581 w 928475"/>
                  <a:gd name="connsiteY312" fmla="*/ 676579 h 762315"/>
                  <a:gd name="connsiteX313" fmla="*/ 783588 w 928475"/>
                  <a:gd name="connsiteY313" fmla="*/ 683226 h 762315"/>
                  <a:gd name="connsiteX314" fmla="*/ 780265 w 928475"/>
                  <a:gd name="connsiteY314" fmla="*/ 689207 h 762315"/>
                  <a:gd name="connsiteX315" fmla="*/ 775612 w 928475"/>
                  <a:gd name="connsiteY315" fmla="*/ 694524 h 762315"/>
                  <a:gd name="connsiteX316" fmla="*/ 770295 w 928475"/>
                  <a:gd name="connsiteY316" fmla="*/ 698512 h 762315"/>
                  <a:gd name="connsiteX317" fmla="*/ 763649 w 928475"/>
                  <a:gd name="connsiteY317" fmla="*/ 701835 h 762315"/>
                  <a:gd name="connsiteX318" fmla="*/ 757003 w 928475"/>
                  <a:gd name="connsiteY318" fmla="*/ 703829 h 762315"/>
                  <a:gd name="connsiteX319" fmla="*/ 750357 w 928475"/>
                  <a:gd name="connsiteY319" fmla="*/ 705158 h 762315"/>
                  <a:gd name="connsiteX320" fmla="*/ 739723 w 928475"/>
                  <a:gd name="connsiteY320" fmla="*/ 705158 h 762315"/>
                  <a:gd name="connsiteX321" fmla="*/ 738393 w 928475"/>
                  <a:gd name="connsiteY321" fmla="*/ 705158 h 762315"/>
                  <a:gd name="connsiteX322" fmla="*/ 737064 w 928475"/>
                  <a:gd name="connsiteY322" fmla="*/ 707152 h 762315"/>
                  <a:gd name="connsiteX323" fmla="*/ 735735 w 928475"/>
                  <a:gd name="connsiteY323" fmla="*/ 714462 h 762315"/>
                  <a:gd name="connsiteX324" fmla="*/ 731083 w 928475"/>
                  <a:gd name="connsiteY324" fmla="*/ 737724 h 762315"/>
                  <a:gd name="connsiteX325" fmla="*/ 713803 w 928475"/>
                  <a:gd name="connsiteY325" fmla="*/ 750352 h 762315"/>
                  <a:gd name="connsiteX326" fmla="*/ 707821 w 928475"/>
                  <a:gd name="connsiteY326" fmla="*/ 754339 h 762315"/>
                  <a:gd name="connsiteX327" fmla="*/ 701175 w 928475"/>
                  <a:gd name="connsiteY327" fmla="*/ 756998 h 762315"/>
                  <a:gd name="connsiteX328" fmla="*/ 693199 w 928475"/>
                  <a:gd name="connsiteY328" fmla="*/ 759656 h 762315"/>
                  <a:gd name="connsiteX329" fmla="*/ 686553 w 928475"/>
                  <a:gd name="connsiteY329" fmla="*/ 760321 h 762315"/>
                  <a:gd name="connsiteX330" fmla="*/ 632719 w 928475"/>
                  <a:gd name="connsiteY330" fmla="*/ 761650 h 762315"/>
                  <a:gd name="connsiteX331" fmla="*/ 565592 w 928475"/>
                  <a:gd name="connsiteY331" fmla="*/ 762315 h 762315"/>
                  <a:gd name="connsiteX332" fmla="*/ 494478 w 928475"/>
                  <a:gd name="connsiteY332" fmla="*/ 761650 h 762315"/>
                  <a:gd name="connsiteX333" fmla="*/ 421370 w 928475"/>
                  <a:gd name="connsiteY333" fmla="*/ 761650 h 762315"/>
                  <a:gd name="connsiteX334" fmla="*/ 390797 w 928475"/>
                  <a:gd name="connsiteY334" fmla="*/ 761650 h 762315"/>
                  <a:gd name="connsiteX335" fmla="*/ 383486 w 928475"/>
                  <a:gd name="connsiteY335" fmla="*/ 761650 h 762315"/>
                  <a:gd name="connsiteX336" fmla="*/ 375511 w 928475"/>
                  <a:gd name="connsiteY336" fmla="*/ 759656 h 762315"/>
                  <a:gd name="connsiteX337" fmla="*/ 367536 w 928475"/>
                  <a:gd name="connsiteY337" fmla="*/ 756998 h 762315"/>
                  <a:gd name="connsiteX338" fmla="*/ 360225 w 928475"/>
                  <a:gd name="connsiteY338" fmla="*/ 753675 h 762315"/>
                  <a:gd name="connsiteX339" fmla="*/ 352913 w 928475"/>
                  <a:gd name="connsiteY339" fmla="*/ 749022 h 762315"/>
                  <a:gd name="connsiteX340" fmla="*/ 346267 w 928475"/>
                  <a:gd name="connsiteY340" fmla="*/ 744370 h 762315"/>
                  <a:gd name="connsiteX341" fmla="*/ 340285 w 928475"/>
                  <a:gd name="connsiteY341" fmla="*/ 739053 h 762315"/>
                  <a:gd name="connsiteX342" fmla="*/ 335633 w 928475"/>
                  <a:gd name="connsiteY342" fmla="*/ 733072 h 762315"/>
                  <a:gd name="connsiteX343" fmla="*/ 334968 w 928475"/>
                  <a:gd name="connsiteY343" fmla="*/ 731078 h 762315"/>
                  <a:gd name="connsiteX344" fmla="*/ 332974 w 928475"/>
                  <a:gd name="connsiteY344" fmla="*/ 725761 h 762315"/>
                  <a:gd name="connsiteX345" fmla="*/ 332310 w 928475"/>
                  <a:gd name="connsiteY345" fmla="*/ 722438 h 762315"/>
                  <a:gd name="connsiteX346" fmla="*/ 331645 w 928475"/>
                  <a:gd name="connsiteY346" fmla="*/ 717786 h 762315"/>
                  <a:gd name="connsiteX347" fmla="*/ 332310 w 928475"/>
                  <a:gd name="connsiteY347" fmla="*/ 711804 h 762315"/>
                  <a:gd name="connsiteX348" fmla="*/ 332974 w 928475"/>
                  <a:gd name="connsiteY348" fmla="*/ 705158 h 762315"/>
                  <a:gd name="connsiteX349" fmla="*/ 332974 w 928475"/>
                  <a:gd name="connsiteY349" fmla="*/ 704493 h 762315"/>
                  <a:gd name="connsiteX350" fmla="*/ 332974 w 928475"/>
                  <a:gd name="connsiteY350" fmla="*/ 703164 h 762315"/>
                  <a:gd name="connsiteX351" fmla="*/ 332310 w 928475"/>
                  <a:gd name="connsiteY351" fmla="*/ 702499 h 762315"/>
                  <a:gd name="connsiteX352" fmla="*/ 331645 w 928475"/>
                  <a:gd name="connsiteY352" fmla="*/ 702499 h 762315"/>
                  <a:gd name="connsiteX353" fmla="*/ 320347 w 928475"/>
                  <a:gd name="connsiteY353" fmla="*/ 702499 h 762315"/>
                  <a:gd name="connsiteX354" fmla="*/ 313036 w 928475"/>
                  <a:gd name="connsiteY354" fmla="*/ 701835 h 762315"/>
                  <a:gd name="connsiteX355" fmla="*/ 306390 w 928475"/>
                  <a:gd name="connsiteY355" fmla="*/ 699841 h 762315"/>
                  <a:gd name="connsiteX356" fmla="*/ 300408 w 928475"/>
                  <a:gd name="connsiteY356" fmla="*/ 696518 h 762315"/>
                  <a:gd name="connsiteX357" fmla="*/ 295091 w 928475"/>
                  <a:gd name="connsiteY357" fmla="*/ 691866 h 762315"/>
                  <a:gd name="connsiteX358" fmla="*/ 290439 w 928475"/>
                  <a:gd name="connsiteY358" fmla="*/ 686549 h 762315"/>
                  <a:gd name="connsiteX359" fmla="*/ 287116 w 928475"/>
                  <a:gd name="connsiteY359" fmla="*/ 680567 h 762315"/>
                  <a:gd name="connsiteX360" fmla="*/ 285122 w 928475"/>
                  <a:gd name="connsiteY360" fmla="*/ 673921 h 762315"/>
                  <a:gd name="connsiteX361" fmla="*/ 283792 w 928475"/>
                  <a:gd name="connsiteY361" fmla="*/ 667275 h 762315"/>
                  <a:gd name="connsiteX362" fmla="*/ 283792 w 928475"/>
                  <a:gd name="connsiteY362" fmla="*/ 655976 h 762315"/>
                  <a:gd name="connsiteX363" fmla="*/ 283128 w 928475"/>
                  <a:gd name="connsiteY363" fmla="*/ 632050 h 762315"/>
                  <a:gd name="connsiteX364" fmla="*/ 283128 w 928475"/>
                  <a:gd name="connsiteY364" fmla="*/ 604136 h 762315"/>
                  <a:gd name="connsiteX365" fmla="*/ 283792 w 928475"/>
                  <a:gd name="connsiteY365" fmla="*/ 549638 h 762315"/>
                  <a:gd name="connsiteX366" fmla="*/ 283128 w 928475"/>
                  <a:gd name="connsiteY366" fmla="*/ 549638 h 762315"/>
                  <a:gd name="connsiteX367" fmla="*/ 277146 w 928475"/>
                  <a:gd name="connsiteY367" fmla="*/ 550302 h 762315"/>
                  <a:gd name="connsiteX368" fmla="*/ 271829 w 928475"/>
                  <a:gd name="connsiteY368" fmla="*/ 549638 h 762315"/>
                  <a:gd name="connsiteX369" fmla="*/ 270500 w 928475"/>
                  <a:gd name="connsiteY369" fmla="*/ 549638 h 762315"/>
                  <a:gd name="connsiteX370" fmla="*/ 264519 w 928475"/>
                  <a:gd name="connsiteY370" fmla="*/ 548973 h 762315"/>
                  <a:gd name="connsiteX371" fmla="*/ 258537 w 928475"/>
                  <a:gd name="connsiteY371" fmla="*/ 547644 h 762315"/>
                  <a:gd name="connsiteX372" fmla="*/ 253220 w 928475"/>
                  <a:gd name="connsiteY372" fmla="*/ 546315 h 762315"/>
                  <a:gd name="connsiteX373" fmla="*/ 247903 w 928475"/>
                  <a:gd name="connsiteY373" fmla="*/ 544321 h 762315"/>
                  <a:gd name="connsiteX374" fmla="*/ 242586 w 928475"/>
                  <a:gd name="connsiteY374" fmla="*/ 541662 h 762315"/>
                  <a:gd name="connsiteX375" fmla="*/ 237934 w 928475"/>
                  <a:gd name="connsiteY375" fmla="*/ 538339 h 762315"/>
                  <a:gd name="connsiteX376" fmla="*/ 233946 w 928475"/>
                  <a:gd name="connsiteY376" fmla="*/ 535016 h 762315"/>
                  <a:gd name="connsiteX377" fmla="*/ 229958 w 928475"/>
                  <a:gd name="connsiteY377" fmla="*/ 531029 h 762315"/>
                  <a:gd name="connsiteX378" fmla="*/ 227300 w 928475"/>
                  <a:gd name="connsiteY378" fmla="*/ 527705 h 762315"/>
                  <a:gd name="connsiteX379" fmla="*/ 225306 w 928475"/>
                  <a:gd name="connsiteY379" fmla="*/ 524382 h 762315"/>
                  <a:gd name="connsiteX380" fmla="*/ 221318 w 928475"/>
                  <a:gd name="connsiteY380" fmla="*/ 515742 h 762315"/>
                  <a:gd name="connsiteX381" fmla="*/ 218660 w 928475"/>
                  <a:gd name="connsiteY381" fmla="*/ 507102 h 762315"/>
                  <a:gd name="connsiteX382" fmla="*/ 217995 w 928475"/>
                  <a:gd name="connsiteY382" fmla="*/ 503115 h 762315"/>
                  <a:gd name="connsiteX383" fmla="*/ 217995 w 928475"/>
                  <a:gd name="connsiteY383" fmla="*/ 499127 h 762315"/>
                  <a:gd name="connsiteX384" fmla="*/ 217330 w 928475"/>
                  <a:gd name="connsiteY384" fmla="*/ 489822 h 762315"/>
                  <a:gd name="connsiteX385" fmla="*/ 217330 w 928475"/>
                  <a:gd name="connsiteY385" fmla="*/ 485835 h 762315"/>
                  <a:gd name="connsiteX386" fmla="*/ 216001 w 928475"/>
                  <a:gd name="connsiteY386" fmla="*/ 481847 h 762315"/>
                  <a:gd name="connsiteX387" fmla="*/ 214672 w 928475"/>
                  <a:gd name="connsiteY387" fmla="*/ 478524 h 762315"/>
                  <a:gd name="connsiteX388" fmla="*/ 212014 w 928475"/>
                  <a:gd name="connsiteY388" fmla="*/ 475865 h 762315"/>
                  <a:gd name="connsiteX389" fmla="*/ 209355 w 928475"/>
                  <a:gd name="connsiteY389" fmla="*/ 473207 h 762315"/>
                  <a:gd name="connsiteX390" fmla="*/ 206032 w 928475"/>
                  <a:gd name="connsiteY390" fmla="*/ 471878 h 762315"/>
                  <a:gd name="connsiteX391" fmla="*/ 202709 w 928475"/>
                  <a:gd name="connsiteY391" fmla="*/ 470549 h 762315"/>
                  <a:gd name="connsiteX392" fmla="*/ 198721 w 928475"/>
                  <a:gd name="connsiteY392" fmla="*/ 470549 h 762315"/>
                  <a:gd name="connsiteX393" fmla="*/ 186758 w 928475"/>
                  <a:gd name="connsiteY393" fmla="*/ 470549 h 762315"/>
                  <a:gd name="connsiteX394" fmla="*/ 160838 w 928475"/>
                  <a:gd name="connsiteY394" fmla="*/ 470549 h 762315"/>
                  <a:gd name="connsiteX395" fmla="*/ 123619 w 928475"/>
                  <a:gd name="connsiteY395" fmla="*/ 470549 h 762315"/>
                  <a:gd name="connsiteX396" fmla="*/ 107668 w 928475"/>
                  <a:gd name="connsiteY396" fmla="*/ 470549 h 762315"/>
                  <a:gd name="connsiteX397" fmla="*/ 104345 w 928475"/>
                  <a:gd name="connsiteY397" fmla="*/ 470549 h 762315"/>
                  <a:gd name="connsiteX398" fmla="*/ 101022 w 928475"/>
                  <a:gd name="connsiteY398" fmla="*/ 469884 h 762315"/>
                  <a:gd name="connsiteX399" fmla="*/ 97699 w 928475"/>
                  <a:gd name="connsiteY399" fmla="*/ 468555 h 762315"/>
                  <a:gd name="connsiteX400" fmla="*/ 94376 w 928475"/>
                  <a:gd name="connsiteY400" fmla="*/ 467225 h 762315"/>
                  <a:gd name="connsiteX401" fmla="*/ 88394 w 928475"/>
                  <a:gd name="connsiteY401" fmla="*/ 462573 h 762315"/>
                  <a:gd name="connsiteX402" fmla="*/ 83077 w 928475"/>
                  <a:gd name="connsiteY402" fmla="*/ 457921 h 762315"/>
                  <a:gd name="connsiteX403" fmla="*/ 78425 w 928475"/>
                  <a:gd name="connsiteY403" fmla="*/ 451939 h 762315"/>
                  <a:gd name="connsiteX404" fmla="*/ 75102 w 928475"/>
                  <a:gd name="connsiteY404" fmla="*/ 445958 h 762315"/>
                  <a:gd name="connsiteX405" fmla="*/ 73108 w 928475"/>
                  <a:gd name="connsiteY405" fmla="*/ 441305 h 762315"/>
                  <a:gd name="connsiteX406" fmla="*/ 72443 w 928475"/>
                  <a:gd name="connsiteY406" fmla="*/ 436653 h 762315"/>
                  <a:gd name="connsiteX407" fmla="*/ 71779 w 928475"/>
                  <a:gd name="connsiteY407" fmla="*/ 432665 h 762315"/>
                  <a:gd name="connsiteX408" fmla="*/ 69785 w 928475"/>
                  <a:gd name="connsiteY408" fmla="*/ 428678 h 762315"/>
                  <a:gd name="connsiteX409" fmla="*/ 67126 w 928475"/>
                  <a:gd name="connsiteY409" fmla="*/ 424025 h 762315"/>
                  <a:gd name="connsiteX410" fmla="*/ 63139 w 928475"/>
                  <a:gd name="connsiteY410" fmla="*/ 420038 h 762315"/>
                  <a:gd name="connsiteX411" fmla="*/ 58486 w 928475"/>
                  <a:gd name="connsiteY411" fmla="*/ 415385 h 762315"/>
                  <a:gd name="connsiteX412" fmla="*/ 53169 w 928475"/>
                  <a:gd name="connsiteY412" fmla="*/ 411398 h 762315"/>
                  <a:gd name="connsiteX413" fmla="*/ 47188 w 928475"/>
                  <a:gd name="connsiteY413" fmla="*/ 407410 h 762315"/>
                  <a:gd name="connsiteX414" fmla="*/ 40542 w 928475"/>
                  <a:gd name="connsiteY414" fmla="*/ 404087 h 762315"/>
                  <a:gd name="connsiteX415" fmla="*/ 36554 w 928475"/>
                  <a:gd name="connsiteY415" fmla="*/ 401429 h 762315"/>
                  <a:gd name="connsiteX416" fmla="*/ 31902 w 928475"/>
                  <a:gd name="connsiteY416" fmla="*/ 398105 h 762315"/>
                  <a:gd name="connsiteX417" fmla="*/ 26585 w 928475"/>
                  <a:gd name="connsiteY417" fmla="*/ 393453 h 762315"/>
                  <a:gd name="connsiteX418" fmla="*/ 20603 w 928475"/>
                  <a:gd name="connsiteY418" fmla="*/ 387472 h 762315"/>
                  <a:gd name="connsiteX419" fmla="*/ 14621 w 928475"/>
                  <a:gd name="connsiteY419" fmla="*/ 380161 h 762315"/>
                  <a:gd name="connsiteX420" fmla="*/ 9305 w 928475"/>
                  <a:gd name="connsiteY420" fmla="*/ 370856 h 762315"/>
                  <a:gd name="connsiteX421" fmla="*/ 7311 w 928475"/>
                  <a:gd name="connsiteY421" fmla="*/ 365539 h 762315"/>
                  <a:gd name="connsiteX422" fmla="*/ 5317 w 928475"/>
                  <a:gd name="connsiteY422" fmla="*/ 360222 h 762315"/>
                  <a:gd name="connsiteX423" fmla="*/ 2658 w 928475"/>
                  <a:gd name="connsiteY423" fmla="*/ 351582 h 762315"/>
                  <a:gd name="connsiteX424" fmla="*/ 1329 w 928475"/>
                  <a:gd name="connsiteY424" fmla="*/ 342278 h 762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Lst>
                <a:rect l="l" t="t" r="r" b="b"/>
                <a:pathLst>
                  <a:path w="928475" h="762315">
                    <a:moveTo>
                      <a:pt x="840077" y="467226"/>
                    </a:moveTo>
                    <a:lnTo>
                      <a:pt x="847388" y="465897"/>
                    </a:lnTo>
                    <a:lnTo>
                      <a:pt x="853369" y="463903"/>
                    </a:lnTo>
                    <a:lnTo>
                      <a:pt x="858686" y="460580"/>
                    </a:lnTo>
                    <a:lnTo>
                      <a:pt x="863339" y="456592"/>
                    </a:lnTo>
                    <a:lnTo>
                      <a:pt x="867326" y="451940"/>
                    </a:lnTo>
                    <a:lnTo>
                      <a:pt x="870649" y="446623"/>
                    </a:lnTo>
                    <a:lnTo>
                      <a:pt x="872643" y="439977"/>
                    </a:lnTo>
                    <a:lnTo>
                      <a:pt x="874637" y="433330"/>
                    </a:lnTo>
                    <a:lnTo>
                      <a:pt x="875966" y="425355"/>
                    </a:lnTo>
                    <a:lnTo>
                      <a:pt x="877296" y="417380"/>
                    </a:lnTo>
                    <a:lnTo>
                      <a:pt x="877960" y="399435"/>
                    </a:lnTo>
                    <a:lnTo>
                      <a:pt x="877960" y="380161"/>
                    </a:lnTo>
                    <a:lnTo>
                      <a:pt x="877960" y="360223"/>
                    </a:lnTo>
                    <a:lnTo>
                      <a:pt x="877960" y="275817"/>
                    </a:lnTo>
                    <a:lnTo>
                      <a:pt x="878625" y="247903"/>
                    </a:lnTo>
                    <a:lnTo>
                      <a:pt x="879954" y="217995"/>
                    </a:lnTo>
                    <a:lnTo>
                      <a:pt x="880619" y="187423"/>
                    </a:lnTo>
                    <a:lnTo>
                      <a:pt x="880619" y="172137"/>
                    </a:lnTo>
                    <a:lnTo>
                      <a:pt x="879954" y="157515"/>
                    </a:lnTo>
                    <a:lnTo>
                      <a:pt x="878625" y="143558"/>
                    </a:lnTo>
                    <a:lnTo>
                      <a:pt x="876631" y="130931"/>
                    </a:lnTo>
                    <a:lnTo>
                      <a:pt x="873308" y="118968"/>
                    </a:lnTo>
                    <a:lnTo>
                      <a:pt x="871314" y="113651"/>
                    </a:lnTo>
                    <a:lnTo>
                      <a:pt x="869320" y="108334"/>
                    </a:lnTo>
                    <a:lnTo>
                      <a:pt x="866662" y="103682"/>
                    </a:lnTo>
                    <a:lnTo>
                      <a:pt x="864003" y="99693"/>
                    </a:lnTo>
                    <a:lnTo>
                      <a:pt x="860680" y="95705"/>
                    </a:lnTo>
                    <a:lnTo>
                      <a:pt x="857357" y="92382"/>
                    </a:lnTo>
                    <a:lnTo>
                      <a:pt x="853369" y="89724"/>
                    </a:lnTo>
                    <a:lnTo>
                      <a:pt x="849381" y="87065"/>
                    </a:lnTo>
                    <a:lnTo>
                      <a:pt x="844729" y="85071"/>
                    </a:lnTo>
                    <a:lnTo>
                      <a:pt x="840077" y="84407"/>
                    </a:lnTo>
                    <a:close/>
                    <a:moveTo>
                      <a:pt x="779597" y="501786"/>
                    </a:moveTo>
                    <a:lnTo>
                      <a:pt x="784250" y="501786"/>
                    </a:lnTo>
                    <a:lnTo>
                      <a:pt x="788902" y="501786"/>
                    </a:lnTo>
                    <a:lnTo>
                      <a:pt x="798871" y="502450"/>
                    </a:lnTo>
                    <a:lnTo>
                      <a:pt x="803523" y="502450"/>
                    </a:lnTo>
                    <a:lnTo>
                      <a:pt x="807511" y="501786"/>
                    </a:lnTo>
                    <a:lnTo>
                      <a:pt x="812163" y="501121"/>
                    </a:lnTo>
                    <a:lnTo>
                      <a:pt x="815486" y="499127"/>
                    </a:lnTo>
                    <a:lnTo>
                      <a:pt x="816151" y="489158"/>
                    </a:lnTo>
                    <a:lnTo>
                      <a:pt x="816816" y="476530"/>
                    </a:lnTo>
                    <a:lnTo>
                      <a:pt x="817480" y="447952"/>
                    </a:lnTo>
                    <a:lnTo>
                      <a:pt x="817480" y="388801"/>
                    </a:lnTo>
                    <a:lnTo>
                      <a:pt x="817480" y="217331"/>
                    </a:lnTo>
                    <a:lnTo>
                      <a:pt x="816816" y="133589"/>
                    </a:lnTo>
                    <a:lnTo>
                      <a:pt x="816151" y="53834"/>
                    </a:lnTo>
                    <a:lnTo>
                      <a:pt x="812828" y="51840"/>
                    </a:lnTo>
                    <a:lnTo>
                      <a:pt x="808176" y="50511"/>
                    </a:lnTo>
                    <a:lnTo>
                      <a:pt x="804188" y="50511"/>
                    </a:lnTo>
                    <a:lnTo>
                      <a:pt x="798871" y="50511"/>
                    </a:lnTo>
                    <a:lnTo>
                      <a:pt x="788902" y="50511"/>
                    </a:lnTo>
                    <a:lnTo>
                      <a:pt x="784250" y="51176"/>
                    </a:lnTo>
                    <a:lnTo>
                      <a:pt x="779597" y="50511"/>
                    </a:lnTo>
                    <a:close/>
                    <a:moveTo>
                      <a:pt x="380161" y="713798"/>
                    </a:moveTo>
                    <a:lnTo>
                      <a:pt x="454599" y="713798"/>
                    </a:lnTo>
                    <a:lnTo>
                      <a:pt x="533024" y="713798"/>
                    </a:lnTo>
                    <a:lnTo>
                      <a:pt x="610784" y="713798"/>
                    </a:lnTo>
                    <a:lnTo>
                      <a:pt x="648667" y="713798"/>
                    </a:lnTo>
                    <a:lnTo>
                      <a:pt x="685222" y="712469"/>
                    </a:lnTo>
                    <a:lnTo>
                      <a:pt x="687215" y="709811"/>
                    </a:lnTo>
                    <a:lnTo>
                      <a:pt x="688545" y="706487"/>
                    </a:lnTo>
                    <a:lnTo>
                      <a:pt x="689209" y="701835"/>
                    </a:lnTo>
                    <a:lnTo>
                      <a:pt x="689209" y="697183"/>
                    </a:lnTo>
                    <a:lnTo>
                      <a:pt x="689209" y="686549"/>
                    </a:lnTo>
                    <a:lnTo>
                      <a:pt x="689209" y="675915"/>
                    </a:lnTo>
                    <a:lnTo>
                      <a:pt x="380826" y="675915"/>
                    </a:lnTo>
                    <a:lnTo>
                      <a:pt x="380826" y="686549"/>
                    </a:lnTo>
                    <a:lnTo>
                      <a:pt x="380826" y="695854"/>
                    </a:lnTo>
                    <a:lnTo>
                      <a:pt x="380826" y="704494"/>
                    </a:lnTo>
                    <a:close/>
                    <a:moveTo>
                      <a:pt x="359518" y="138139"/>
                    </a:moveTo>
                    <a:cubicBezTo>
                      <a:pt x="359518" y="117315"/>
                      <a:pt x="385312" y="100436"/>
                      <a:pt x="417123" y="100436"/>
                    </a:cubicBezTo>
                    <a:lnTo>
                      <a:pt x="659974" y="100436"/>
                    </a:lnTo>
                    <a:cubicBezTo>
                      <a:pt x="691785" y="100436"/>
                      <a:pt x="717578" y="117315"/>
                      <a:pt x="717578" y="138139"/>
                    </a:cubicBezTo>
                    <a:cubicBezTo>
                      <a:pt x="717578" y="158962"/>
                      <a:pt x="691785" y="175841"/>
                      <a:pt x="659974" y="175841"/>
                    </a:cubicBezTo>
                    <a:lnTo>
                      <a:pt x="417123" y="175841"/>
                    </a:lnTo>
                    <a:cubicBezTo>
                      <a:pt x="385312" y="175841"/>
                      <a:pt x="359518" y="158962"/>
                      <a:pt x="359518" y="138139"/>
                    </a:cubicBezTo>
                    <a:close/>
                    <a:moveTo>
                      <a:pt x="359517" y="275097"/>
                    </a:moveTo>
                    <a:cubicBezTo>
                      <a:pt x="359517" y="254273"/>
                      <a:pt x="385311" y="237394"/>
                      <a:pt x="417122" y="237394"/>
                    </a:cubicBezTo>
                    <a:lnTo>
                      <a:pt x="659973" y="237394"/>
                    </a:lnTo>
                    <a:cubicBezTo>
                      <a:pt x="691784" y="237394"/>
                      <a:pt x="717577" y="254273"/>
                      <a:pt x="717577" y="275097"/>
                    </a:cubicBezTo>
                    <a:cubicBezTo>
                      <a:pt x="717577" y="295920"/>
                      <a:pt x="691784" y="312799"/>
                      <a:pt x="659973" y="312799"/>
                    </a:cubicBezTo>
                    <a:lnTo>
                      <a:pt x="417122" y="312799"/>
                    </a:lnTo>
                    <a:cubicBezTo>
                      <a:pt x="385311" y="312799"/>
                      <a:pt x="359517" y="295920"/>
                      <a:pt x="359517" y="275097"/>
                    </a:cubicBezTo>
                    <a:close/>
                    <a:moveTo>
                      <a:pt x="359516" y="412055"/>
                    </a:moveTo>
                    <a:cubicBezTo>
                      <a:pt x="359516" y="391231"/>
                      <a:pt x="385310" y="374352"/>
                      <a:pt x="417121" y="374352"/>
                    </a:cubicBezTo>
                    <a:lnTo>
                      <a:pt x="659972" y="374352"/>
                    </a:lnTo>
                    <a:cubicBezTo>
                      <a:pt x="691783" y="374352"/>
                      <a:pt x="717576" y="391231"/>
                      <a:pt x="717576" y="412055"/>
                    </a:cubicBezTo>
                    <a:cubicBezTo>
                      <a:pt x="717576" y="432878"/>
                      <a:pt x="691783" y="449757"/>
                      <a:pt x="659972" y="449757"/>
                    </a:cubicBezTo>
                    <a:lnTo>
                      <a:pt x="417121" y="449757"/>
                    </a:lnTo>
                    <a:cubicBezTo>
                      <a:pt x="385310" y="449757"/>
                      <a:pt x="359516" y="432878"/>
                      <a:pt x="359516" y="412055"/>
                    </a:cubicBezTo>
                    <a:close/>
                    <a:moveTo>
                      <a:pt x="330979" y="618093"/>
                    </a:moveTo>
                    <a:lnTo>
                      <a:pt x="331643" y="654647"/>
                    </a:lnTo>
                    <a:lnTo>
                      <a:pt x="431337" y="654647"/>
                    </a:lnTo>
                    <a:lnTo>
                      <a:pt x="535682" y="655977"/>
                    </a:lnTo>
                    <a:lnTo>
                      <a:pt x="640027" y="656641"/>
                    </a:lnTo>
                    <a:lnTo>
                      <a:pt x="739720" y="657306"/>
                    </a:lnTo>
                    <a:lnTo>
                      <a:pt x="739720" y="640026"/>
                    </a:lnTo>
                    <a:lnTo>
                      <a:pt x="739720" y="619423"/>
                    </a:lnTo>
                    <a:lnTo>
                      <a:pt x="739055" y="576223"/>
                    </a:lnTo>
                    <a:lnTo>
                      <a:pt x="737726" y="525712"/>
                    </a:lnTo>
                    <a:lnTo>
                      <a:pt x="332308" y="525712"/>
                    </a:lnTo>
                    <a:lnTo>
                      <a:pt x="331643" y="575558"/>
                    </a:lnTo>
                    <a:close/>
                    <a:moveTo>
                      <a:pt x="312010" y="508368"/>
                    </a:moveTo>
                    <a:lnTo>
                      <a:pt x="748776" y="508368"/>
                    </a:lnTo>
                    <a:lnTo>
                      <a:pt x="748776" y="50511"/>
                    </a:lnTo>
                    <a:lnTo>
                      <a:pt x="312010" y="50511"/>
                    </a:lnTo>
                    <a:close/>
                    <a:moveTo>
                      <a:pt x="263852" y="275817"/>
                    </a:moveTo>
                    <a:lnTo>
                      <a:pt x="264516" y="388802"/>
                    </a:lnTo>
                    <a:lnTo>
                      <a:pt x="265846" y="499128"/>
                    </a:lnTo>
                    <a:lnTo>
                      <a:pt x="267839" y="500457"/>
                    </a:lnTo>
                    <a:lnTo>
                      <a:pt x="270498" y="501786"/>
                    </a:lnTo>
                    <a:lnTo>
                      <a:pt x="273156" y="501786"/>
                    </a:lnTo>
                    <a:lnTo>
                      <a:pt x="276480" y="502451"/>
                    </a:lnTo>
                    <a:lnTo>
                      <a:pt x="283790" y="501786"/>
                    </a:lnTo>
                    <a:lnTo>
                      <a:pt x="290437" y="501786"/>
                    </a:lnTo>
                    <a:lnTo>
                      <a:pt x="291101" y="501786"/>
                    </a:lnTo>
                    <a:lnTo>
                      <a:pt x="291766" y="500457"/>
                    </a:lnTo>
                    <a:lnTo>
                      <a:pt x="291766" y="497134"/>
                    </a:lnTo>
                    <a:lnTo>
                      <a:pt x="291766" y="50512"/>
                    </a:lnTo>
                    <a:lnTo>
                      <a:pt x="285120" y="50512"/>
                    </a:lnTo>
                    <a:lnTo>
                      <a:pt x="277809" y="50512"/>
                    </a:lnTo>
                    <a:lnTo>
                      <a:pt x="274486" y="50512"/>
                    </a:lnTo>
                    <a:lnTo>
                      <a:pt x="271163" y="51176"/>
                    </a:lnTo>
                    <a:lnTo>
                      <a:pt x="268504" y="51841"/>
                    </a:lnTo>
                    <a:lnTo>
                      <a:pt x="266510" y="53835"/>
                    </a:lnTo>
                    <a:lnTo>
                      <a:pt x="265181" y="107670"/>
                    </a:lnTo>
                    <a:lnTo>
                      <a:pt x="264516" y="163497"/>
                    </a:lnTo>
                    <a:lnTo>
                      <a:pt x="263852" y="219325"/>
                    </a:lnTo>
                    <a:close/>
                    <a:moveTo>
                      <a:pt x="120295" y="422697"/>
                    </a:moveTo>
                    <a:lnTo>
                      <a:pt x="147544" y="422032"/>
                    </a:lnTo>
                    <a:lnTo>
                      <a:pt x="176788" y="422697"/>
                    </a:lnTo>
                    <a:lnTo>
                      <a:pt x="204037" y="422697"/>
                    </a:lnTo>
                    <a:lnTo>
                      <a:pt x="216000" y="422032"/>
                    </a:lnTo>
                    <a:lnTo>
                      <a:pt x="225970" y="420703"/>
                    </a:lnTo>
                    <a:lnTo>
                      <a:pt x="227963" y="417380"/>
                    </a:lnTo>
                    <a:lnTo>
                      <a:pt x="229293" y="414057"/>
                    </a:lnTo>
                    <a:lnTo>
                      <a:pt x="231287" y="406081"/>
                    </a:lnTo>
                    <a:lnTo>
                      <a:pt x="231951" y="396777"/>
                    </a:lnTo>
                    <a:lnTo>
                      <a:pt x="232616" y="387472"/>
                    </a:lnTo>
                    <a:lnTo>
                      <a:pt x="231951" y="367534"/>
                    </a:lnTo>
                    <a:lnTo>
                      <a:pt x="231951" y="348924"/>
                    </a:lnTo>
                    <a:lnTo>
                      <a:pt x="231951" y="237934"/>
                    </a:lnTo>
                    <a:lnTo>
                      <a:pt x="231287" y="184100"/>
                    </a:lnTo>
                    <a:lnTo>
                      <a:pt x="230622" y="158180"/>
                    </a:lnTo>
                    <a:lnTo>
                      <a:pt x="228628" y="132260"/>
                    </a:lnTo>
                    <a:lnTo>
                      <a:pt x="217994" y="130930"/>
                    </a:lnTo>
                    <a:lnTo>
                      <a:pt x="206031" y="130266"/>
                    </a:lnTo>
                    <a:lnTo>
                      <a:pt x="178117" y="130266"/>
                    </a:lnTo>
                    <a:lnTo>
                      <a:pt x="148209" y="130266"/>
                    </a:lnTo>
                    <a:lnTo>
                      <a:pt x="120295" y="130266"/>
                    </a:lnTo>
                    <a:close/>
                    <a:moveTo>
                      <a:pt x="47851" y="328322"/>
                    </a:moveTo>
                    <a:lnTo>
                      <a:pt x="48515" y="335632"/>
                    </a:lnTo>
                    <a:lnTo>
                      <a:pt x="49845" y="342278"/>
                    </a:lnTo>
                    <a:lnTo>
                      <a:pt x="51839" y="348925"/>
                    </a:lnTo>
                    <a:lnTo>
                      <a:pt x="55162" y="355571"/>
                    </a:lnTo>
                    <a:lnTo>
                      <a:pt x="59149" y="360888"/>
                    </a:lnTo>
                    <a:lnTo>
                      <a:pt x="64466" y="365540"/>
                    </a:lnTo>
                    <a:lnTo>
                      <a:pt x="71113" y="368863"/>
                    </a:lnTo>
                    <a:lnTo>
                      <a:pt x="79088" y="371522"/>
                    </a:lnTo>
                    <a:lnTo>
                      <a:pt x="88393" y="372851"/>
                    </a:lnTo>
                    <a:lnTo>
                      <a:pt x="88393" y="178119"/>
                    </a:lnTo>
                    <a:lnTo>
                      <a:pt x="81082" y="178783"/>
                    </a:lnTo>
                    <a:lnTo>
                      <a:pt x="74436" y="179448"/>
                    </a:lnTo>
                    <a:lnTo>
                      <a:pt x="69119" y="181442"/>
                    </a:lnTo>
                    <a:lnTo>
                      <a:pt x="64466" y="183436"/>
                    </a:lnTo>
                    <a:lnTo>
                      <a:pt x="61143" y="185430"/>
                    </a:lnTo>
                    <a:lnTo>
                      <a:pt x="57820" y="188753"/>
                    </a:lnTo>
                    <a:lnTo>
                      <a:pt x="55162" y="191411"/>
                    </a:lnTo>
                    <a:lnTo>
                      <a:pt x="53832" y="195399"/>
                    </a:lnTo>
                    <a:lnTo>
                      <a:pt x="51839" y="199386"/>
                    </a:lnTo>
                    <a:lnTo>
                      <a:pt x="51174" y="203374"/>
                    </a:lnTo>
                    <a:lnTo>
                      <a:pt x="50509" y="212679"/>
                    </a:lnTo>
                    <a:lnTo>
                      <a:pt x="49845" y="221983"/>
                    </a:lnTo>
                    <a:lnTo>
                      <a:pt x="49845" y="232617"/>
                    </a:lnTo>
                    <a:lnTo>
                      <a:pt x="49845" y="275817"/>
                    </a:lnTo>
                    <a:lnTo>
                      <a:pt x="49845" y="289774"/>
                    </a:lnTo>
                    <a:lnTo>
                      <a:pt x="48515" y="305060"/>
                    </a:lnTo>
                    <a:lnTo>
                      <a:pt x="47851" y="320346"/>
                    </a:lnTo>
                    <a:close/>
                    <a:moveTo>
                      <a:pt x="0" y="333638"/>
                    </a:moveTo>
                    <a:lnTo>
                      <a:pt x="0" y="324998"/>
                    </a:lnTo>
                    <a:lnTo>
                      <a:pt x="0" y="308382"/>
                    </a:lnTo>
                    <a:lnTo>
                      <a:pt x="1329" y="292432"/>
                    </a:lnTo>
                    <a:lnTo>
                      <a:pt x="1994" y="283127"/>
                    </a:lnTo>
                    <a:lnTo>
                      <a:pt x="1994" y="275816"/>
                    </a:lnTo>
                    <a:lnTo>
                      <a:pt x="1994" y="232616"/>
                    </a:lnTo>
                    <a:lnTo>
                      <a:pt x="1994" y="226635"/>
                    </a:lnTo>
                    <a:lnTo>
                      <a:pt x="1994" y="213342"/>
                    </a:lnTo>
                    <a:lnTo>
                      <a:pt x="2658" y="206696"/>
                    </a:lnTo>
                    <a:lnTo>
                      <a:pt x="3323" y="199385"/>
                    </a:lnTo>
                    <a:lnTo>
                      <a:pt x="4652" y="192075"/>
                    </a:lnTo>
                    <a:lnTo>
                      <a:pt x="6646" y="184764"/>
                    </a:lnTo>
                    <a:lnTo>
                      <a:pt x="9305" y="177453"/>
                    </a:lnTo>
                    <a:lnTo>
                      <a:pt x="12628" y="170142"/>
                    </a:lnTo>
                    <a:lnTo>
                      <a:pt x="15951" y="164161"/>
                    </a:lnTo>
                    <a:lnTo>
                      <a:pt x="20603" y="158179"/>
                    </a:lnTo>
                    <a:lnTo>
                      <a:pt x="25920" y="152198"/>
                    </a:lnTo>
                    <a:lnTo>
                      <a:pt x="32566" y="146881"/>
                    </a:lnTo>
                    <a:lnTo>
                      <a:pt x="40542" y="141564"/>
                    </a:lnTo>
                    <a:lnTo>
                      <a:pt x="49846" y="137576"/>
                    </a:lnTo>
                    <a:lnTo>
                      <a:pt x="60480" y="133589"/>
                    </a:lnTo>
                    <a:lnTo>
                      <a:pt x="72443" y="131595"/>
                    </a:lnTo>
                    <a:lnTo>
                      <a:pt x="73108" y="128936"/>
                    </a:lnTo>
                    <a:lnTo>
                      <a:pt x="73108" y="123619"/>
                    </a:lnTo>
                    <a:lnTo>
                      <a:pt x="73108" y="116308"/>
                    </a:lnTo>
                    <a:lnTo>
                      <a:pt x="73773" y="108998"/>
                    </a:lnTo>
                    <a:lnTo>
                      <a:pt x="75767" y="102352"/>
                    </a:lnTo>
                    <a:lnTo>
                      <a:pt x="79090" y="96369"/>
                    </a:lnTo>
                    <a:lnTo>
                      <a:pt x="83077" y="91717"/>
                    </a:lnTo>
                    <a:lnTo>
                      <a:pt x="88394" y="87064"/>
                    </a:lnTo>
                    <a:lnTo>
                      <a:pt x="94376" y="83741"/>
                    </a:lnTo>
                    <a:lnTo>
                      <a:pt x="101022" y="81747"/>
                    </a:lnTo>
                    <a:lnTo>
                      <a:pt x="107668" y="81747"/>
                    </a:lnTo>
                    <a:lnTo>
                      <a:pt x="132924" y="81747"/>
                    </a:lnTo>
                    <a:lnTo>
                      <a:pt x="186758" y="82412"/>
                    </a:lnTo>
                    <a:lnTo>
                      <a:pt x="199386" y="82412"/>
                    </a:lnTo>
                    <a:lnTo>
                      <a:pt x="203373" y="81747"/>
                    </a:lnTo>
                    <a:lnTo>
                      <a:pt x="207361" y="79754"/>
                    </a:lnTo>
                    <a:lnTo>
                      <a:pt x="211349" y="76431"/>
                    </a:lnTo>
                    <a:lnTo>
                      <a:pt x="215337" y="72443"/>
                    </a:lnTo>
                    <a:lnTo>
                      <a:pt x="218660" y="67791"/>
                    </a:lnTo>
                    <a:lnTo>
                      <a:pt x="221983" y="61809"/>
                    </a:lnTo>
                    <a:lnTo>
                      <a:pt x="224641" y="55827"/>
                    </a:lnTo>
                    <a:lnTo>
                      <a:pt x="226635" y="48517"/>
                    </a:lnTo>
                    <a:lnTo>
                      <a:pt x="228629" y="42535"/>
                    </a:lnTo>
                    <a:lnTo>
                      <a:pt x="231952" y="35889"/>
                    </a:lnTo>
                    <a:lnTo>
                      <a:pt x="236604" y="27914"/>
                    </a:lnTo>
                    <a:lnTo>
                      <a:pt x="239928" y="24591"/>
                    </a:lnTo>
                    <a:lnTo>
                      <a:pt x="243251" y="20603"/>
                    </a:lnTo>
                    <a:lnTo>
                      <a:pt x="247238" y="17280"/>
                    </a:lnTo>
                    <a:lnTo>
                      <a:pt x="251891" y="13957"/>
                    </a:lnTo>
                    <a:lnTo>
                      <a:pt x="256543" y="11298"/>
                    </a:lnTo>
                    <a:lnTo>
                      <a:pt x="262525" y="8640"/>
                    </a:lnTo>
                    <a:lnTo>
                      <a:pt x="269171" y="7311"/>
                    </a:lnTo>
                    <a:lnTo>
                      <a:pt x="275817" y="6646"/>
                    </a:lnTo>
                    <a:lnTo>
                      <a:pt x="315694" y="4652"/>
                    </a:lnTo>
                    <a:lnTo>
                      <a:pt x="352913" y="3987"/>
                    </a:lnTo>
                    <a:lnTo>
                      <a:pt x="428681" y="3987"/>
                    </a:lnTo>
                    <a:lnTo>
                      <a:pt x="557617" y="3323"/>
                    </a:lnTo>
                    <a:lnTo>
                      <a:pt x="622085" y="2658"/>
                    </a:lnTo>
                    <a:lnTo>
                      <a:pt x="685888" y="1329"/>
                    </a:lnTo>
                    <a:lnTo>
                      <a:pt x="710479" y="664"/>
                    </a:lnTo>
                    <a:lnTo>
                      <a:pt x="737064" y="0"/>
                    </a:lnTo>
                    <a:lnTo>
                      <a:pt x="763649" y="664"/>
                    </a:lnTo>
                    <a:lnTo>
                      <a:pt x="776277" y="1329"/>
                    </a:lnTo>
                    <a:lnTo>
                      <a:pt x="788240" y="2658"/>
                    </a:lnTo>
                    <a:lnTo>
                      <a:pt x="796215" y="4652"/>
                    </a:lnTo>
                    <a:lnTo>
                      <a:pt x="804191" y="6646"/>
                    </a:lnTo>
                    <a:lnTo>
                      <a:pt x="812166" y="9969"/>
                    </a:lnTo>
                    <a:lnTo>
                      <a:pt x="819477" y="13292"/>
                    </a:lnTo>
                    <a:lnTo>
                      <a:pt x="827453" y="17280"/>
                    </a:lnTo>
                    <a:lnTo>
                      <a:pt x="834763" y="21267"/>
                    </a:lnTo>
                    <a:lnTo>
                      <a:pt x="848720" y="31237"/>
                    </a:lnTo>
                    <a:lnTo>
                      <a:pt x="856696" y="35889"/>
                    </a:lnTo>
                    <a:lnTo>
                      <a:pt x="866000" y="40541"/>
                    </a:lnTo>
                    <a:lnTo>
                      <a:pt x="875970" y="46523"/>
                    </a:lnTo>
                    <a:lnTo>
                      <a:pt x="881287" y="50511"/>
                    </a:lnTo>
                    <a:lnTo>
                      <a:pt x="886604" y="54498"/>
                    </a:lnTo>
                    <a:lnTo>
                      <a:pt x="891256" y="59815"/>
                    </a:lnTo>
                    <a:lnTo>
                      <a:pt x="895908" y="65132"/>
                    </a:lnTo>
                    <a:lnTo>
                      <a:pt x="901225" y="71114"/>
                    </a:lnTo>
                    <a:lnTo>
                      <a:pt x="905213" y="77760"/>
                    </a:lnTo>
                    <a:lnTo>
                      <a:pt x="909865" y="84406"/>
                    </a:lnTo>
                    <a:lnTo>
                      <a:pt x="913853" y="92381"/>
                    </a:lnTo>
                    <a:lnTo>
                      <a:pt x="917176" y="101022"/>
                    </a:lnTo>
                    <a:lnTo>
                      <a:pt x="920499" y="109662"/>
                    </a:lnTo>
                    <a:lnTo>
                      <a:pt x="923158" y="119632"/>
                    </a:lnTo>
                    <a:lnTo>
                      <a:pt x="925152" y="130265"/>
                    </a:lnTo>
                    <a:lnTo>
                      <a:pt x="926481" y="142893"/>
                    </a:lnTo>
                    <a:lnTo>
                      <a:pt x="927810" y="156185"/>
                    </a:lnTo>
                    <a:lnTo>
                      <a:pt x="928475" y="169478"/>
                    </a:lnTo>
                    <a:lnTo>
                      <a:pt x="928475" y="182770"/>
                    </a:lnTo>
                    <a:lnTo>
                      <a:pt x="927810" y="210019"/>
                    </a:lnTo>
                    <a:lnTo>
                      <a:pt x="927146" y="235939"/>
                    </a:lnTo>
                    <a:lnTo>
                      <a:pt x="926481" y="257207"/>
                    </a:lnTo>
                    <a:lnTo>
                      <a:pt x="925816" y="275816"/>
                    </a:lnTo>
                    <a:lnTo>
                      <a:pt x="925816" y="360222"/>
                    </a:lnTo>
                    <a:lnTo>
                      <a:pt x="925816" y="372185"/>
                    </a:lnTo>
                    <a:lnTo>
                      <a:pt x="925816" y="393453"/>
                    </a:lnTo>
                    <a:lnTo>
                      <a:pt x="925152" y="413392"/>
                    </a:lnTo>
                    <a:lnTo>
                      <a:pt x="924487" y="422696"/>
                    </a:lnTo>
                    <a:lnTo>
                      <a:pt x="923822" y="432001"/>
                    </a:lnTo>
                    <a:lnTo>
                      <a:pt x="921829" y="441305"/>
                    </a:lnTo>
                    <a:lnTo>
                      <a:pt x="919835" y="450610"/>
                    </a:lnTo>
                    <a:lnTo>
                      <a:pt x="915847" y="461909"/>
                    </a:lnTo>
                    <a:lnTo>
                      <a:pt x="911195" y="472542"/>
                    </a:lnTo>
                    <a:lnTo>
                      <a:pt x="905213" y="481847"/>
                    </a:lnTo>
                    <a:lnTo>
                      <a:pt x="897902" y="489822"/>
                    </a:lnTo>
                    <a:lnTo>
                      <a:pt x="890591" y="497133"/>
                    </a:lnTo>
                    <a:lnTo>
                      <a:pt x="881287" y="503115"/>
                    </a:lnTo>
                    <a:lnTo>
                      <a:pt x="871982" y="507767"/>
                    </a:lnTo>
                    <a:lnTo>
                      <a:pt x="862013" y="511755"/>
                    </a:lnTo>
                    <a:lnTo>
                      <a:pt x="861348" y="514413"/>
                    </a:lnTo>
                    <a:lnTo>
                      <a:pt x="860019" y="517072"/>
                    </a:lnTo>
                    <a:lnTo>
                      <a:pt x="856696" y="523718"/>
                    </a:lnTo>
                    <a:lnTo>
                      <a:pt x="851379" y="529699"/>
                    </a:lnTo>
                    <a:lnTo>
                      <a:pt x="846062" y="535681"/>
                    </a:lnTo>
                    <a:lnTo>
                      <a:pt x="841410" y="539004"/>
                    </a:lnTo>
                    <a:lnTo>
                      <a:pt x="836757" y="542327"/>
                    </a:lnTo>
                    <a:lnTo>
                      <a:pt x="831440" y="544321"/>
                    </a:lnTo>
                    <a:lnTo>
                      <a:pt x="826123" y="546315"/>
                    </a:lnTo>
                    <a:lnTo>
                      <a:pt x="820806" y="548309"/>
                    </a:lnTo>
                    <a:lnTo>
                      <a:pt x="814825" y="549638"/>
                    </a:lnTo>
                    <a:lnTo>
                      <a:pt x="808179" y="550302"/>
                    </a:lnTo>
                    <a:lnTo>
                      <a:pt x="802197" y="550302"/>
                    </a:lnTo>
                    <a:lnTo>
                      <a:pt x="791563" y="549638"/>
                    </a:lnTo>
                    <a:lnTo>
                      <a:pt x="786911" y="549638"/>
                    </a:lnTo>
                    <a:lnTo>
                      <a:pt x="787575" y="605465"/>
                    </a:lnTo>
                    <a:lnTo>
                      <a:pt x="787575" y="634044"/>
                    </a:lnTo>
                    <a:lnTo>
                      <a:pt x="787575" y="658635"/>
                    </a:lnTo>
                    <a:lnTo>
                      <a:pt x="786911" y="669269"/>
                    </a:lnTo>
                    <a:lnTo>
                      <a:pt x="785581" y="676579"/>
                    </a:lnTo>
                    <a:lnTo>
                      <a:pt x="783588" y="683226"/>
                    </a:lnTo>
                    <a:lnTo>
                      <a:pt x="780265" y="689207"/>
                    </a:lnTo>
                    <a:lnTo>
                      <a:pt x="775612" y="694524"/>
                    </a:lnTo>
                    <a:lnTo>
                      <a:pt x="770295" y="698512"/>
                    </a:lnTo>
                    <a:lnTo>
                      <a:pt x="763649" y="701835"/>
                    </a:lnTo>
                    <a:lnTo>
                      <a:pt x="757003" y="703829"/>
                    </a:lnTo>
                    <a:lnTo>
                      <a:pt x="750357" y="705158"/>
                    </a:lnTo>
                    <a:lnTo>
                      <a:pt x="739723" y="705158"/>
                    </a:lnTo>
                    <a:lnTo>
                      <a:pt x="738393" y="705158"/>
                    </a:lnTo>
                    <a:lnTo>
                      <a:pt x="737064" y="707152"/>
                    </a:lnTo>
                    <a:lnTo>
                      <a:pt x="735735" y="714462"/>
                    </a:lnTo>
                    <a:lnTo>
                      <a:pt x="731083" y="737724"/>
                    </a:lnTo>
                    <a:lnTo>
                      <a:pt x="713803" y="750352"/>
                    </a:lnTo>
                    <a:lnTo>
                      <a:pt x="707821" y="754339"/>
                    </a:lnTo>
                    <a:lnTo>
                      <a:pt x="701175" y="756998"/>
                    </a:lnTo>
                    <a:lnTo>
                      <a:pt x="693199" y="759656"/>
                    </a:lnTo>
                    <a:lnTo>
                      <a:pt x="686553" y="760321"/>
                    </a:lnTo>
                    <a:lnTo>
                      <a:pt x="632719" y="761650"/>
                    </a:lnTo>
                    <a:lnTo>
                      <a:pt x="565592" y="762315"/>
                    </a:lnTo>
                    <a:lnTo>
                      <a:pt x="494478" y="761650"/>
                    </a:lnTo>
                    <a:lnTo>
                      <a:pt x="421370" y="761650"/>
                    </a:lnTo>
                    <a:lnTo>
                      <a:pt x="390797" y="761650"/>
                    </a:lnTo>
                    <a:lnTo>
                      <a:pt x="383486" y="761650"/>
                    </a:lnTo>
                    <a:lnTo>
                      <a:pt x="375511" y="759656"/>
                    </a:lnTo>
                    <a:lnTo>
                      <a:pt x="367536" y="756998"/>
                    </a:lnTo>
                    <a:lnTo>
                      <a:pt x="360225" y="753675"/>
                    </a:lnTo>
                    <a:lnTo>
                      <a:pt x="352913" y="749022"/>
                    </a:lnTo>
                    <a:lnTo>
                      <a:pt x="346267" y="744370"/>
                    </a:lnTo>
                    <a:lnTo>
                      <a:pt x="340285" y="739053"/>
                    </a:lnTo>
                    <a:lnTo>
                      <a:pt x="335633" y="733072"/>
                    </a:lnTo>
                    <a:lnTo>
                      <a:pt x="334968" y="731078"/>
                    </a:lnTo>
                    <a:lnTo>
                      <a:pt x="332974" y="725761"/>
                    </a:lnTo>
                    <a:lnTo>
                      <a:pt x="332310" y="722438"/>
                    </a:lnTo>
                    <a:lnTo>
                      <a:pt x="331645" y="717786"/>
                    </a:lnTo>
                    <a:lnTo>
                      <a:pt x="332310" y="711804"/>
                    </a:lnTo>
                    <a:lnTo>
                      <a:pt x="332974" y="705158"/>
                    </a:lnTo>
                    <a:lnTo>
                      <a:pt x="332974" y="704493"/>
                    </a:lnTo>
                    <a:lnTo>
                      <a:pt x="332974" y="703164"/>
                    </a:lnTo>
                    <a:lnTo>
                      <a:pt x="332310" y="702499"/>
                    </a:lnTo>
                    <a:lnTo>
                      <a:pt x="331645" y="702499"/>
                    </a:lnTo>
                    <a:lnTo>
                      <a:pt x="320347" y="702499"/>
                    </a:lnTo>
                    <a:lnTo>
                      <a:pt x="313036" y="701835"/>
                    </a:lnTo>
                    <a:lnTo>
                      <a:pt x="306390" y="699841"/>
                    </a:lnTo>
                    <a:lnTo>
                      <a:pt x="300408" y="696518"/>
                    </a:lnTo>
                    <a:lnTo>
                      <a:pt x="295091" y="691866"/>
                    </a:lnTo>
                    <a:lnTo>
                      <a:pt x="290439" y="686549"/>
                    </a:lnTo>
                    <a:lnTo>
                      <a:pt x="287116" y="680567"/>
                    </a:lnTo>
                    <a:lnTo>
                      <a:pt x="285122" y="673921"/>
                    </a:lnTo>
                    <a:lnTo>
                      <a:pt x="283792" y="667275"/>
                    </a:lnTo>
                    <a:lnTo>
                      <a:pt x="283792" y="655976"/>
                    </a:lnTo>
                    <a:lnTo>
                      <a:pt x="283128" y="632050"/>
                    </a:lnTo>
                    <a:lnTo>
                      <a:pt x="283128" y="604136"/>
                    </a:lnTo>
                    <a:lnTo>
                      <a:pt x="283792" y="549638"/>
                    </a:lnTo>
                    <a:lnTo>
                      <a:pt x="283128" y="549638"/>
                    </a:lnTo>
                    <a:lnTo>
                      <a:pt x="277146" y="550302"/>
                    </a:lnTo>
                    <a:lnTo>
                      <a:pt x="271829" y="549638"/>
                    </a:lnTo>
                    <a:lnTo>
                      <a:pt x="270500" y="549638"/>
                    </a:lnTo>
                    <a:lnTo>
                      <a:pt x="264519" y="548973"/>
                    </a:lnTo>
                    <a:lnTo>
                      <a:pt x="258537" y="547644"/>
                    </a:lnTo>
                    <a:lnTo>
                      <a:pt x="253220" y="546315"/>
                    </a:lnTo>
                    <a:lnTo>
                      <a:pt x="247903" y="544321"/>
                    </a:lnTo>
                    <a:lnTo>
                      <a:pt x="242586" y="541662"/>
                    </a:lnTo>
                    <a:lnTo>
                      <a:pt x="237934" y="538339"/>
                    </a:lnTo>
                    <a:lnTo>
                      <a:pt x="233946" y="535016"/>
                    </a:lnTo>
                    <a:lnTo>
                      <a:pt x="229958" y="531029"/>
                    </a:lnTo>
                    <a:lnTo>
                      <a:pt x="227300" y="527705"/>
                    </a:lnTo>
                    <a:lnTo>
                      <a:pt x="225306" y="524382"/>
                    </a:lnTo>
                    <a:lnTo>
                      <a:pt x="221318" y="515742"/>
                    </a:lnTo>
                    <a:lnTo>
                      <a:pt x="218660" y="507102"/>
                    </a:lnTo>
                    <a:lnTo>
                      <a:pt x="217995" y="503115"/>
                    </a:lnTo>
                    <a:lnTo>
                      <a:pt x="217995" y="499127"/>
                    </a:lnTo>
                    <a:lnTo>
                      <a:pt x="217330" y="489822"/>
                    </a:lnTo>
                    <a:lnTo>
                      <a:pt x="217330" y="485835"/>
                    </a:lnTo>
                    <a:lnTo>
                      <a:pt x="216001" y="481847"/>
                    </a:lnTo>
                    <a:lnTo>
                      <a:pt x="214672" y="478524"/>
                    </a:lnTo>
                    <a:lnTo>
                      <a:pt x="212014" y="475865"/>
                    </a:lnTo>
                    <a:lnTo>
                      <a:pt x="209355" y="473207"/>
                    </a:lnTo>
                    <a:lnTo>
                      <a:pt x="206032" y="471878"/>
                    </a:lnTo>
                    <a:lnTo>
                      <a:pt x="202709" y="470549"/>
                    </a:lnTo>
                    <a:lnTo>
                      <a:pt x="198721" y="470549"/>
                    </a:lnTo>
                    <a:lnTo>
                      <a:pt x="186758" y="470549"/>
                    </a:lnTo>
                    <a:lnTo>
                      <a:pt x="160838" y="470549"/>
                    </a:lnTo>
                    <a:lnTo>
                      <a:pt x="123619" y="470549"/>
                    </a:lnTo>
                    <a:lnTo>
                      <a:pt x="107668" y="470549"/>
                    </a:lnTo>
                    <a:lnTo>
                      <a:pt x="104345" y="470549"/>
                    </a:lnTo>
                    <a:lnTo>
                      <a:pt x="101022" y="469884"/>
                    </a:lnTo>
                    <a:lnTo>
                      <a:pt x="97699" y="468555"/>
                    </a:lnTo>
                    <a:lnTo>
                      <a:pt x="94376" y="467225"/>
                    </a:lnTo>
                    <a:lnTo>
                      <a:pt x="88394" y="462573"/>
                    </a:lnTo>
                    <a:lnTo>
                      <a:pt x="83077" y="457921"/>
                    </a:lnTo>
                    <a:lnTo>
                      <a:pt x="78425" y="451939"/>
                    </a:lnTo>
                    <a:lnTo>
                      <a:pt x="75102" y="445958"/>
                    </a:lnTo>
                    <a:lnTo>
                      <a:pt x="73108" y="441305"/>
                    </a:lnTo>
                    <a:lnTo>
                      <a:pt x="72443" y="436653"/>
                    </a:lnTo>
                    <a:lnTo>
                      <a:pt x="71779" y="432665"/>
                    </a:lnTo>
                    <a:lnTo>
                      <a:pt x="69785" y="428678"/>
                    </a:lnTo>
                    <a:lnTo>
                      <a:pt x="67126" y="424025"/>
                    </a:lnTo>
                    <a:lnTo>
                      <a:pt x="63139" y="420038"/>
                    </a:lnTo>
                    <a:lnTo>
                      <a:pt x="58486" y="415385"/>
                    </a:lnTo>
                    <a:lnTo>
                      <a:pt x="53169" y="411398"/>
                    </a:lnTo>
                    <a:lnTo>
                      <a:pt x="47188" y="407410"/>
                    </a:lnTo>
                    <a:lnTo>
                      <a:pt x="40542" y="404087"/>
                    </a:lnTo>
                    <a:lnTo>
                      <a:pt x="36554" y="401429"/>
                    </a:lnTo>
                    <a:lnTo>
                      <a:pt x="31902" y="398105"/>
                    </a:lnTo>
                    <a:lnTo>
                      <a:pt x="26585" y="393453"/>
                    </a:lnTo>
                    <a:lnTo>
                      <a:pt x="20603" y="387472"/>
                    </a:lnTo>
                    <a:lnTo>
                      <a:pt x="14621" y="380161"/>
                    </a:lnTo>
                    <a:lnTo>
                      <a:pt x="9305" y="370856"/>
                    </a:lnTo>
                    <a:lnTo>
                      <a:pt x="7311" y="365539"/>
                    </a:lnTo>
                    <a:lnTo>
                      <a:pt x="5317" y="360222"/>
                    </a:lnTo>
                    <a:lnTo>
                      <a:pt x="2658" y="351582"/>
                    </a:lnTo>
                    <a:lnTo>
                      <a:pt x="1329" y="34227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0277" fontAlgn="base">
                  <a:spcBef>
                    <a:spcPct val="0"/>
                  </a:spcBef>
                  <a:spcAft>
                    <a:spcPct val="0"/>
                  </a:spcAft>
                </a:pPr>
                <a:endParaRPr lang="en-US" sz="816">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65" name="Freeform 258">
                <a:extLst>
                  <a:ext uri="{FF2B5EF4-FFF2-40B4-BE49-F238E27FC236}">
                    <a16:creationId xmlns:a16="http://schemas.microsoft.com/office/drawing/2014/main" id="{2018763D-AC54-47CF-AF69-08C2F4E4DA78}"/>
                  </a:ext>
                </a:extLst>
              </p:cNvPr>
              <p:cNvSpPr>
                <a:spLocks noChangeAspect="1"/>
              </p:cNvSpPr>
              <p:nvPr/>
            </p:nvSpPr>
            <p:spPr bwMode="auto">
              <a:xfrm rot="5400000">
                <a:off x="4569356" y="3253402"/>
                <a:ext cx="222940" cy="182802"/>
              </a:xfrm>
              <a:custGeom>
                <a:avLst/>
                <a:gdLst>
                  <a:gd name="connsiteX0" fmla="*/ 840077 w 928475"/>
                  <a:gd name="connsiteY0" fmla="*/ 467226 h 762315"/>
                  <a:gd name="connsiteX1" fmla="*/ 847388 w 928475"/>
                  <a:gd name="connsiteY1" fmla="*/ 465897 h 762315"/>
                  <a:gd name="connsiteX2" fmla="*/ 853369 w 928475"/>
                  <a:gd name="connsiteY2" fmla="*/ 463903 h 762315"/>
                  <a:gd name="connsiteX3" fmla="*/ 858686 w 928475"/>
                  <a:gd name="connsiteY3" fmla="*/ 460580 h 762315"/>
                  <a:gd name="connsiteX4" fmla="*/ 863339 w 928475"/>
                  <a:gd name="connsiteY4" fmla="*/ 456592 h 762315"/>
                  <a:gd name="connsiteX5" fmla="*/ 867326 w 928475"/>
                  <a:gd name="connsiteY5" fmla="*/ 451940 h 762315"/>
                  <a:gd name="connsiteX6" fmla="*/ 870649 w 928475"/>
                  <a:gd name="connsiteY6" fmla="*/ 446623 h 762315"/>
                  <a:gd name="connsiteX7" fmla="*/ 872643 w 928475"/>
                  <a:gd name="connsiteY7" fmla="*/ 439977 h 762315"/>
                  <a:gd name="connsiteX8" fmla="*/ 874637 w 928475"/>
                  <a:gd name="connsiteY8" fmla="*/ 433330 h 762315"/>
                  <a:gd name="connsiteX9" fmla="*/ 875966 w 928475"/>
                  <a:gd name="connsiteY9" fmla="*/ 425355 h 762315"/>
                  <a:gd name="connsiteX10" fmla="*/ 877296 w 928475"/>
                  <a:gd name="connsiteY10" fmla="*/ 417380 h 762315"/>
                  <a:gd name="connsiteX11" fmla="*/ 877960 w 928475"/>
                  <a:gd name="connsiteY11" fmla="*/ 399435 h 762315"/>
                  <a:gd name="connsiteX12" fmla="*/ 877960 w 928475"/>
                  <a:gd name="connsiteY12" fmla="*/ 380161 h 762315"/>
                  <a:gd name="connsiteX13" fmla="*/ 877960 w 928475"/>
                  <a:gd name="connsiteY13" fmla="*/ 360223 h 762315"/>
                  <a:gd name="connsiteX14" fmla="*/ 877960 w 928475"/>
                  <a:gd name="connsiteY14" fmla="*/ 275817 h 762315"/>
                  <a:gd name="connsiteX15" fmla="*/ 878625 w 928475"/>
                  <a:gd name="connsiteY15" fmla="*/ 247903 h 762315"/>
                  <a:gd name="connsiteX16" fmla="*/ 879954 w 928475"/>
                  <a:gd name="connsiteY16" fmla="*/ 217995 h 762315"/>
                  <a:gd name="connsiteX17" fmla="*/ 880619 w 928475"/>
                  <a:gd name="connsiteY17" fmla="*/ 187423 h 762315"/>
                  <a:gd name="connsiteX18" fmla="*/ 880619 w 928475"/>
                  <a:gd name="connsiteY18" fmla="*/ 172137 h 762315"/>
                  <a:gd name="connsiteX19" fmla="*/ 879954 w 928475"/>
                  <a:gd name="connsiteY19" fmla="*/ 157515 h 762315"/>
                  <a:gd name="connsiteX20" fmla="*/ 878625 w 928475"/>
                  <a:gd name="connsiteY20" fmla="*/ 143558 h 762315"/>
                  <a:gd name="connsiteX21" fmla="*/ 876631 w 928475"/>
                  <a:gd name="connsiteY21" fmla="*/ 130931 h 762315"/>
                  <a:gd name="connsiteX22" fmla="*/ 873308 w 928475"/>
                  <a:gd name="connsiteY22" fmla="*/ 118968 h 762315"/>
                  <a:gd name="connsiteX23" fmla="*/ 871314 w 928475"/>
                  <a:gd name="connsiteY23" fmla="*/ 113651 h 762315"/>
                  <a:gd name="connsiteX24" fmla="*/ 869320 w 928475"/>
                  <a:gd name="connsiteY24" fmla="*/ 108334 h 762315"/>
                  <a:gd name="connsiteX25" fmla="*/ 866662 w 928475"/>
                  <a:gd name="connsiteY25" fmla="*/ 103682 h 762315"/>
                  <a:gd name="connsiteX26" fmla="*/ 864003 w 928475"/>
                  <a:gd name="connsiteY26" fmla="*/ 99693 h 762315"/>
                  <a:gd name="connsiteX27" fmla="*/ 860680 w 928475"/>
                  <a:gd name="connsiteY27" fmla="*/ 95705 h 762315"/>
                  <a:gd name="connsiteX28" fmla="*/ 857357 w 928475"/>
                  <a:gd name="connsiteY28" fmla="*/ 92382 h 762315"/>
                  <a:gd name="connsiteX29" fmla="*/ 853369 w 928475"/>
                  <a:gd name="connsiteY29" fmla="*/ 89724 h 762315"/>
                  <a:gd name="connsiteX30" fmla="*/ 849381 w 928475"/>
                  <a:gd name="connsiteY30" fmla="*/ 87065 h 762315"/>
                  <a:gd name="connsiteX31" fmla="*/ 844729 w 928475"/>
                  <a:gd name="connsiteY31" fmla="*/ 85071 h 762315"/>
                  <a:gd name="connsiteX32" fmla="*/ 840077 w 928475"/>
                  <a:gd name="connsiteY32" fmla="*/ 84407 h 762315"/>
                  <a:gd name="connsiteX33" fmla="*/ 779597 w 928475"/>
                  <a:gd name="connsiteY33" fmla="*/ 501786 h 762315"/>
                  <a:gd name="connsiteX34" fmla="*/ 784250 w 928475"/>
                  <a:gd name="connsiteY34" fmla="*/ 501786 h 762315"/>
                  <a:gd name="connsiteX35" fmla="*/ 788902 w 928475"/>
                  <a:gd name="connsiteY35" fmla="*/ 501786 h 762315"/>
                  <a:gd name="connsiteX36" fmla="*/ 798871 w 928475"/>
                  <a:gd name="connsiteY36" fmla="*/ 502450 h 762315"/>
                  <a:gd name="connsiteX37" fmla="*/ 803523 w 928475"/>
                  <a:gd name="connsiteY37" fmla="*/ 502450 h 762315"/>
                  <a:gd name="connsiteX38" fmla="*/ 807511 w 928475"/>
                  <a:gd name="connsiteY38" fmla="*/ 501786 h 762315"/>
                  <a:gd name="connsiteX39" fmla="*/ 812163 w 928475"/>
                  <a:gd name="connsiteY39" fmla="*/ 501121 h 762315"/>
                  <a:gd name="connsiteX40" fmla="*/ 815486 w 928475"/>
                  <a:gd name="connsiteY40" fmla="*/ 499127 h 762315"/>
                  <a:gd name="connsiteX41" fmla="*/ 816151 w 928475"/>
                  <a:gd name="connsiteY41" fmla="*/ 489158 h 762315"/>
                  <a:gd name="connsiteX42" fmla="*/ 816816 w 928475"/>
                  <a:gd name="connsiteY42" fmla="*/ 476530 h 762315"/>
                  <a:gd name="connsiteX43" fmla="*/ 817480 w 928475"/>
                  <a:gd name="connsiteY43" fmla="*/ 447952 h 762315"/>
                  <a:gd name="connsiteX44" fmla="*/ 817480 w 928475"/>
                  <a:gd name="connsiteY44" fmla="*/ 388801 h 762315"/>
                  <a:gd name="connsiteX45" fmla="*/ 817480 w 928475"/>
                  <a:gd name="connsiteY45" fmla="*/ 217331 h 762315"/>
                  <a:gd name="connsiteX46" fmla="*/ 816816 w 928475"/>
                  <a:gd name="connsiteY46" fmla="*/ 133589 h 762315"/>
                  <a:gd name="connsiteX47" fmla="*/ 816151 w 928475"/>
                  <a:gd name="connsiteY47" fmla="*/ 53834 h 762315"/>
                  <a:gd name="connsiteX48" fmla="*/ 812828 w 928475"/>
                  <a:gd name="connsiteY48" fmla="*/ 51840 h 762315"/>
                  <a:gd name="connsiteX49" fmla="*/ 808176 w 928475"/>
                  <a:gd name="connsiteY49" fmla="*/ 50511 h 762315"/>
                  <a:gd name="connsiteX50" fmla="*/ 804188 w 928475"/>
                  <a:gd name="connsiteY50" fmla="*/ 50511 h 762315"/>
                  <a:gd name="connsiteX51" fmla="*/ 798871 w 928475"/>
                  <a:gd name="connsiteY51" fmla="*/ 50511 h 762315"/>
                  <a:gd name="connsiteX52" fmla="*/ 788902 w 928475"/>
                  <a:gd name="connsiteY52" fmla="*/ 50511 h 762315"/>
                  <a:gd name="connsiteX53" fmla="*/ 784250 w 928475"/>
                  <a:gd name="connsiteY53" fmla="*/ 51176 h 762315"/>
                  <a:gd name="connsiteX54" fmla="*/ 779597 w 928475"/>
                  <a:gd name="connsiteY54" fmla="*/ 50511 h 762315"/>
                  <a:gd name="connsiteX55" fmla="*/ 380161 w 928475"/>
                  <a:gd name="connsiteY55" fmla="*/ 713798 h 762315"/>
                  <a:gd name="connsiteX56" fmla="*/ 454599 w 928475"/>
                  <a:gd name="connsiteY56" fmla="*/ 713798 h 762315"/>
                  <a:gd name="connsiteX57" fmla="*/ 533024 w 928475"/>
                  <a:gd name="connsiteY57" fmla="*/ 713798 h 762315"/>
                  <a:gd name="connsiteX58" fmla="*/ 610784 w 928475"/>
                  <a:gd name="connsiteY58" fmla="*/ 713798 h 762315"/>
                  <a:gd name="connsiteX59" fmla="*/ 648667 w 928475"/>
                  <a:gd name="connsiteY59" fmla="*/ 713798 h 762315"/>
                  <a:gd name="connsiteX60" fmla="*/ 685222 w 928475"/>
                  <a:gd name="connsiteY60" fmla="*/ 712469 h 762315"/>
                  <a:gd name="connsiteX61" fmla="*/ 687215 w 928475"/>
                  <a:gd name="connsiteY61" fmla="*/ 709811 h 762315"/>
                  <a:gd name="connsiteX62" fmla="*/ 688545 w 928475"/>
                  <a:gd name="connsiteY62" fmla="*/ 706487 h 762315"/>
                  <a:gd name="connsiteX63" fmla="*/ 689209 w 928475"/>
                  <a:gd name="connsiteY63" fmla="*/ 701835 h 762315"/>
                  <a:gd name="connsiteX64" fmla="*/ 689209 w 928475"/>
                  <a:gd name="connsiteY64" fmla="*/ 697183 h 762315"/>
                  <a:gd name="connsiteX65" fmla="*/ 689209 w 928475"/>
                  <a:gd name="connsiteY65" fmla="*/ 686549 h 762315"/>
                  <a:gd name="connsiteX66" fmla="*/ 689209 w 928475"/>
                  <a:gd name="connsiteY66" fmla="*/ 675915 h 762315"/>
                  <a:gd name="connsiteX67" fmla="*/ 380826 w 928475"/>
                  <a:gd name="connsiteY67" fmla="*/ 675915 h 762315"/>
                  <a:gd name="connsiteX68" fmla="*/ 380826 w 928475"/>
                  <a:gd name="connsiteY68" fmla="*/ 686549 h 762315"/>
                  <a:gd name="connsiteX69" fmla="*/ 380826 w 928475"/>
                  <a:gd name="connsiteY69" fmla="*/ 695854 h 762315"/>
                  <a:gd name="connsiteX70" fmla="*/ 380826 w 928475"/>
                  <a:gd name="connsiteY70" fmla="*/ 704494 h 762315"/>
                  <a:gd name="connsiteX71" fmla="*/ 359518 w 928475"/>
                  <a:gd name="connsiteY71" fmla="*/ 138139 h 762315"/>
                  <a:gd name="connsiteX72" fmla="*/ 417123 w 928475"/>
                  <a:gd name="connsiteY72" fmla="*/ 100436 h 762315"/>
                  <a:gd name="connsiteX73" fmla="*/ 659974 w 928475"/>
                  <a:gd name="connsiteY73" fmla="*/ 100436 h 762315"/>
                  <a:gd name="connsiteX74" fmla="*/ 717578 w 928475"/>
                  <a:gd name="connsiteY74" fmla="*/ 138139 h 762315"/>
                  <a:gd name="connsiteX75" fmla="*/ 659974 w 928475"/>
                  <a:gd name="connsiteY75" fmla="*/ 175841 h 762315"/>
                  <a:gd name="connsiteX76" fmla="*/ 417123 w 928475"/>
                  <a:gd name="connsiteY76" fmla="*/ 175841 h 762315"/>
                  <a:gd name="connsiteX77" fmla="*/ 359518 w 928475"/>
                  <a:gd name="connsiteY77" fmla="*/ 138139 h 762315"/>
                  <a:gd name="connsiteX78" fmla="*/ 359517 w 928475"/>
                  <a:gd name="connsiteY78" fmla="*/ 275097 h 762315"/>
                  <a:gd name="connsiteX79" fmla="*/ 417122 w 928475"/>
                  <a:gd name="connsiteY79" fmla="*/ 237394 h 762315"/>
                  <a:gd name="connsiteX80" fmla="*/ 659973 w 928475"/>
                  <a:gd name="connsiteY80" fmla="*/ 237394 h 762315"/>
                  <a:gd name="connsiteX81" fmla="*/ 717577 w 928475"/>
                  <a:gd name="connsiteY81" fmla="*/ 275097 h 762315"/>
                  <a:gd name="connsiteX82" fmla="*/ 659973 w 928475"/>
                  <a:gd name="connsiteY82" fmla="*/ 312799 h 762315"/>
                  <a:gd name="connsiteX83" fmla="*/ 417122 w 928475"/>
                  <a:gd name="connsiteY83" fmla="*/ 312799 h 762315"/>
                  <a:gd name="connsiteX84" fmla="*/ 359517 w 928475"/>
                  <a:gd name="connsiteY84" fmla="*/ 275097 h 762315"/>
                  <a:gd name="connsiteX85" fmla="*/ 359516 w 928475"/>
                  <a:gd name="connsiteY85" fmla="*/ 412055 h 762315"/>
                  <a:gd name="connsiteX86" fmla="*/ 417121 w 928475"/>
                  <a:gd name="connsiteY86" fmla="*/ 374352 h 762315"/>
                  <a:gd name="connsiteX87" fmla="*/ 659972 w 928475"/>
                  <a:gd name="connsiteY87" fmla="*/ 374352 h 762315"/>
                  <a:gd name="connsiteX88" fmla="*/ 717576 w 928475"/>
                  <a:gd name="connsiteY88" fmla="*/ 412055 h 762315"/>
                  <a:gd name="connsiteX89" fmla="*/ 659972 w 928475"/>
                  <a:gd name="connsiteY89" fmla="*/ 449757 h 762315"/>
                  <a:gd name="connsiteX90" fmla="*/ 417121 w 928475"/>
                  <a:gd name="connsiteY90" fmla="*/ 449757 h 762315"/>
                  <a:gd name="connsiteX91" fmla="*/ 359516 w 928475"/>
                  <a:gd name="connsiteY91" fmla="*/ 412055 h 762315"/>
                  <a:gd name="connsiteX92" fmla="*/ 330979 w 928475"/>
                  <a:gd name="connsiteY92" fmla="*/ 618093 h 762315"/>
                  <a:gd name="connsiteX93" fmla="*/ 331643 w 928475"/>
                  <a:gd name="connsiteY93" fmla="*/ 654647 h 762315"/>
                  <a:gd name="connsiteX94" fmla="*/ 431337 w 928475"/>
                  <a:gd name="connsiteY94" fmla="*/ 654647 h 762315"/>
                  <a:gd name="connsiteX95" fmla="*/ 535682 w 928475"/>
                  <a:gd name="connsiteY95" fmla="*/ 655977 h 762315"/>
                  <a:gd name="connsiteX96" fmla="*/ 640027 w 928475"/>
                  <a:gd name="connsiteY96" fmla="*/ 656641 h 762315"/>
                  <a:gd name="connsiteX97" fmla="*/ 739720 w 928475"/>
                  <a:gd name="connsiteY97" fmla="*/ 657306 h 762315"/>
                  <a:gd name="connsiteX98" fmla="*/ 739720 w 928475"/>
                  <a:gd name="connsiteY98" fmla="*/ 640026 h 762315"/>
                  <a:gd name="connsiteX99" fmla="*/ 739720 w 928475"/>
                  <a:gd name="connsiteY99" fmla="*/ 619423 h 762315"/>
                  <a:gd name="connsiteX100" fmla="*/ 739055 w 928475"/>
                  <a:gd name="connsiteY100" fmla="*/ 576223 h 762315"/>
                  <a:gd name="connsiteX101" fmla="*/ 737726 w 928475"/>
                  <a:gd name="connsiteY101" fmla="*/ 525712 h 762315"/>
                  <a:gd name="connsiteX102" fmla="*/ 332308 w 928475"/>
                  <a:gd name="connsiteY102" fmla="*/ 525712 h 762315"/>
                  <a:gd name="connsiteX103" fmla="*/ 331643 w 928475"/>
                  <a:gd name="connsiteY103" fmla="*/ 575558 h 762315"/>
                  <a:gd name="connsiteX104" fmla="*/ 312010 w 928475"/>
                  <a:gd name="connsiteY104" fmla="*/ 508368 h 762315"/>
                  <a:gd name="connsiteX105" fmla="*/ 748776 w 928475"/>
                  <a:gd name="connsiteY105" fmla="*/ 508368 h 762315"/>
                  <a:gd name="connsiteX106" fmla="*/ 748776 w 928475"/>
                  <a:gd name="connsiteY106" fmla="*/ 50511 h 762315"/>
                  <a:gd name="connsiteX107" fmla="*/ 312010 w 928475"/>
                  <a:gd name="connsiteY107" fmla="*/ 50511 h 762315"/>
                  <a:gd name="connsiteX108" fmla="*/ 263852 w 928475"/>
                  <a:gd name="connsiteY108" fmla="*/ 275817 h 762315"/>
                  <a:gd name="connsiteX109" fmla="*/ 264516 w 928475"/>
                  <a:gd name="connsiteY109" fmla="*/ 388802 h 762315"/>
                  <a:gd name="connsiteX110" fmla="*/ 265846 w 928475"/>
                  <a:gd name="connsiteY110" fmla="*/ 499128 h 762315"/>
                  <a:gd name="connsiteX111" fmla="*/ 267839 w 928475"/>
                  <a:gd name="connsiteY111" fmla="*/ 500457 h 762315"/>
                  <a:gd name="connsiteX112" fmla="*/ 270498 w 928475"/>
                  <a:gd name="connsiteY112" fmla="*/ 501786 h 762315"/>
                  <a:gd name="connsiteX113" fmla="*/ 273156 w 928475"/>
                  <a:gd name="connsiteY113" fmla="*/ 501786 h 762315"/>
                  <a:gd name="connsiteX114" fmla="*/ 276480 w 928475"/>
                  <a:gd name="connsiteY114" fmla="*/ 502451 h 762315"/>
                  <a:gd name="connsiteX115" fmla="*/ 283790 w 928475"/>
                  <a:gd name="connsiteY115" fmla="*/ 501786 h 762315"/>
                  <a:gd name="connsiteX116" fmla="*/ 290437 w 928475"/>
                  <a:gd name="connsiteY116" fmla="*/ 501786 h 762315"/>
                  <a:gd name="connsiteX117" fmla="*/ 291101 w 928475"/>
                  <a:gd name="connsiteY117" fmla="*/ 501786 h 762315"/>
                  <a:gd name="connsiteX118" fmla="*/ 291766 w 928475"/>
                  <a:gd name="connsiteY118" fmla="*/ 500457 h 762315"/>
                  <a:gd name="connsiteX119" fmla="*/ 291766 w 928475"/>
                  <a:gd name="connsiteY119" fmla="*/ 497134 h 762315"/>
                  <a:gd name="connsiteX120" fmla="*/ 291766 w 928475"/>
                  <a:gd name="connsiteY120" fmla="*/ 50512 h 762315"/>
                  <a:gd name="connsiteX121" fmla="*/ 285120 w 928475"/>
                  <a:gd name="connsiteY121" fmla="*/ 50512 h 762315"/>
                  <a:gd name="connsiteX122" fmla="*/ 277809 w 928475"/>
                  <a:gd name="connsiteY122" fmla="*/ 50512 h 762315"/>
                  <a:gd name="connsiteX123" fmla="*/ 274486 w 928475"/>
                  <a:gd name="connsiteY123" fmla="*/ 50512 h 762315"/>
                  <a:gd name="connsiteX124" fmla="*/ 271163 w 928475"/>
                  <a:gd name="connsiteY124" fmla="*/ 51176 h 762315"/>
                  <a:gd name="connsiteX125" fmla="*/ 268504 w 928475"/>
                  <a:gd name="connsiteY125" fmla="*/ 51841 h 762315"/>
                  <a:gd name="connsiteX126" fmla="*/ 266510 w 928475"/>
                  <a:gd name="connsiteY126" fmla="*/ 53835 h 762315"/>
                  <a:gd name="connsiteX127" fmla="*/ 265181 w 928475"/>
                  <a:gd name="connsiteY127" fmla="*/ 107670 h 762315"/>
                  <a:gd name="connsiteX128" fmla="*/ 264516 w 928475"/>
                  <a:gd name="connsiteY128" fmla="*/ 163497 h 762315"/>
                  <a:gd name="connsiteX129" fmla="*/ 263852 w 928475"/>
                  <a:gd name="connsiteY129" fmla="*/ 219325 h 762315"/>
                  <a:gd name="connsiteX130" fmla="*/ 120295 w 928475"/>
                  <a:gd name="connsiteY130" fmla="*/ 422697 h 762315"/>
                  <a:gd name="connsiteX131" fmla="*/ 147544 w 928475"/>
                  <a:gd name="connsiteY131" fmla="*/ 422032 h 762315"/>
                  <a:gd name="connsiteX132" fmla="*/ 176788 w 928475"/>
                  <a:gd name="connsiteY132" fmla="*/ 422697 h 762315"/>
                  <a:gd name="connsiteX133" fmla="*/ 204037 w 928475"/>
                  <a:gd name="connsiteY133" fmla="*/ 422697 h 762315"/>
                  <a:gd name="connsiteX134" fmla="*/ 216000 w 928475"/>
                  <a:gd name="connsiteY134" fmla="*/ 422032 h 762315"/>
                  <a:gd name="connsiteX135" fmla="*/ 225970 w 928475"/>
                  <a:gd name="connsiteY135" fmla="*/ 420703 h 762315"/>
                  <a:gd name="connsiteX136" fmla="*/ 227963 w 928475"/>
                  <a:gd name="connsiteY136" fmla="*/ 417380 h 762315"/>
                  <a:gd name="connsiteX137" fmla="*/ 229293 w 928475"/>
                  <a:gd name="connsiteY137" fmla="*/ 414057 h 762315"/>
                  <a:gd name="connsiteX138" fmla="*/ 231287 w 928475"/>
                  <a:gd name="connsiteY138" fmla="*/ 406081 h 762315"/>
                  <a:gd name="connsiteX139" fmla="*/ 231951 w 928475"/>
                  <a:gd name="connsiteY139" fmla="*/ 396777 h 762315"/>
                  <a:gd name="connsiteX140" fmla="*/ 232616 w 928475"/>
                  <a:gd name="connsiteY140" fmla="*/ 387472 h 762315"/>
                  <a:gd name="connsiteX141" fmla="*/ 231951 w 928475"/>
                  <a:gd name="connsiteY141" fmla="*/ 367534 h 762315"/>
                  <a:gd name="connsiteX142" fmla="*/ 231951 w 928475"/>
                  <a:gd name="connsiteY142" fmla="*/ 348924 h 762315"/>
                  <a:gd name="connsiteX143" fmla="*/ 231951 w 928475"/>
                  <a:gd name="connsiteY143" fmla="*/ 237934 h 762315"/>
                  <a:gd name="connsiteX144" fmla="*/ 231287 w 928475"/>
                  <a:gd name="connsiteY144" fmla="*/ 184100 h 762315"/>
                  <a:gd name="connsiteX145" fmla="*/ 230622 w 928475"/>
                  <a:gd name="connsiteY145" fmla="*/ 158180 h 762315"/>
                  <a:gd name="connsiteX146" fmla="*/ 228628 w 928475"/>
                  <a:gd name="connsiteY146" fmla="*/ 132260 h 762315"/>
                  <a:gd name="connsiteX147" fmla="*/ 217994 w 928475"/>
                  <a:gd name="connsiteY147" fmla="*/ 130930 h 762315"/>
                  <a:gd name="connsiteX148" fmla="*/ 206031 w 928475"/>
                  <a:gd name="connsiteY148" fmla="*/ 130266 h 762315"/>
                  <a:gd name="connsiteX149" fmla="*/ 178117 w 928475"/>
                  <a:gd name="connsiteY149" fmla="*/ 130266 h 762315"/>
                  <a:gd name="connsiteX150" fmla="*/ 148209 w 928475"/>
                  <a:gd name="connsiteY150" fmla="*/ 130266 h 762315"/>
                  <a:gd name="connsiteX151" fmla="*/ 120295 w 928475"/>
                  <a:gd name="connsiteY151" fmla="*/ 130266 h 762315"/>
                  <a:gd name="connsiteX152" fmla="*/ 47851 w 928475"/>
                  <a:gd name="connsiteY152" fmla="*/ 328322 h 762315"/>
                  <a:gd name="connsiteX153" fmla="*/ 48515 w 928475"/>
                  <a:gd name="connsiteY153" fmla="*/ 335632 h 762315"/>
                  <a:gd name="connsiteX154" fmla="*/ 49845 w 928475"/>
                  <a:gd name="connsiteY154" fmla="*/ 342278 h 762315"/>
                  <a:gd name="connsiteX155" fmla="*/ 51839 w 928475"/>
                  <a:gd name="connsiteY155" fmla="*/ 348925 h 762315"/>
                  <a:gd name="connsiteX156" fmla="*/ 55162 w 928475"/>
                  <a:gd name="connsiteY156" fmla="*/ 355571 h 762315"/>
                  <a:gd name="connsiteX157" fmla="*/ 59149 w 928475"/>
                  <a:gd name="connsiteY157" fmla="*/ 360888 h 762315"/>
                  <a:gd name="connsiteX158" fmla="*/ 64466 w 928475"/>
                  <a:gd name="connsiteY158" fmla="*/ 365540 h 762315"/>
                  <a:gd name="connsiteX159" fmla="*/ 71113 w 928475"/>
                  <a:gd name="connsiteY159" fmla="*/ 368863 h 762315"/>
                  <a:gd name="connsiteX160" fmla="*/ 79088 w 928475"/>
                  <a:gd name="connsiteY160" fmla="*/ 371522 h 762315"/>
                  <a:gd name="connsiteX161" fmla="*/ 88393 w 928475"/>
                  <a:gd name="connsiteY161" fmla="*/ 372851 h 762315"/>
                  <a:gd name="connsiteX162" fmla="*/ 88393 w 928475"/>
                  <a:gd name="connsiteY162" fmla="*/ 178119 h 762315"/>
                  <a:gd name="connsiteX163" fmla="*/ 81082 w 928475"/>
                  <a:gd name="connsiteY163" fmla="*/ 178783 h 762315"/>
                  <a:gd name="connsiteX164" fmla="*/ 74436 w 928475"/>
                  <a:gd name="connsiteY164" fmla="*/ 179448 h 762315"/>
                  <a:gd name="connsiteX165" fmla="*/ 69119 w 928475"/>
                  <a:gd name="connsiteY165" fmla="*/ 181442 h 762315"/>
                  <a:gd name="connsiteX166" fmla="*/ 64466 w 928475"/>
                  <a:gd name="connsiteY166" fmla="*/ 183436 h 762315"/>
                  <a:gd name="connsiteX167" fmla="*/ 61143 w 928475"/>
                  <a:gd name="connsiteY167" fmla="*/ 185430 h 762315"/>
                  <a:gd name="connsiteX168" fmla="*/ 57820 w 928475"/>
                  <a:gd name="connsiteY168" fmla="*/ 188753 h 762315"/>
                  <a:gd name="connsiteX169" fmla="*/ 55162 w 928475"/>
                  <a:gd name="connsiteY169" fmla="*/ 191411 h 762315"/>
                  <a:gd name="connsiteX170" fmla="*/ 53832 w 928475"/>
                  <a:gd name="connsiteY170" fmla="*/ 195399 h 762315"/>
                  <a:gd name="connsiteX171" fmla="*/ 51839 w 928475"/>
                  <a:gd name="connsiteY171" fmla="*/ 199386 h 762315"/>
                  <a:gd name="connsiteX172" fmla="*/ 51174 w 928475"/>
                  <a:gd name="connsiteY172" fmla="*/ 203374 h 762315"/>
                  <a:gd name="connsiteX173" fmla="*/ 50509 w 928475"/>
                  <a:gd name="connsiteY173" fmla="*/ 212679 h 762315"/>
                  <a:gd name="connsiteX174" fmla="*/ 49845 w 928475"/>
                  <a:gd name="connsiteY174" fmla="*/ 221983 h 762315"/>
                  <a:gd name="connsiteX175" fmla="*/ 49845 w 928475"/>
                  <a:gd name="connsiteY175" fmla="*/ 232617 h 762315"/>
                  <a:gd name="connsiteX176" fmla="*/ 49845 w 928475"/>
                  <a:gd name="connsiteY176" fmla="*/ 275817 h 762315"/>
                  <a:gd name="connsiteX177" fmla="*/ 49845 w 928475"/>
                  <a:gd name="connsiteY177" fmla="*/ 289774 h 762315"/>
                  <a:gd name="connsiteX178" fmla="*/ 48515 w 928475"/>
                  <a:gd name="connsiteY178" fmla="*/ 305060 h 762315"/>
                  <a:gd name="connsiteX179" fmla="*/ 47851 w 928475"/>
                  <a:gd name="connsiteY179" fmla="*/ 320346 h 762315"/>
                  <a:gd name="connsiteX180" fmla="*/ 0 w 928475"/>
                  <a:gd name="connsiteY180" fmla="*/ 333638 h 762315"/>
                  <a:gd name="connsiteX181" fmla="*/ 0 w 928475"/>
                  <a:gd name="connsiteY181" fmla="*/ 324998 h 762315"/>
                  <a:gd name="connsiteX182" fmla="*/ 0 w 928475"/>
                  <a:gd name="connsiteY182" fmla="*/ 308382 h 762315"/>
                  <a:gd name="connsiteX183" fmla="*/ 1329 w 928475"/>
                  <a:gd name="connsiteY183" fmla="*/ 292432 h 762315"/>
                  <a:gd name="connsiteX184" fmla="*/ 1994 w 928475"/>
                  <a:gd name="connsiteY184" fmla="*/ 283127 h 762315"/>
                  <a:gd name="connsiteX185" fmla="*/ 1994 w 928475"/>
                  <a:gd name="connsiteY185" fmla="*/ 275816 h 762315"/>
                  <a:gd name="connsiteX186" fmla="*/ 1994 w 928475"/>
                  <a:gd name="connsiteY186" fmla="*/ 232616 h 762315"/>
                  <a:gd name="connsiteX187" fmla="*/ 1994 w 928475"/>
                  <a:gd name="connsiteY187" fmla="*/ 226635 h 762315"/>
                  <a:gd name="connsiteX188" fmla="*/ 1994 w 928475"/>
                  <a:gd name="connsiteY188" fmla="*/ 213342 h 762315"/>
                  <a:gd name="connsiteX189" fmla="*/ 2658 w 928475"/>
                  <a:gd name="connsiteY189" fmla="*/ 206696 h 762315"/>
                  <a:gd name="connsiteX190" fmla="*/ 3323 w 928475"/>
                  <a:gd name="connsiteY190" fmla="*/ 199385 h 762315"/>
                  <a:gd name="connsiteX191" fmla="*/ 4652 w 928475"/>
                  <a:gd name="connsiteY191" fmla="*/ 192075 h 762315"/>
                  <a:gd name="connsiteX192" fmla="*/ 6646 w 928475"/>
                  <a:gd name="connsiteY192" fmla="*/ 184764 h 762315"/>
                  <a:gd name="connsiteX193" fmla="*/ 9305 w 928475"/>
                  <a:gd name="connsiteY193" fmla="*/ 177453 h 762315"/>
                  <a:gd name="connsiteX194" fmla="*/ 12628 w 928475"/>
                  <a:gd name="connsiteY194" fmla="*/ 170142 h 762315"/>
                  <a:gd name="connsiteX195" fmla="*/ 15951 w 928475"/>
                  <a:gd name="connsiteY195" fmla="*/ 164161 h 762315"/>
                  <a:gd name="connsiteX196" fmla="*/ 20603 w 928475"/>
                  <a:gd name="connsiteY196" fmla="*/ 158179 h 762315"/>
                  <a:gd name="connsiteX197" fmla="*/ 25920 w 928475"/>
                  <a:gd name="connsiteY197" fmla="*/ 152198 h 762315"/>
                  <a:gd name="connsiteX198" fmla="*/ 32566 w 928475"/>
                  <a:gd name="connsiteY198" fmla="*/ 146881 h 762315"/>
                  <a:gd name="connsiteX199" fmla="*/ 40542 w 928475"/>
                  <a:gd name="connsiteY199" fmla="*/ 141564 h 762315"/>
                  <a:gd name="connsiteX200" fmla="*/ 49846 w 928475"/>
                  <a:gd name="connsiteY200" fmla="*/ 137576 h 762315"/>
                  <a:gd name="connsiteX201" fmla="*/ 60480 w 928475"/>
                  <a:gd name="connsiteY201" fmla="*/ 133589 h 762315"/>
                  <a:gd name="connsiteX202" fmla="*/ 72443 w 928475"/>
                  <a:gd name="connsiteY202" fmla="*/ 131595 h 762315"/>
                  <a:gd name="connsiteX203" fmla="*/ 73108 w 928475"/>
                  <a:gd name="connsiteY203" fmla="*/ 128936 h 762315"/>
                  <a:gd name="connsiteX204" fmla="*/ 73108 w 928475"/>
                  <a:gd name="connsiteY204" fmla="*/ 123619 h 762315"/>
                  <a:gd name="connsiteX205" fmla="*/ 73108 w 928475"/>
                  <a:gd name="connsiteY205" fmla="*/ 116308 h 762315"/>
                  <a:gd name="connsiteX206" fmla="*/ 73773 w 928475"/>
                  <a:gd name="connsiteY206" fmla="*/ 108998 h 762315"/>
                  <a:gd name="connsiteX207" fmla="*/ 75767 w 928475"/>
                  <a:gd name="connsiteY207" fmla="*/ 102352 h 762315"/>
                  <a:gd name="connsiteX208" fmla="*/ 79090 w 928475"/>
                  <a:gd name="connsiteY208" fmla="*/ 96369 h 762315"/>
                  <a:gd name="connsiteX209" fmla="*/ 83077 w 928475"/>
                  <a:gd name="connsiteY209" fmla="*/ 91717 h 762315"/>
                  <a:gd name="connsiteX210" fmla="*/ 88394 w 928475"/>
                  <a:gd name="connsiteY210" fmla="*/ 87064 h 762315"/>
                  <a:gd name="connsiteX211" fmla="*/ 94376 w 928475"/>
                  <a:gd name="connsiteY211" fmla="*/ 83741 h 762315"/>
                  <a:gd name="connsiteX212" fmla="*/ 101022 w 928475"/>
                  <a:gd name="connsiteY212" fmla="*/ 81747 h 762315"/>
                  <a:gd name="connsiteX213" fmla="*/ 107668 w 928475"/>
                  <a:gd name="connsiteY213" fmla="*/ 81747 h 762315"/>
                  <a:gd name="connsiteX214" fmla="*/ 132924 w 928475"/>
                  <a:gd name="connsiteY214" fmla="*/ 81747 h 762315"/>
                  <a:gd name="connsiteX215" fmla="*/ 186758 w 928475"/>
                  <a:gd name="connsiteY215" fmla="*/ 82412 h 762315"/>
                  <a:gd name="connsiteX216" fmla="*/ 199386 w 928475"/>
                  <a:gd name="connsiteY216" fmla="*/ 82412 h 762315"/>
                  <a:gd name="connsiteX217" fmla="*/ 203373 w 928475"/>
                  <a:gd name="connsiteY217" fmla="*/ 81747 h 762315"/>
                  <a:gd name="connsiteX218" fmla="*/ 207361 w 928475"/>
                  <a:gd name="connsiteY218" fmla="*/ 79754 h 762315"/>
                  <a:gd name="connsiteX219" fmla="*/ 211349 w 928475"/>
                  <a:gd name="connsiteY219" fmla="*/ 76431 h 762315"/>
                  <a:gd name="connsiteX220" fmla="*/ 215337 w 928475"/>
                  <a:gd name="connsiteY220" fmla="*/ 72443 h 762315"/>
                  <a:gd name="connsiteX221" fmla="*/ 218660 w 928475"/>
                  <a:gd name="connsiteY221" fmla="*/ 67791 h 762315"/>
                  <a:gd name="connsiteX222" fmla="*/ 221983 w 928475"/>
                  <a:gd name="connsiteY222" fmla="*/ 61809 h 762315"/>
                  <a:gd name="connsiteX223" fmla="*/ 224641 w 928475"/>
                  <a:gd name="connsiteY223" fmla="*/ 55827 h 762315"/>
                  <a:gd name="connsiteX224" fmla="*/ 226635 w 928475"/>
                  <a:gd name="connsiteY224" fmla="*/ 48517 h 762315"/>
                  <a:gd name="connsiteX225" fmla="*/ 228629 w 928475"/>
                  <a:gd name="connsiteY225" fmla="*/ 42535 h 762315"/>
                  <a:gd name="connsiteX226" fmla="*/ 231952 w 928475"/>
                  <a:gd name="connsiteY226" fmla="*/ 35889 h 762315"/>
                  <a:gd name="connsiteX227" fmla="*/ 236604 w 928475"/>
                  <a:gd name="connsiteY227" fmla="*/ 27914 h 762315"/>
                  <a:gd name="connsiteX228" fmla="*/ 239928 w 928475"/>
                  <a:gd name="connsiteY228" fmla="*/ 24591 h 762315"/>
                  <a:gd name="connsiteX229" fmla="*/ 243251 w 928475"/>
                  <a:gd name="connsiteY229" fmla="*/ 20603 h 762315"/>
                  <a:gd name="connsiteX230" fmla="*/ 247238 w 928475"/>
                  <a:gd name="connsiteY230" fmla="*/ 17280 h 762315"/>
                  <a:gd name="connsiteX231" fmla="*/ 251891 w 928475"/>
                  <a:gd name="connsiteY231" fmla="*/ 13957 h 762315"/>
                  <a:gd name="connsiteX232" fmla="*/ 256543 w 928475"/>
                  <a:gd name="connsiteY232" fmla="*/ 11298 h 762315"/>
                  <a:gd name="connsiteX233" fmla="*/ 262525 w 928475"/>
                  <a:gd name="connsiteY233" fmla="*/ 8640 h 762315"/>
                  <a:gd name="connsiteX234" fmla="*/ 269171 w 928475"/>
                  <a:gd name="connsiteY234" fmla="*/ 7311 h 762315"/>
                  <a:gd name="connsiteX235" fmla="*/ 275817 w 928475"/>
                  <a:gd name="connsiteY235" fmla="*/ 6646 h 762315"/>
                  <a:gd name="connsiteX236" fmla="*/ 315694 w 928475"/>
                  <a:gd name="connsiteY236" fmla="*/ 4652 h 762315"/>
                  <a:gd name="connsiteX237" fmla="*/ 352913 w 928475"/>
                  <a:gd name="connsiteY237" fmla="*/ 3987 h 762315"/>
                  <a:gd name="connsiteX238" fmla="*/ 428681 w 928475"/>
                  <a:gd name="connsiteY238" fmla="*/ 3987 h 762315"/>
                  <a:gd name="connsiteX239" fmla="*/ 557617 w 928475"/>
                  <a:gd name="connsiteY239" fmla="*/ 3323 h 762315"/>
                  <a:gd name="connsiteX240" fmla="*/ 622085 w 928475"/>
                  <a:gd name="connsiteY240" fmla="*/ 2658 h 762315"/>
                  <a:gd name="connsiteX241" fmla="*/ 685888 w 928475"/>
                  <a:gd name="connsiteY241" fmla="*/ 1329 h 762315"/>
                  <a:gd name="connsiteX242" fmla="*/ 710479 w 928475"/>
                  <a:gd name="connsiteY242" fmla="*/ 664 h 762315"/>
                  <a:gd name="connsiteX243" fmla="*/ 737064 w 928475"/>
                  <a:gd name="connsiteY243" fmla="*/ 0 h 762315"/>
                  <a:gd name="connsiteX244" fmla="*/ 763649 w 928475"/>
                  <a:gd name="connsiteY244" fmla="*/ 664 h 762315"/>
                  <a:gd name="connsiteX245" fmla="*/ 776277 w 928475"/>
                  <a:gd name="connsiteY245" fmla="*/ 1329 h 762315"/>
                  <a:gd name="connsiteX246" fmla="*/ 788240 w 928475"/>
                  <a:gd name="connsiteY246" fmla="*/ 2658 h 762315"/>
                  <a:gd name="connsiteX247" fmla="*/ 796215 w 928475"/>
                  <a:gd name="connsiteY247" fmla="*/ 4652 h 762315"/>
                  <a:gd name="connsiteX248" fmla="*/ 804191 w 928475"/>
                  <a:gd name="connsiteY248" fmla="*/ 6646 h 762315"/>
                  <a:gd name="connsiteX249" fmla="*/ 812166 w 928475"/>
                  <a:gd name="connsiteY249" fmla="*/ 9969 h 762315"/>
                  <a:gd name="connsiteX250" fmla="*/ 819477 w 928475"/>
                  <a:gd name="connsiteY250" fmla="*/ 13292 h 762315"/>
                  <a:gd name="connsiteX251" fmla="*/ 827453 w 928475"/>
                  <a:gd name="connsiteY251" fmla="*/ 17280 h 762315"/>
                  <a:gd name="connsiteX252" fmla="*/ 834763 w 928475"/>
                  <a:gd name="connsiteY252" fmla="*/ 21267 h 762315"/>
                  <a:gd name="connsiteX253" fmla="*/ 848720 w 928475"/>
                  <a:gd name="connsiteY253" fmla="*/ 31237 h 762315"/>
                  <a:gd name="connsiteX254" fmla="*/ 856696 w 928475"/>
                  <a:gd name="connsiteY254" fmla="*/ 35889 h 762315"/>
                  <a:gd name="connsiteX255" fmla="*/ 866000 w 928475"/>
                  <a:gd name="connsiteY255" fmla="*/ 40541 h 762315"/>
                  <a:gd name="connsiteX256" fmla="*/ 875970 w 928475"/>
                  <a:gd name="connsiteY256" fmla="*/ 46523 h 762315"/>
                  <a:gd name="connsiteX257" fmla="*/ 881287 w 928475"/>
                  <a:gd name="connsiteY257" fmla="*/ 50511 h 762315"/>
                  <a:gd name="connsiteX258" fmla="*/ 886604 w 928475"/>
                  <a:gd name="connsiteY258" fmla="*/ 54498 h 762315"/>
                  <a:gd name="connsiteX259" fmla="*/ 891256 w 928475"/>
                  <a:gd name="connsiteY259" fmla="*/ 59815 h 762315"/>
                  <a:gd name="connsiteX260" fmla="*/ 895908 w 928475"/>
                  <a:gd name="connsiteY260" fmla="*/ 65132 h 762315"/>
                  <a:gd name="connsiteX261" fmla="*/ 901225 w 928475"/>
                  <a:gd name="connsiteY261" fmla="*/ 71114 h 762315"/>
                  <a:gd name="connsiteX262" fmla="*/ 905213 w 928475"/>
                  <a:gd name="connsiteY262" fmla="*/ 77760 h 762315"/>
                  <a:gd name="connsiteX263" fmla="*/ 909865 w 928475"/>
                  <a:gd name="connsiteY263" fmla="*/ 84406 h 762315"/>
                  <a:gd name="connsiteX264" fmla="*/ 913853 w 928475"/>
                  <a:gd name="connsiteY264" fmla="*/ 92381 h 762315"/>
                  <a:gd name="connsiteX265" fmla="*/ 917176 w 928475"/>
                  <a:gd name="connsiteY265" fmla="*/ 101022 h 762315"/>
                  <a:gd name="connsiteX266" fmla="*/ 920499 w 928475"/>
                  <a:gd name="connsiteY266" fmla="*/ 109662 h 762315"/>
                  <a:gd name="connsiteX267" fmla="*/ 923158 w 928475"/>
                  <a:gd name="connsiteY267" fmla="*/ 119632 h 762315"/>
                  <a:gd name="connsiteX268" fmla="*/ 925152 w 928475"/>
                  <a:gd name="connsiteY268" fmla="*/ 130265 h 762315"/>
                  <a:gd name="connsiteX269" fmla="*/ 926481 w 928475"/>
                  <a:gd name="connsiteY269" fmla="*/ 142893 h 762315"/>
                  <a:gd name="connsiteX270" fmla="*/ 927810 w 928475"/>
                  <a:gd name="connsiteY270" fmla="*/ 156185 h 762315"/>
                  <a:gd name="connsiteX271" fmla="*/ 928475 w 928475"/>
                  <a:gd name="connsiteY271" fmla="*/ 169478 h 762315"/>
                  <a:gd name="connsiteX272" fmla="*/ 928475 w 928475"/>
                  <a:gd name="connsiteY272" fmla="*/ 182770 h 762315"/>
                  <a:gd name="connsiteX273" fmla="*/ 927810 w 928475"/>
                  <a:gd name="connsiteY273" fmla="*/ 210019 h 762315"/>
                  <a:gd name="connsiteX274" fmla="*/ 927146 w 928475"/>
                  <a:gd name="connsiteY274" fmla="*/ 235939 h 762315"/>
                  <a:gd name="connsiteX275" fmla="*/ 926481 w 928475"/>
                  <a:gd name="connsiteY275" fmla="*/ 257207 h 762315"/>
                  <a:gd name="connsiteX276" fmla="*/ 925816 w 928475"/>
                  <a:gd name="connsiteY276" fmla="*/ 275816 h 762315"/>
                  <a:gd name="connsiteX277" fmla="*/ 925816 w 928475"/>
                  <a:gd name="connsiteY277" fmla="*/ 360222 h 762315"/>
                  <a:gd name="connsiteX278" fmla="*/ 925816 w 928475"/>
                  <a:gd name="connsiteY278" fmla="*/ 372185 h 762315"/>
                  <a:gd name="connsiteX279" fmla="*/ 925816 w 928475"/>
                  <a:gd name="connsiteY279" fmla="*/ 393453 h 762315"/>
                  <a:gd name="connsiteX280" fmla="*/ 925152 w 928475"/>
                  <a:gd name="connsiteY280" fmla="*/ 413392 h 762315"/>
                  <a:gd name="connsiteX281" fmla="*/ 924487 w 928475"/>
                  <a:gd name="connsiteY281" fmla="*/ 422696 h 762315"/>
                  <a:gd name="connsiteX282" fmla="*/ 923822 w 928475"/>
                  <a:gd name="connsiteY282" fmla="*/ 432001 h 762315"/>
                  <a:gd name="connsiteX283" fmla="*/ 921829 w 928475"/>
                  <a:gd name="connsiteY283" fmla="*/ 441305 h 762315"/>
                  <a:gd name="connsiteX284" fmla="*/ 919835 w 928475"/>
                  <a:gd name="connsiteY284" fmla="*/ 450610 h 762315"/>
                  <a:gd name="connsiteX285" fmla="*/ 915847 w 928475"/>
                  <a:gd name="connsiteY285" fmla="*/ 461909 h 762315"/>
                  <a:gd name="connsiteX286" fmla="*/ 911195 w 928475"/>
                  <a:gd name="connsiteY286" fmla="*/ 472542 h 762315"/>
                  <a:gd name="connsiteX287" fmla="*/ 905213 w 928475"/>
                  <a:gd name="connsiteY287" fmla="*/ 481847 h 762315"/>
                  <a:gd name="connsiteX288" fmla="*/ 897902 w 928475"/>
                  <a:gd name="connsiteY288" fmla="*/ 489822 h 762315"/>
                  <a:gd name="connsiteX289" fmla="*/ 890591 w 928475"/>
                  <a:gd name="connsiteY289" fmla="*/ 497133 h 762315"/>
                  <a:gd name="connsiteX290" fmla="*/ 881287 w 928475"/>
                  <a:gd name="connsiteY290" fmla="*/ 503115 h 762315"/>
                  <a:gd name="connsiteX291" fmla="*/ 871982 w 928475"/>
                  <a:gd name="connsiteY291" fmla="*/ 507767 h 762315"/>
                  <a:gd name="connsiteX292" fmla="*/ 862013 w 928475"/>
                  <a:gd name="connsiteY292" fmla="*/ 511755 h 762315"/>
                  <a:gd name="connsiteX293" fmla="*/ 861348 w 928475"/>
                  <a:gd name="connsiteY293" fmla="*/ 514413 h 762315"/>
                  <a:gd name="connsiteX294" fmla="*/ 860019 w 928475"/>
                  <a:gd name="connsiteY294" fmla="*/ 517072 h 762315"/>
                  <a:gd name="connsiteX295" fmla="*/ 856696 w 928475"/>
                  <a:gd name="connsiteY295" fmla="*/ 523718 h 762315"/>
                  <a:gd name="connsiteX296" fmla="*/ 851379 w 928475"/>
                  <a:gd name="connsiteY296" fmla="*/ 529699 h 762315"/>
                  <a:gd name="connsiteX297" fmla="*/ 846062 w 928475"/>
                  <a:gd name="connsiteY297" fmla="*/ 535681 h 762315"/>
                  <a:gd name="connsiteX298" fmla="*/ 841410 w 928475"/>
                  <a:gd name="connsiteY298" fmla="*/ 539004 h 762315"/>
                  <a:gd name="connsiteX299" fmla="*/ 836757 w 928475"/>
                  <a:gd name="connsiteY299" fmla="*/ 542327 h 762315"/>
                  <a:gd name="connsiteX300" fmla="*/ 831440 w 928475"/>
                  <a:gd name="connsiteY300" fmla="*/ 544321 h 762315"/>
                  <a:gd name="connsiteX301" fmla="*/ 826123 w 928475"/>
                  <a:gd name="connsiteY301" fmla="*/ 546315 h 762315"/>
                  <a:gd name="connsiteX302" fmla="*/ 820806 w 928475"/>
                  <a:gd name="connsiteY302" fmla="*/ 548309 h 762315"/>
                  <a:gd name="connsiteX303" fmla="*/ 814825 w 928475"/>
                  <a:gd name="connsiteY303" fmla="*/ 549638 h 762315"/>
                  <a:gd name="connsiteX304" fmla="*/ 808179 w 928475"/>
                  <a:gd name="connsiteY304" fmla="*/ 550302 h 762315"/>
                  <a:gd name="connsiteX305" fmla="*/ 802197 w 928475"/>
                  <a:gd name="connsiteY305" fmla="*/ 550302 h 762315"/>
                  <a:gd name="connsiteX306" fmla="*/ 791563 w 928475"/>
                  <a:gd name="connsiteY306" fmla="*/ 549638 h 762315"/>
                  <a:gd name="connsiteX307" fmla="*/ 786911 w 928475"/>
                  <a:gd name="connsiteY307" fmla="*/ 549638 h 762315"/>
                  <a:gd name="connsiteX308" fmla="*/ 787575 w 928475"/>
                  <a:gd name="connsiteY308" fmla="*/ 605465 h 762315"/>
                  <a:gd name="connsiteX309" fmla="*/ 787575 w 928475"/>
                  <a:gd name="connsiteY309" fmla="*/ 634044 h 762315"/>
                  <a:gd name="connsiteX310" fmla="*/ 787575 w 928475"/>
                  <a:gd name="connsiteY310" fmla="*/ 658635 h 762315"/>
                  <a:gd name="connsiteX311" fmla="*/ 786911 w 928475"/>
                  <a:gd name="connsiteY311" fmla="*/ 669269 h 762315"/>
                  <a:gd name="connsiteX312" fmla="*/ 785581 w 928475"/>
                  <a:gd name="connsiteY312" fmla="*/ 676579 h 762315"/>
                  <a:gd name="connsiteX313" fmla="*/ 783588 w 928475"/>
                  <a:gd name="connsiteY313" fmla="*/ 683226 h 762315"/>
                  <a:gd name="connsiteX314" fmla="*/ 780265 w 928475"/>
                  <a:gd name="connsiteY314" fmla="*/ 689207 h 762315"/>
                  <a:gd name="connsiteX315" fmla="*/ 775612 w 928475"/>
                  <a:gd name="connsiteY315" fmla="*/ 694524 h 762315"/>
                  <a:gd name="connsiteX316" fmla="*/ 770295 w 928475"/>
                  <a:gd name="connsiteY316" fmla="*/ 698512 h 762315"/>
                  <a:gd name="connsiteX317" fmla="*/ 763649 w 928475"/>
                  <a:gd name="connsiteY317" fmla="*/ 701835 h 762315"/>
                  <a:gd name="connsiteX318" fmla="*/ 757003 w 928475"/>
                  <a:gd name="connsiteY318" fmla="*/ 703829 h 762315"/>
                  <a:gd name="connsiteX319" fmla="*/ 750357 w 928475"/>
                  <a:gd name="connsiteY319" fmla="*/ 705158 h 762315"/>
                  <a:gd name="connsiteX320" fmla="*/ 739723 w 928475"/>
                  <a:gd name="connsiteY320" fmla="*/ 705158 h 762315"/>
                  <a:gd name="connsiteX321" fmla="*/ 738393 w 928475"/>
                  <a:gd name="connsiteY321" fmla="*/ 705158 h 762315"/>
                  <a:gd name="connsiteX322" fmla="*/ 737064 w 928475"/>
                  <a:gd name="connsiteY322" fmla="*/ 707152 h 762315"/>
                  <a:gd name="connsiteX323" fmla="*/ 735735 w 928475"/>
                  <a:gd name="connsiteY323" fmla="*/ 714462 h 762315"/>
                  <a:gd name="connsiteX324" fmla="*/ 731083 w 928475"/>
                  <a:gd name="connsiteY324" fmla="*/ 737724 h 762315"/>
                  <a:gd name="connsiteX325" fmla="*/ 713803 w 928475"/>
                  <a:gd name="connsiteY325" fmla="*/ 750352 h 762315"/>
                  <a:gd name="connsiteX326" fmla="*/ 707821 w 928475"/>
                  <a:gd name="connsiteY326" fmla="*/ 754339 h 762315"/>
                  <a:gd name="connsiteX327" fmla="*/ 701175 w 928475"/>
                  <a:gd name="connsiteY327" fmla="*/ 756998 h 762315"/>
                  <a:gd name="connsiteX328" fmla="*/ 693199 w 928475"/>
                  <a:gd name="connsiteY328" fmla="*/ 759656 h 762315"/>
                  <a:gd name="connsiteX329" fmla="*/ 686553 w 928475"/>
                  <a:gd name="connsiteY329" fmla="*/ 760321 h 762315"/>
                  <a:gd name="connsiteX330" fmla="*/ 632719 w 928475"/>
                  <a:gd name="connsiteY330" fmla="*/ 761650 h 762315"/>
                  <a:gd name="connsiteX331" fmla="*/ 565592 w 928475"/>
                  <a:gd name="connsiteY331" fmla="*/ 762315 h 762315"/>
                  <a:gd name="connsiteX332" fmla="*/ 494478 w 928475"/>
                  <a:gd name="connsiteY332" fmla="*/ 761650 h 762315"/>
                  <a:gd name="connsiteX333" fmla="*/ 421370 w 928475"/>
                  <a:gd name="connsiteY333" fmla="*/ 761650 h 762315"/>
                  <a:gd name="connsiteX334" fmla="*/ 390797 w 928475"/>
                  <a:gd name="connsiteY334" fmla="*/ 761650 h 762315"/>
                  <a:gd name="connsiteX335" fmla="*/ 383486 w 928475"/>
                  <a:gd name="connsiteY335" fmla="*/ 761650 h 762315"/>
                  <a:gd name="connsiteX336" fmla="*/ 375511 w 928475"/>
                  <a:gd name="connsiteY336" fmla="*/ 759656 h 762315"/>
                  <a:gd name="connsiteX337" fmla="*/ 367536 w 928475"/>
                  <a:gd name="connsiteY337" fmla="*/ 756998 h 762315"/>
                  <a:gd name="connsiteX338" fmla="*/ 360225 w 928475"/>
                  <a:gd name="connsiteY338" fmla="*/ 753675 h 762315"/>
                  <a:gd name="connsiteX339" fmla="*/ 352913 w 928475"/>
                  <a:gd name="connsiteY339" fmla="*/ 749022 h 762315"/>
                  <a:gd name="connsiteX340" fmla="*/ 346267 w 928475"/>
                  <a:gd name="connsiteY340" fmla="*/ 744370 h 762315"/>
                  <a:gd name="connsiteX341" fmla="*/ 340285 w 928475"/>
                  <a:gd name="connsiteY341" fmla="*/ 739053 h 762315"/>
                  <a:gd name="connsiteX342" fmla="*/ 335633 w 928475"/>
                  <a:gd name="connsiteY342" fmla="*/ 733072 h 762315"/>
                  <a:gd name="connsiteX343" fmla="*/ 334968 w 928475"/>
                  <a:gd name="connsiteY343" fmla="*/ 731078 h 762315"/>
                  <a:gd name="connsiteX344" fmla="*/ 332974 w 928475"/>
                  <a:gd name="connsiteY344" fmla="*/ 725761 h 762315"/>
                  <a:gd name="connsiteX345" fmla="*/ 332310 w 928475"/>
                  <a:gd name="connsiteY345" fmla="*/ 722438 h 762315"/>
                  <a:gd name="connsiteX346" fmla="*/ 331645 w 928475"/>
                  <a:gd name="connsiteY346" fmla="*/ 717786 h 762315"/>
                  <a:gd name="connsiteX347" fmla="*/ 332310 w 928475"/>
                  <a:gd name="connsiteY347" fmla="*/ 711804 h 762315"/>
                  <a:gd name="connsiteX348" fmla="*/ 332974 w 928475"/>
                  <a:gd name="connsiteY348" fmla="*/ 705158 h 762315"/>
                  <a:gd name="connsiteX349" fmla="*/ 332974 w 928475"/>
                  <a:gd name="connsiteY349" fmla="*/ 704493 h 762315"/>
                  <a:gd name="connsiteX350" fmla="*/ 332974 w 928475"/>
                  <a:gd name="connsiteY350" fmla="*/ 703164 h 762315"/>
                  <a:gd name="connsiteX351" fmla="*/ 332310 w 928475"/>
                  <a:gd name="connsiteY351" fmla="*/ 702499 h 762315"/>
                  <a:gd name="connsiteX352" fmla="*/ 331645 w 928475"/>
                  <a:gd name="connsiteY352" fmla="*/ 702499 h 762315"/>
                  <a:gd name="connsiteX353" fmla="*/ 320347 w 928475"/>
                  <a:gd name="connsiteY353" fmla="*/ 702499 h 762315"/>
                  <a:gd name="connsiteX354" fmla="*/ 313036 w 928475"/>
                  <a:gd name="connsiteY354" fmla="*/ 701835 h 762315"/>
                  <a:gd name="connsiteX355" fmla="*/ 306390 w 928475"/>
                  <a:gd name="connsiteY355" fmla="*/ 699841 h 762315"/>
                  <a:gd name="connsiteX356" fmla="*/ 300408 w 928475"/>
                  <a:gd name="connsiteY356" fmla="*/ 696518 h 762315"/>
                  <a:gd name="connsiteX357" fmla="*/ 295091 w 928475"/>
                  <a:gd name="connsiteY357" fmla="*/ 691866 h 762315"/>
                  <a:gd name="connsiteX358" fmla="*/ 290439 w 928475"/>
                  <a:gd name="connsiteY358" fmla="*/ 686549 h 762315"/>
                  <a:gd name="connsiteX359" fmla="*/ 287116 w 928475"/>
                  <a:gd name="connsiteY359" fmla="*/ 680567 h 762315"/>
                  <a:gd name="connsiteX360" fmla="*/ 285122 w 928475"/>
                  <a:gd name="connsiteY360" fmla="*/ 673921 h 762315"/>
                  <a:gd name="connsiteX361" fmla="*/ 283792 w 928475"/>
                  <a:gd name="connsiteY361" fmla="*/ 667275 h 762315"/>
                  <a:gd name="connsiteX362" fmla="*/ 283792 w 928475"/>
                  <a:gd name="connsiteY362" fmla="*/ 655976 h 762315"/>
                  <a:gd name="connsiteX363" fmla="*/ 283128 w 928475"/>
                  <a:gd name="connsiteY363" fmla="*/ 632050 h 762315"/>
                  <a:gd name="connsiteX364" fmla="*/ 283128 w 928475"/>
                  <a:gd name="connsiteY364" fmla="*/ 604136 h 762315"/>
                  <a:gd name="connsiteX365" fmla="*/ 283792 w 928475"/>
                  <a:gd name="connsiteY365" fmla="*/ 549638 h 762315"/>
                  <a:gd name="connsiteX366" fmla="*/ 283128 w 928475"/>
                  <a:gd name="connsiteY366" fmla="*/ 549638 h 762315"/>
                  <a:gd name="connsiteX367" fmla="*/ 277146 w 928475"/>
                  <a:gd name="connsiteY367" fmla="*/ 550302 h 762315"/>
                  <a:gd name="connsiteX368" fmla="*/ 271829 w 928475"/>
                  <a:gd name="connsiteY368" fmla="*/ 549638 h 762315"/>
                  <a:gd name="connsiteX369" fmla="*/ 270500 w 928475"/>
                  <a:gd name="connsiteY369" fmla="*/ 549638 h 762315"/>
                  <a:gd name="connsiteX370" fmla="*/ 264519 w 928475"/>
                  <a:gd name="connsiteY370" fmla="*/ 548973 h 762315"/>
                  <a:gd name="connsiteX371" fmla="*/ 258537 w 928475"/>
                  <a:gd name="connsiteY371" fmla="*/ 547644 h 762315"/>
                  <a:gd name="connsiteX372" fmla="*/ 253220 w 928475"/>
                  <a:gd name="connsiteY372" fmla="*/ 546315 h 762315"/>
                  <a:gd name="connsiteX373" fmla="*/ 247903 w 928475"/>
                  <a:gd name="connsiteY373" fmla="*/ 544321 h 762315"/>
                  <a:gd name="connsiteX374" fmla="*/ 242586 w 928475"/>
                  <a:gd name="connsiteY374" fmla="*/ 541662 h 762315"/>
                  <a:gd name="connsiteX375" fmla="*/ 237934 w 928475"/>
                  <a:gd name="connsiteY375" fmla="*/ 538339 h 762315"/>
                  <a:gd name="connsiteX376" fmla="*/ 233946 w 928475"/>
                  <a:gd name="connsiteY376" fmla="*/ 535016 h 762315"/>
                  <a:gd name="connsiteX377" fmla="*/ 229958 w 928475"/>
                  <a:gd name="connsiteY377" fmla="*/ 531029 h 762315"/>
                  <a:gd name="connsiteX378" fmla="*/ 227300 w 928475"/>
                  <a:gd name="connsiteY378" fmla="*/ 527705 h 762315"/>
                  <a:gd name="connsiteX379" fmla="*/ 225306 w 928475"/>
                  <a:gd name="connsiteY379" fmla="*/ 524382 h 762315"/>
                  <a:gd name="connsiteX380" fmla="*/ 221318 w 928475"/>
                  <a:gd name="connsiteY380" fmla="*/ 515742 h 762315"/>
                  <a:gd name="connsiteX381" fmla="*/ 218660 w 928475"/>
                  <a:gd name="connsiteY381" fmla="*/ 507102 h 762315"/>
                  <a:gd name="connsiteX382" fmla="*/ 217995 w 928475"/>
                  <a:gd name="connsiteY382" fmla="*/ 503115 h 762315"/>
                  <a:gd name="connsiteX383" fmla="*/ 217995 w 928475"/>
                  <a:gd name="connsiteY383" fmla="*/ 499127 h 762315"/>
                  <a:gd name="connsiteX384" fmla="*/ 217330 w 928475"/>
                  <a:gd name="connsiteY384" fmla="*/ 489822 h 762315"/>
                  <a:gd name="connsiteX385" fmla="*/ 217330 w 928475"/>
                  <a:gd name="connsiteY385" fmla="*/ 485835 h 762315"/>
                  <a:gd name="connsiteX386" fmla="*/ 216001 w 928475"/>
                  <a:gd name="connsiteY386" fmla="*/ 481847 h 762315"/>
                  <a:gd name="connsiteX387" fmla="*/ 214672 w 928475"/>
                  <a:gd name="connsiteY387" fmla="*/ 478524 h 762315"/>
                  <a:gd name="connsiteX388" fmla="*/ 212014 w 928475"/>
                  <a:gd name="connsiteY388" fmla="*/ 475865 h 762315"/>
                  <a:gd name="connsiteX389" fmla="*/ 209355 w 928475"/>
                  <a:gd name="connsiteY389" fmla="*/ 473207 h 762315"/>
                  <a:gd name="connsiteX390" fmla="*/ 206032 w 928475"/>
                  <a:gd name="connsiteY390" fmla="*/ 471878 h 762315"/>
                  <a:gd name="connsiteX391" fmla="*/ 202709 w 928475"/>
                  <a:gd name="connsiteY391" fmla="*/ 470549 h 762315"/>
                  <a:gd name="connsiteX392" fmla="*/ 198721 w 928475"/>
                  <a:gd name="connsiteY392" fmla="*/ 470549 h 762315"/>
                  <a:gd name="connsiteX393" fmla="*/ 186758 w 928475"/>
                  <a:gd name="connsiteY393" fmla="*/ 470549 h 762315"/>
                  <a:gd name="connsiteX394" fmla="*/ 160838 w 928475"/>
                  <a:gd name="connsiteY394" fmla="*/ 470549 h 762315"/>
                  <a:gd name="connsiteX395" fmla="*/ 123619 w 928475"/>
                  <a:gd name="connsiteY395" fmla="*/ 470549 h 762315"/>
                  <a:gd name="connsiteX396" fmla="*/ 107668 w 928475"/>
                  <a:gd name="connsiteY396" fmla="*/ 470549 h 762315"/>
                  <a:gd name="connsiteX397" fmla="*/ 104345 w 928475"/>
                  <a:gd name="connsiteY397" fmla="*/ 470549 h 762315"/>
                  <a:gd name="connsiteX398" fmla="*/ 101022 w 928475"/>
                  <a:gd name="connsiteY398" fmla="*/ 469884 h 762315"/>
                  <a:gd name="connsiteX399" fmla="*/ 97699 w 928475"/>
                  <a:gd name="connsiteY399" fmla="*/ 468555 h 762315"/>
                  <a:gd name="connsiteX400" fmla="*/ 94376 w 928475"/>
                  <a:gd name="connsiteY400" fmla="*/ 467225 h 762315"/>
                  <a:gd name="connsiteX401" fmla="*/ 88394 w 928475"/>
                  <a:gd name="connsiteY401" fmla="*/ 462573 h 762315"/>
                  <a:gd name="connsiteX402" fmla="*/ 83077 w 928475"/>
                  <a:gd name="connsiteY402" fmla="*/ 457921 h 762315"/>
                  <a:gd name="connsiteX403" fmla="*/ 78425 w 928475"/>
                  <a:gd name="connsiteY403" fmla="*/ 451939 h 762315"/>
                  <a:gd name="connsiteX404" fmla="*/ 75102 w 928475"/>
                  <a:gd name="connsiteY404" fmla="*/ 445958 h 762315"/>
                  <a:gd name="connsiteX405" fmla="*/ 73108 w 928475"/>
                  <a:gd name="connsiteY405" fmla="*/ 441305 h 762315"/>
                  <a:gd name="connsiteX406" fmla="*/ 72443 w 928475"/>
                  <a:gd name="connsiteY406" fmla="*/ 436653 h 762315"/>
                  <a:gd name="connsiteX407" fmla="*/ 71779 w 928475"/>
                  <a:gd name="connsiteY407" fmla="*/ 432665 h 762315"/>
                  <a:gd name="connsiteX408" fmla="*/ 69785 w 928475"/>
                  <a:gd name="connsiteY408" fmla="*/ 428678 h 762315"/>
                  <a:gd name="connsiteX409" fmla="*/ 67126 w 928475"/>
                  <a:gd name="connsiteY409" fmla="*/ 424025 h 762315"/>
                  <a:gd name="connsiteX410" fmla="*/ 63139 w 928475"/>
                  <a:gd name="connsiteY410" fmla="*/ 420038 h 762315"/>
                  <a:gd name="connsiteX411" fmla="*/ 58486 w 928475"/>
                  <a:gd name="connsiteY411" fmla="*/ 415385 h 762315"/>
                  <a:gd name="connsiteX412" fmla="*/ 53169 w 928475"/>
                  <a:gd name="connsiteY412" fmla="*/ 411398 h 762315"/>
                  <a:gd name="connsiteX413" fmla="*/ 47188 w 928475"/>
                  <a:gd name="connsiteY413" fmla="*/ 407410 h 762315"/>
                  <a:gd name="connsiteX414" fmla="*/ 40542 w 928475"/>
                  <a:gd name="connsiteY414" fmla="*/ 404087 h 762315"/>
                  <a:gd name="connsiteX415" fmla="*/ 36554 w 928475"/>
                  <a:gd name="connsiteY415" fmla="*/ 401429 h 762315"/>
                  <a:gd name="connsiteX416" fmla="*/ 31902 w 928475"/>
                  <a:gd name="connsiteY416" fmla="*/ 398105 h 762315"/>
                  <a:gd name="connsiteX417" fmla="*/ 26585 w 928475"/>
                  <a:gd name="connsiteY417" fmla="*/ 393453 h 762315"/>
                  <a:gd name="connsiteX418" fmla="*/ 20603 w 928475"/>
                  <a:gd name="connsiteY418" fmla="*/ 387472 h 762315"/>
                  <a:gd name="connsiteX419" fmla="*/ 14621 w 928475"/>
                  <a:gd name="connsiteY419" fmla="*/ 380161 h 762315"/>
                  <a:gd name="connsiteX420" fmla="*/ 9305 w 928475"/>
                  <a:gd name="connsiteY420" fmla="*/ 370856 h 762315"/>
                  <a:gd name="connsiteX421" fmla="*/ 7311 w 928475"/>
                  <a:gd name="connsiteY421" fmla="*/ 365539 h 762315"/>
                  <a:gd name="connsiteX422" fmla="*/ 5317 w 928475"/>
                  <a:gd name="connsiteY422" fmla="*/ 360222 h 762315"/>
                  <a:gd name="connsiteX423" fmla="*/ 2658 w 928475"/>
                  <a:gd name="connsiteY423" fmla="*/ 351582 h 762315"/>
                  <a:gd name="connsiteX424" fmla="*/ 1329 w 928475"/>
                  <a:gd name="connsiteY424" fmla="*/ 342278 h 762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Lst>
                <a:rect l="l" t="t" r="r" b="b"/>
                <a:pathLst>
                  <a:path w="928475" h="762315">
                    <a:moveTo>
                      <a:pt x="840077" y="467226"/>
                    </a:moveTo>
                    <a:lnTo>
                      <a:pt x="847388" y="465897"/>
                    </a:lnTo>
                    <a:lnTo>
                      <a:pt x="853369" y="463903"/>
                    </a:lnTo>
                    <a:lnTo>
                      <a:pt x="858686" y="460580"/>
                    </a:lnTo>
                    <a:lnTo>
                      <a:pt x="863339" y="456592"/>
                    </a:lnTo>
                    <a:lnTo>
                      <a:pt x="867326" y="451940"/>
                    </a:lnTo>
                    <a:lnTo>
                      <a:pt x="870649" y="446623"/>
                    </a:lnTo>
                    <a:lnTo>
                      <a:pt x="872643" y="439977"/>
                    </a:lnTo>
                    <a:lnTo>
                      <a:pt x="874637" y="433330"/>
                    </a:lnTo>
                    <a:lnTo>
                      <a:pt x="875966" y="425355"/>
                    </a:lnTo>
                    <a:lnTo>
                      <a:pt x="877296" y="417380"/>
                    </a:lnTo>
                    <a:lnTo>
                      <a:pt x="877960" y="399435"/>
                    </a:lnTo>
                    <a:lnTo>
                      <a:pt x="877960" y="380161"/>
                    </a:lnTo>
                    <a:lnTo>
                      <a:pt x="877960" y="360223"/>
                    </a:lnTo>
                    <a:lnTo>
                      <a:pt x="877960" y="275817"/>
                    </a:lnTo>
                    <a:lnTo>
                      <a:pt x="878625" y="247903"/>
                    </a:lnTo>
                    <a:lnTo>
                      <a:pt x="879954" y="217995"/>
                    </a:lnTo>
                    <a:lnTo>
                      <a:pt x="880619" y="187423"/>
                    </a:lnTo>
                    <a:lnTo>
                      <a:pt x="880619" y="172137"/>
                    </a:lnTo>
                    <a:lnTo>
                      <a:pt x="879954" y="157515"/>
                    </a:lnTo>
                    <a:lnTo>
                      <a:pt x="878625" y="143558"/>
                    </a:lnTo>
                    <a:lnTo>
                      <a:pt x="876631" y="130931"/>
                    </a:lnTo>
                    <a:lnTo>
                      <a:pt x="873308" y="118968"/>
                    </a:lnTo>
                    <a:lnTo>
                      <a:pt x="871314" y="113651"/>
                    </a:lnTo>
                    <a:lnTo>
                      <a:pt x="869320" y="108334"/>
                    </a:lnTo>
                    <a:lnTo>
                      <a:pt x="866662" y="103682"/>
                    </a:lnTo>
                    <a:lnTo>
                      <a:pt x="864003" y="99693"/>
                    </a:lnTo>
                    <a:lnTo>
                      <a:pt x="860680" y="95705"/>
                    </a:lnTo>
                    <a:lnTo>
                      <a:pt x="857357" y="92382"/>
                    </a:lnTo>
                    <a:lnTo>
                      <a:pt x="853369" y="89724"/>
                    </a:lnTo>
                    <a:lnTo>
                      <a:pt x="849381" y="87065"/>
                    </a:lnTo>
                    <a:lnTo>
                      <a:pt x="844729" y="85071"/>
                    </a:lnTo>
                    <a:lnTo>
                      <a:pt x="840077" y="84407"/>
                    </a:lnTo>
                    <a:close/>
                    <a:moveTo>
                      <a:pt x="779597" y="501786"/>
                    </a:moveTo>
                    <a:lnTo>
                      <a:pt x="784250" y="501786"/>
                    </a:lnTo>
                    <a:lnTo>
                      <a:pt x="788902" y="501786"/>
                    </a:lnTo>
                    <a:lnTo>
                      <a:pt x="798871" y="502450"/>
                    </a:lnTo>
                    <a:lnTo>
                      <a:pt x="803523" y="502450"/>
                    </a:lnTo>
                    <a:lnTo>
                      <a:pt x="807511" y="501786"/>
                    </a:lnTo>
                    <a:lnTo>
                      <a:pt x="812163" y="501121"/>
                    </a:lnTo>
                    <a:lnTo>
                      <a:pt x="815486" y="499127"/>
                    </a:lnTo>
                    <a:lnTo>
                      <a:pt x="816151" y="489158"/>
                    </a:lnTo>
                    <a:lnTo>
                      <a:pt x="816816" y="476530"/>
                    </a:lnTo>
                    <a:lnTo>
                      <a:pt x="817480" y="447952"/>
                    </a:lnTo>
                    <a:lnTo>
                      <a:pt x="817480" y="388801"/>
                    </a:lnTo>
                    <a:lnTo>
                      <a:pt x="817480" y="217331"/>
                    </a:lnTo>
                    <a:lnTo>
                      <a:pt x="816816" y="133589"/>
                    </a:lnTo>
                    <a:lnTo>
                      <a:pt x="816151" y="53834"/>
                    </a:lnTo>
                    <a:lnTo>
                      <a:pt x="812828" y="51840"/>
                    </a:lnTo>
                    <a:lnTo>
                      <a:pt x="808176" y="50511"/>
                    </a:lnTo>
                    <a:lnTo>
                      <a:pt x="804188" y="50511"/>
                    </a:lnTo>
                    <a:lnTo>
                      <a:pt x="798871" y="50511"/>
                    </a:lnTo>
                    <a:lnTo>
                      <a:pt x="788902" y="50511"/>
                    </a:lnTo>
                    <a:lnTo>
                      <a:pt x="784250" y="51176"/>
                    </a:lnTo>
                    <a:lnTo>
                      <a:pt x="779597" y="50511"/>
                    </a:lnTo>
                    <a:close/>
                    <a:moveTo>
                      <a:pt x="380161" y="713798"/>
                    </a:moveTo>
                    <a:lnTo>
                      <a:pt x="454599" y="713798"/>
                    </a:lnTo>
                    <a:lnTo>
                      <a:pt x="533024" y="713798"/>
                    </a:lnTo>
                    <a:lnTo>
                      <a:pt x="610784" y="713798"/>
                    </a:lnTo>
                    <a:lnTo>
                      <a:pt x="648667" y="713798"/>
                    </a:lnTo>
                    <a:lnTo>
                      <a:pt x="685222" y="712469"/>
                    </a:lnTo>
                    <a:lnTo>
                      <a:pt x="687215" y="709811"/>
                    </a:lnTo>
                    <a:lnTo>
                      <a:pt x="688545" y="706487"/>
                    </a:lnTo>
                    <a:lnTo>
                      <a:pt x="689209" y="701835"/>
                    </a:lnTo>
                    <a:lnTo>
                      <a:pt x="689209" y="697183"/>
                    </a:lnTo>
                    <a:lnTo>
                      <a:pt x="689209" y="686549"/>
                    </a:lnTo>
                    <a:lnTo>
                      <a:pt x="689209" y="675915"/>
                    </a:lnTo>
                    <a:lnTo>
                      <a:pt x="380826" y="675915"/>
                    </a:lnTo>
                    <a:lnTo>
                      <a:pt x="380826" y="686549"/>
                    </a:lnTo>
                    <a:lnTo>
                      <a:pt x="380826" y="695854"/>
                    </a:lnTo>
                    <a:lnTo>
                      <a:pt x="380826" y="704494"/>
                    </a:lnTo>
                    <a:close/>
                    <a:moveTo>
                      <a:pt x="359518" y="138139"/>
                    </a:moveTo>
                    <a:cubicBezTo>
                      <a:pt x="359518" y="117315"/>
                      <a:pt x="385312" y="100436"/>
                      <a:pt x="417123" y="100436"/>
                    </a:cubicBezTo>
                    <a:lnTo>
                      <a:pt x="659974" y="100436"/>
                    </a:lnTo>
                    <a:cubicBezTo>
                      <a:pt x="691785" y="100436"/>
                      <a:pt x="717578" y="117315"/>
                      <a:pt x="717578" y="138139"/>
                    </a:cubicBezTo>
                    <a:cubicBezTo>
                      <a:pt x="717578" y="158962"/>
                      <a:pt x="691785" y="175841"/>
                      <a:pt x="659974" y="175841"/>
                    </a:cubicBezTo>
                    <a:lnTo>
                      <a:pt x="417123" y="175841"/>
                    </a:lnTo>
                    <a:cubicBezTo>
                      <a:pt x="385312" y="175841"/>
                      <a:pt x="359518" y="158962"/>
                      <a:pt x="359518" y="138139"/>
                    </a:cubicBezTo>
                    <a:close/>
                    <a:moveTo>
                      <a:pt x="359517" y="275097"/>
                    </a:moveTo>
                    <a:cubicBezTo>
                      <a:pt x="359517" y="254273"/>
                      <a:pt x="385311" y="237394"/>
                      <a:pt x="417122" y="237394"/>
                    </a:cubicBezTo>
                    <a:lnTo>
                      <a:pt x="659973" y="237394"/>
                    </a:lnTo>
                    <a:cubicBezTo>
                      <a:pt x="691784" y="237394"/>
                      <a:pt x="717577" y="254273"/>
                      <a:pt x="717577" y="275097"/>
                    </a:cubicBezTo>
                    <a:cubicBezTo>
                      <a:pt x="717577" y="295920"/>
                      <a:pt x="691784" y="312799"/>
                      <a:pt x="659973" y="312799"/>
                    </a:cubicBezTo>
                    <a:lnTo>
                      <a:pt x="417122" y="312799"/>
                    </a:lnTo>
                    <a:cubicBezTo>
                      <a:pt x="385311" y="312799"/>
                      <a:pt x="359517" y="295920"/>
                      <a:pt x="359517" y="275097"/>
                    </a:cubicBezTo>
                    <a:close/>
                    <a:moveTo>
                      <a:pt x="359516" y="412055"/>
                    </a:moveTo>
                    <a:cubicBezTo>
                      <a:pt x="359516" y="391231"/>
                      <a:pt x="385310" y="374352"/>
                      <a:pt x="417121" y="374352"/>
                    </a:cubicBezTo>
                    <a:lnTo>
                      <a:pt x="659972" y="374352"/>
                    </a:lnTo>
                    <a:cubicBezTo>
                      <a:pt x="691783" y="374352"/>
                      <a:pt x="717576" y="391231"/>
                      <a:pt x="717576" y="412055"/>
                    </a:cubicBezTo>
                    <a:cubicBezTo>
                      <a:pt x="717576" y="432878"/>
                      <a:pt x="691783" y="449757"/>
                      <a:pt x="659972" y="449757"/>
                    </a:cubicBezTo>
                    <a:lnTo>
                      <a:pt x="417121" y="449757"/>
                    </a:lnTo>
                    <a:cubicBezTo>
                      <a:pt x="385310" y="449757"/>
                      <a:pt x="359516" y="432878"/>
                      <a:pt x="359516" y="412055"/>
                    </a:cubicBezTo>
                    <a:close/>
                    <a:moveTo>
                      <a:pt x="330979" y="618093"/>
                    </a:moveTo>
                    <a:lnTo>
                      <a:pt x="331643" y="654647"/>
                    </a:lnTo>
                    <a:lnTo>
                      <a:pt x="431337" y="654647"/>
                    </a:lnTo>
                    <a:lnTo>
                      <a:pt x="535682" y="655977"/>
                    </a:lnTo>
                    <a:lnTo>
                      <a:pt x="640027" y="656641"/>
                    </a:lnTo>
                    <a:lnTo>
                      <a:pt x="739720" y="657306"/>
                    </a:lnTo>
                    <a:lnTo>
                      <a:pt x="739720" y="640026"/>
                    </a:lnTo>
                    <a:lnTo>
                      <a:pt x="739720" y="619423"/>
                    </a:lnTo>
                    <a:lnTo>
                      <a:pt x="739055" y="576223"/>
                    </a:lnTo>
                    <a:lnTo>
                      <a:pt x="737726" y="525712"/>
                    </a:lnTo>
                    <a:lnTo>
                      <a:pt x="332308" y="525712"/>
                    </a:lnTo>
                    <a:lnTo>
                      <a:pt x="331643" y="575558"/>
                    </a:lnTo>
                    <a:close/>
                    <a:moveTo>
                      <a:pt x="312010" y="508368"/>
                    </a:moveTo>
                    <a:lnTo>
                      <a:pt x="748776" y="508368"/>
                    </a:lnTo>
                    <a:lnTo>
                      <a:pt x="748776" y="50511"/>
                    </a:lnTo>
                    <a:lnTo>
                      <a:pt x="312010" y="50511"/>
                    </a:lnTo>
                    <a:close/>
                    <a:moveTo>
                      <a:pt x="263852" y="275817"/>
                    </a:moveTo>
                    <a:lnTo>
                      <a:pt x="264516" y="388802"/>
                    </a:lnTo>
                    <a:lnTo>
                      <a:pt x="265846" y="499128"/>
                    </a:lnTo>
                    <a:lnTo>
                      <a:pt x="267839" y="500457"/>
                    </a:lnTo>
                    <a:lnTo>
                      <a:pt x="270498" y="501786"/>
                    </a:lnTo>
                    <a:lnTo>
                      <a:pt x="273156" y="501786"/>
                    </a:lnTo>
                    <a:lnTo>
                      <a:pt x="276480" y="502451"/>
                    </a:lnTo>
                    <a:lnTo>
                      <a:pt x="283790" y="501786"/>
                    </a:lnTo>
                    <a:lnTo>
                      <a:pt x="290437" y="501786"/>
                    </a:lnTo>
                    <a:lnTo>
                      <a:pt x="291101" y="501786"/>
                    </a:lnTo>
                    <a:lnTo>
                      <a:pt x="291766" y="500457"/>
                    </a:lnTo>
                    <a:lnTo>
                      <a:pt x="291766" y="497134"/>
                    </a:lnTo>
                    <a:lnTo>
                      <a:pt x="291766" y="50512"/>
                    </a:lnTo>
                    <a:lnTo>
                      <a:pt x="285120" y="50512"/>
                    </a:lnTo>
                    <a:lnTo>
                      <a:pt x="277809" y="50512"/>
                    </a:lnTo>
                    <a:lnTo>
                      <a:pt x="274486" y="50512"/>
                    </a:lnTo>
                    <a:lnTo>
                      <a:pt x="271163" y="51176"/>
                    </a:lnTo>
                    <a:lnTo>
                      <a:pt x="268504" y="51841"/>
                    </a:lnTo>
                    <a:lnTo>
                      <a:pt x="266510" y="53835"/>
                    </a:lnTo>
                    <a:lnTo>
                      <a:pt x="265181" y="107670"/>
                    </a:lnTo>
                    <a:lnTo>
                      <a:pt x="264516" y="163497"/>
                    </a:lnTo>
                    <a:lnTo>
                      <a:pt x="263852" y="219325"/>
                    </a:lnTo>
                    <a:close/>
                    <a:moveTo>
                      <a:pt x="120295" y="422697"/>
                    </a:moveTo>
                    <a:lnTo>
                      <a:pt x="147544" y="422032"/>
                    </a:lnTo>
                    <a:lnTo>
                      <a:pt x="176788" y="422697"/>
                    </a:lnTo>
                    <a:lnTo>
                      <a:pt x="204037" y="422697"/>
                    </a:lnTo>
                    <a:lnTo>
                      <a:pt x="216000" y="422032"/>
                    </a:lnTo>
                    <a:lnTo>
                      <a:pt x="225970" y="420703"/>
                    </a:lnTo>
                    <a:lnTo>
                      <a:pt x="227963" y="417380"/>
                    </a:lnTo>
                    <a:lnTo>
                      <a:pt x="229293" y="414057"/>
                    </a:lnTo>
                    <a:lnTo>
                      <a:pt x="231287" y="406081"/>
                    </a:lnTo>
                    <a:lnTo>
                      <a:pt x="231951" y="396777"/>
                    </a:lnTo>
                    <a:lnTo>
                      <a:pt x="232616" y="387472"/>
                    </a:lnTo>
                    <a:lnTo>
                      <a:pt x="231951" y="367534"/>
                    </a:lnTo>
                    <a:lnTo>
                      <a:pt x="231951" y="348924"/>
                    </a:lnTo>
                    <a:lnTo>
                      <a:pt x="231951" y="237934"/>
                    </a:lnTo>
                    <a:lnTo>
                      <a:pt x="231287" y="184100"/>
                    </a:lnTo>
                    <a:lnTo>
                      <a:pt x="230622" y="158180"/>
                    </a:lnTo>
                    <a:lnTo>
                      <a:pt x="228628" y="132260"/>
                    </a:lnTo>
                    <a:lnTo>
                      <a:pt x="217994" y="130930"/>
                    </a:lnTo>
                    <a:lnTo>
                      <a:pt x="206031" y="130266"/>
                    </a:lnTo>
                    <a:lnTo>
                      <a:pt x="178117" y="130266"/>
                    </a:lnTo>
                    <a:lnTo>
                      <a:pt x="148209" y="130266"/>
                    </a:lnTo>
                    <a:lnTo>
                      <a:pt x="120295" y="130266"/>
                    </a:lnTo>
                    <a:close/>
                    <a:moveTo>
                      <a:pt x="47851" y="328322"/>
                    </a:moveTo>
                    <a:lnTo>
                      <a:pt x="48515" y="335632"/>
                    </a:lnTo>
                    <a:lnTo>
                      <a:pt x="49845" y="342278"/>
                    </a:lnTo>
                    <a:lnTo>
                      <a:pt x="51839" y="348925"/>
                    </a:lnTo>
                    <a:lnTo>
                      <a:pt x="55162" y="355571"/>
                    </a:lnTo>
                    <a:lnTo>
                      <a:pt x="59149" y="360888"/>
                    </a:lnTo>
                    <a:lnTo>
                      <a:pt x="64466" y="365540"/>
                    </a:lnTo>
                    <a:lnTo>
                      <a:pt x="71113" y="368863"/>
                    </a:lnTo>
                    <a:lnTo>
                      <a:pt x="79088" y="371522"/>
                    </a:lnTo>
                    <a:lnTo>
                      <a:pt x="88393" y="372851"/>
                    </a:lnTo>
                    <a:lnTo>
                      <a:pt x="88393" y="178119"/>
                    </a:lnTo>
                    <a:lnTo>
                      <a:pt x="81082" y="178783"/>
                    </a:lnTo>
                    <a:lnTo>
                      <a:pt x="74436" y="179448"/>
                    </a:lnTo>
                    <a:lnTo>
                      <a:pt x="69119" y="181442"/>
                    </a:lnTo>
                    <a:lnTo>
                      <a:pt x="64466" y="183436"/>
                    </a:lnTo>
                    <a:lnTo>
                      <a:pt x="61143" y="185430"/>
                    </a:lnTo>
                    <a:lnTo>
                      <a:pt x="57820" y="188753"/>
                    </a:lnTo>
                    <a:lnTo>
                      <a:pt x="55162" y="191411"/>
                    </a:lnTo>
                    <a:lnTo>
                      <a:pt x="53832" y="195399"/>
                    </a:lnTo>
                    <a:lnTo>
                      <a:pt x="51839" y="199386"/>
                    </a:lnTo>
                    <a:lnTo>
                      <a:pt x="51174" y="203374"/>
                    </a:lnTo>
                    <a:lnTo>
                      <a:pt x="50509" y="212679"/>
                    </a:lnTo>
                    <a:lnTo>
                      <a:pt x="49845" y="221983"/>
                    </a:lnTo>
                    <a:lnTo>
                      <a:pt x="49845" y="232617"/>
                    </a:lnTo>
                    <a:lnTo>
                      <a:pt x="49845" y="275817"/>
                    </a:lnTo>
                    <a:lnTo>
                      <a:pt x="49845" y="289774"/>
                    </a:lnTo>
                    <a:lnTo>
                      <a:pt x="48515" y="305060"/>
                    </a:lnTo>
                    <a:lnTo>
                      <a:pt x="47851" y="320346"/>
                    </a:lnTo>
                    <a:close/>
                    <a:moveTo>
                      <a:pt x="0" y="333638"/>
                    </a:moveTo>
                    <a:lnTo>
                      <a:pt x="0" y="324998"/>
                    </a:lnTo>
                    <a:lnTo>
                      <a:pt x="0" y="308382"/>
                    </a:lnTo>
                    <a:lnTo>
                      <a:pt x="1329" y="292432"/>
                    </a:lnTo>
                    <a:lnTo>
                      <a:pt x="1994" y="283127"/>
                    </a:lnTo>
                    <a:lnTo>
                      <a:pt x="1994" y="275816"/>
                    </a:lnTo>
                    <a:lnTo>
                      <a:pt x="1994" y="232616"/>
                    </a:lnTo>
                    <a:lnTo>
                      <a:pt x="1994" y="226635"/>
                    </a:lnTo>
                    <a:lnTo>
                      <a:pt x="1994" y="213342"/>
                    </a:lnTo>
                    <a:lnTo>
                      <a:pt x="2658" y="206696"/>
                    </a:lnTo>
                    <a:lnTo>
                      <a:pt x="3323" y="199385"/>
                    </a:lnTo>
                    <a:lnTo>
                      <a:pt x="4652" y="192075"/>
                    </a:lnTo>
                    <a:lnTo>
                      <a:pt x="6646" y="184764"/>
                    </a:lnTo>
                    <a:lnTo>
                      <a:pt x="9305" y="177453"/>
                    </a:lnTo>
                    <a:lnTo>
                      <a:pt x="12628" y="170142"/>
                    </a:lnTo>
                    <a:lnTo>
                      <a:pt x="15951" y="164161"/>
                    </a:lnTo>
                    <a:lnTo>
                      <a:pt x="20603" y="158179"/>
                    </a:lnTo>
                    <a:lnTo>
                      <a:pt x="25920" y="152198"/>
                    </a:lnTo>
                    <a:lnTo>
                      <a:pt x="32566" y="146881"/>
                    </a:lnTo>
                    <a:lnTo>
                      <a:pt x="40542" y="141564"/>
                    </a:lnTo>
                    <a:lnTo>
                      <a:pt x="49846" y="137576"/>
                    </a:lnTo>
                    <a:lnTo>
                      <a:pt x="60480" y="133589"/>
                    </a:lnTo>
                    <a:lnTo>
                      <a:pt x="72443" y="131595"/>
                    </a:lnTo>
                    <a:lnTo>
                      <a:pt x="73108" y="128936"/>
                    </a:lnTo>
                    <a:lnTo>
                      <a:pt x="73108" y="123619"/>
                    </a:lnTo>
                    <a:lnTo>
                      <a:pt x="73108" y="116308"/>
                    </a:lnTo>
                    <a:lnTo>
                      <a:pt x="73773" y="108998"/>
                    </a:lnTo>
                    <a:lnTo>
                      <a:pt x="75767" y="102352"/>
                    </a:lnTo>
                    <a:lnTo>
                      <a:pt x="79090" y="96369"/>
                    </a:lnTo>
                    <a:lnTo>
                      <a:pt x="83077" y="91717"/>
                    </a:lnTo>
                    <a:lnTo>
                      <a:pt x="88394" y="87064"/>
                    </a:lnTo>
                    <a:lnTo>
                      <a:pt x="94376" y="83741"/>
                    </a:lnTo>
                    <a:lnTo>
                      <a:pt x="101022" y="81747"/>
                    </a:lnTo>
                    <a:lnTo>
                      <a:pt x="107668" y="81747"/>
                    </a:lnTo>
                    <a:lnTo>
                      <a:pt x="132924" y="81747"/>
                    </a:lnTo>
                    <a:lnTo>
                      <a:pt x="186758" y="82412"/>
                    </a:lnTo>
                    <a:lnTo>
                      <a:pt x="199386" y="82412"/>
                    </a:lnTo>
                    <a:lnTo>
                      <a:pt x="203373" y="81747"/>
                    </a:lnTo>
                    <a:lnTo>
                      <a:pt x="207361" y="79754"/>
                    </a:lnTo>
                    <a:lnTo>
                      <a:pt x="211349" y="76431"/>
                    </a:lnTo>
                    <a:lnTo>
                      <a:pt x="215337" y="72443"/>
                    </a:lnTo>
                    <a:lnTo>
                      <a:pt x="218660" y="67791"/>
                    </a:lnTo>
                    <a:lnTo>
                      <a:pt x="221983" y="61809"/>
                    </a:lnTo>
                    <a:lnTo>
                      <a:pt x="224641" y="55827"/>
                    </a:lnTo>
                    <a:lnTo>
                      <a:pt x="226635" y="48517"/>
                    </a:lnTo>
                    <a:lnTo>
                      <a:pt x="228629" y="42535"/>
                    </a:lnTo>
                    <a:lnTo>
                      <a:pt x="231952" y="35889"/>
                    </a:lnTo>
                    <a:lnTo>
                      <a:pt x="236604" y="27914"/>
                    </a:lnTo>
                    <a:lnTo>
                      <a:pt x="239928" y="24591"/>
                    </a:lnTo>
                    <a:lnTo>
                      <a:pt x="243251" y="20603"/>
                    </a:lnTo>
                    <a:lnTo>
                      <a:pt x="247238" y="17280"/>
                    </a:lnTo>
                    <a:lnTo>
                      <a:pt x="251891" y="13957"/>
                    </a:lnTo>
                    <a:lnTo>
                      <a:pt x="256543" y="11298"/>
                    </a:lnTo>
                    <a:lnTo>
                      <a:pt x="262525" y="8640"/>
                    </a:lnTo>
                    <a:lnTo>
                      <a:pt x="269171" y="7311"/>
                    </a:lnTo>
                    <a:lnTo>
                      <a:pt x="275817" y="6646"/>
                    </a:lnTo>
                    <a:lnTo>
                      <a:pt x="315694" y="4652"/>
                    </a:lnTo>
                    <a:lnTo>
                      <a:pt x="352913" y="3987"/>
                    </a:lnTo>
                    <a:lnTo>
                      <a:pt x="428681" y="3987"/>
                    </a:lnTo>
                    <a:lnTo>
                      <a:pt x="557617" y="3323"/>
                    </a:lnTo>
                    <a:lnTo>
                      <a:pt x="622085" y="2658"/>
                    </a:lnTo>
                    <a:lnTo>
                      <a:pt x="685888" y="1329"/>
                    </a:lnTo>
                    <a:lnTo>
                      <a:pt x="710479" y="664"/>
                    </a:lnTo>
                    <a:lnTo>
                      <a:pt x="737064" y="0"/>
                    </a:lnTo>
                    <a:lnTo>
                      <a:pt x="763649" y="664"/>
                    </a:lnTo>
                    <a:lnTo>
                      <a:pt x="776277" y="1329"/>
                    </a:lnTo>
                    <a:lnTo>
                      <a:pt x="788240" y="2658"/>
                    </a:lnTo>
                    <a:lnTo>
                      <a:pt x="796215" y="4652"/>
                    </a:lnTo>
                    <a:lnTo>
                      <a:pt x="804191" y="6646"/>
                    </a:lnTo>
                    <a:lnTo>
                      <a:pt x="812166" y="9969"/>
                    </a:lnTo>
                    <a:lnTo>
                      <a:pt x="819477" y="13292"/>
                    </a:lnTo>
                    <a:lnTo>
                      <a:pt x="827453" y="17280"/>
                    </a:lnTo>
                    <a:lnTo>
                      <a:pt x="834763" y="21267"/>
                    </a:lnTo>
                    <a:lnTo>
                      <a:pt x="848720" y="31237"/>
                    </a:lnTo>
                    <a:lnTo>
                      <a:pt x="856696" y="35889"/>
                    </a:lnTo>
                    <a:lnTo>
                      <a:pt x="866000" y="40541"/>
                    </a:lnTo>
                    <a:lnTo>
                      <a:pt x="875970" y="46523"/>
                    </a:lnTo>
                    <a:lnTo>
                      <a:pt x="881287" y="50511"/>
                    </a:lnTo>
                    <a:lnTo>
                      <a:pt x="886604" y="54498"/>
                    </a:lnTo>
                    <a:lnTo>
                      <a:pt x="891256" y="59815"/>
                    </a:lnTo>
                    <a:lnTo>
                      <a:pt x="895908" y="65132"/>
                    </a:lnTo>
                    <a:lnTo>
                      <a:pt x="901225" y="71114"/>
                    </a:lnTo>
                    <a:lnTo>
                      <a:pt x="905213" y="77760"/>
                    </a:lnTo>
                    <a:lnTo>
                      <a:pt x="909865" y="84406"/>
                    </a:lnTo>
                    <a:lnTo>
                      <a:pt x="913853" y="92381"/>
                    </a:lnTo>
                    <a:lnTo>
                      <a:pt x="917176" y="101022"/>
                    </a:lnTo>
                    <a:lnTo>
                      <a:pt x="920499" y="109662"/>
                    </a:lnTo>
                    <a:lnTo>
                      <a:pt x="923158" y="119632"/>
                    </a:lnTo>
                    <a:lnTo>
                      <a:pt x="925152" y="130265"/>
                    </a:lnTo>
                    <a:lnTo>
                      <a:pt x="926481" y="142893"/>
                    </a:lnTo>
                    <a:lnTo>
                      <a:pt x="927810" y="156185"/>
                    </a:lnTo>
                    <a:lnTo>
                      <a:pt x="928475" y="169478"/>
                    </a:lnTo>
                    <a:lnTo>
                      <a:pt x="928475" y="182770"/>
                    </a:lnTo>
                    <a:lnTo>
                      <a:pt x="927810" y="210019"/>
                    </a:lnTo>
                    <a:lnTo>
                      <a:pt x="927146" y="235939"/>
                    </a:lnTo>
                    <a:lnTo>
                      <a:pt x="926481" y="257207"/>
                    </a:lnTo>
                    <a:lnTo>
                      <a:pt x="925816" y="275816"/>
                    </a:lnTo>
                    <a:lnTo>
                      <a:pt x="925816" y="360222"/>
                    </a:lnTo>
                    <a:lnTo>
                      <a:pt x="925816" y="372185"/>
                    </a:lnTo>
                    <a:lnTo>
                      <a:pt x="925816" y="393453"/>
                    </a:lnTo>
                    <a:lnTo>
                      <a:pt x="925152" y="413392"/>
                    </a:lnTo>
                    <a:lnTo>
                      <a:pt x="924487" y="422696"/>
                    </a:lnTo>
                    <a:lnTo>
                      <a:pt x="923822" y="432001"/>
                    </a:lnTo>
                    <a:lnTo>
                      <a:pt x="921829" y="441305"/>
                    </a:lnTo>
                    <a:lnTo>
                      <a:pt x="919835" y="450610"/>
                    </a:lnTo>
                    <a:lnTo>
                      <a:pt x="915847" y="461909"/>
                    </a:lnTo>
                    <a:lnTo>
                      <a:pt x="911195" y="472542"/>
                    </a:lnTo>
                    <a:lnTo>
                      <a:pt x="905213" y="481847"/>
                    </a:lnTo>
                    <a:lnTo>
                      <a:pt x="897902" y="489822"/>
                    </a:lnTo>
                    <a:lnTo>
                      <a:pt x="890591" y="497133"/>
                    </a:lnTo>
                    <a:lnTo>
                      <a:pt x="881287" y="503115"/>
                    </a:lnTo>
                    <a:lnTo>
                      <a:pt x="871982" y="507767"/>
                    </a:lnTo>
                    <a:lnTo>
                      <a:pt x="862013" y="511755"/>
                    </a:lnTo>
                    <a:lnTo>
                      <a:pt x="861348" y="514413"/>
                    </a:lnTo>
                    <a:lnTo>
                      <a:pt x="860019" y="517072"/>
                    </a:lnTo>
                    <a:lnTo>
                      <a:pt x="856696" y="523718"/>
                    </a:lnTo>
                    <a:lnTo>
                      <a:pt x="851379" y="529699"/>
                    </a:lnTo>
                    <a:lnTo>
                      <a:pt x="846062" y="535681"/>
                    </a:lnTo>
                    <a:lnTo>
                      <a:pt x="841410" y="539004"/>
                    </a:lnTo>
                    <a:lnTo>
                      <a:pt x="836757" y="542327"/>
                    </a:lnTo>
                    <a:lnTo>
                      <a:pt x="831440" y="544321"/>
                    </a:lnTo>
                    <a:lnTo>
                      <a:pt x="826123" y="546315"/>
                    </a:lnTo>
                    <a:lnTo>
                      <a:pt x="820806" y="548309"/>
                    </a:lnTo>
                    <a:lnTo>
                      <a:pt x="814825" y="549638"/>
                    </a:lnTo>
                    <a:lnTo>
                      <a:pt x="808179" y="550302"/>
                    </a:lnTo>
                    <a:lnTo>
                      <a:pt x="802197" y="550302"/>
                    </a:lnTo>
                    <a:lnTo>
                      <a:pt x="791563" y="549638"/>
                    </a:lnTo>
                    <a:lnTo>
                      <a:pt x="786911" y="549638"/>
                    </a:lnTo>
                    <a:lnTo>
                      <a:pt x="787575" y="605465"/>
                    </a:lnTo>
                    <a:lnTo>
                      <a:pt x="787575" y="634044"/>
                    </a:lnTo>
                    <a:lnTo>
                      <a:pt x="787575" y="658635"/>
                    </a:lnTo>
                    <a:lnTo>
                      <a:pt x="786911" y="669269"/>
                    </a:lnTo>
                    <a:lnTo>
                      <a:pt x="785581" y="676579"/>
                    </a:lnTo>
                    <a:lnTo>
                      <a:pt x="783588" y="683226"/>
                    </a:lnTo>
                    <a:lnTo>
                      <a:pt x="780265" y="689207"/>
                    </a:lnTo>
                    <a:lnTo>
                      <a:pt x="775612" y="694524"/>
                    </a:lnTo>
                    <a:lnTo>
                      <a:pt x="770295" y="698512"/>
                    </a:lnTo>
                    <a:lnTo>
                      <a:pt x="763649" y="701835"/>
                    </a:lnTo>
                    <a:lnTo>
                      <a:pt x="757003" y="703829"/>
                    </a:lnTo>
                    <a:lnTo>
                      <a:pt x="750357" y="705158"/>
                    </a:lnTo>
                    <a:lnTo>
                      <a:pt x="739723" y="705158"/>
                    </a:lnTo>
                    <a:lnTo>
                      <a:pt x="738393" y="705158"/>
                    </a:lnTo>
                    <a:lnTo>
                      <a:pt x="737064" y="707152"/>
                    </a:lnTo>
                    <a:lnTo>
                      <a:pt x="735735" y="714462"/>
                    </a:lnTo>
                    <a:lnTo>
                      <a:pt x="731083" y="737724"/>
                    </a:lnTo>
                    <a:lnTo>
                      <a:pt x="713803" y="750352"/>
                    </a:lnTo>
                    <a:lnTo>
                      <a:pt x="707821" y="754339"/>
                    </a:lnTo>
                    <a:lnTo>
                      <a:pt x="701175" y="756998"/>
                    </a:lnTo>
                    <a:lnTo>
                      <a:pt x="693199" y="759656"/>
                    </a:lnTo>
                    <a:lnTo>
                      <a:pt x="686553" y="760321"/>
                    </a:lnTo>
                    <a:lnTo>
                      <a:pt x="632719" y="761650"/>
                    </a:lnTo>
                    <a:lnTo>
                      <a:pt x="565592" y="762315"/>
                    </a:lnTo>
                    <a:lnTo>
                      <a:pt x="494478" y="761650"/>
                    </a:lnTo>
                    <a:lnTo>
                      <a:pt x="421370" y="761650"/>
                    </a:lnTo>
                    <a:lnTo>
                      <a:pt x="390797" y="761650"/>
                    </a:lnTo>
                    <a:lnTo>
                      <a:pt x="383486" y="761650"/>
                    </a:lnTo>
                    <a:lnTo>
                      <a:pt x="375511" y="759656"/>
                    </a:lnTo>
                    <a:lnTo>
                      <a:pt x="367536" y="756998"/>
                    </a:lnTo>
                    <a:lnTo>
                      <a:pt x="360225" y="753675"/>
                    </a:lnTo>
                    <a:lnTo>
                      <a:pt x="352913" y="749022"/>
                    </a:lnTo>
                    <a:lnTo>
                      <a:pt x="346267" y="744370"/>
                    </a:lnTo>
                    <a:lnTo>
                      <a:pt x="340285" y="739053"/>
                    </a:lnTo>
                    <a:lnTo>
                      <a:pt x="335633" y="733072"/>
                    </a:lnTo>
                    <a:lnTo>
                      <a:pt x="334968" y="731078"/>
                    </a:lnTo>
                    <a:lnTo>
                      <a:pt x="332974" y="725761"/>
                    </a:lnTo>
                    <a:lnTo>
                      <a:pt x="332310" y="722438"/>
                    </a:lnTo>
                    <a:lnTo>
                      <a:pt x="331645" y="717786"/>
                    </a:lnTo>
                    <a:lnTo>
                      <a:pt x="332310" y="711804"/>
                    </a:lnTo>
                    <a:lnTo>
                      <a:pt x="332974" y="705158"/>
                    </a:lnTo>
                    <a:lnTo>
                      <a:pt x="332974" y="704493"/>
                    </a:lnTo>
                    <a:lnTo>
                      <a:pt x="332974" y="703164"/>
                    </a:lnTo>
                    <a:lnTo>
                      <a:pt x="332310" y="702499"/>
                    </a:lnTo>
                    <a:lnTo>
                      <a:pt x="331645" y="702499"/>
                    </a:lnTo>
                    <a:lnTo>
                      <a:pt x="320347" y="702499"/>
                    </a:lnTo>
                    <a:lnTo>
                      <a:pt x="313036" y="701835"/>
                    </a:lnTo>
                    <a:lnTo>
                      <a:pt x="306390" y="699841"/>
                    </a:lnTo>
                    <a:lnTo>
                      <a:pt x="300408" y="696518"/>
                    </a:lnTo>
                    <a:lnTo>
                      <a:pt x="295091" y="691866"/>
                    </a:lnTo>
                    <a:lnTo>
                      <a:pt x="290439" y="686549"/>
                    </a:lnTo>
                    <a:lnTo>
                      <a:pt x="287116" y="680567"/>
                    </a:lnTo>
                    <a:lnTo>
                      <a:pt x="285122" y="673921"/>
                    </a:lnTo>
                    <a:lnTo>
                      <a:pt x="283792" y="667275"/>
                    </a:lnTo>
                    <a:lnTo>
                      <a:pt x="283792" y="655976"/>
                    </a:lnTo>
                    <a:lnTo>
                      <a:pt x="283128" y="632050"/>
                    </a:lnTo>
                    <a:lnTo>
                      <a:pt x="283128" y="604136"/>
                    </a:lnTo>
                    <a:lnTo>
                      <a:pt x="283792" y="549638"/>
                    </a:lnTo>
                    <a:lnTo>
                      <a:pt x="283128" y="549638"/>
                    </a:lnTo>
                    <a:lnTo>
                      <a:pt x="277146" y="550302"/>
                    </a:lnTo>
                    <a:lnTo>
                      <a:pt x="271829" y="549638"/>
                    </a:lnTo>
                    <a:lnTo>
                      <a:pt x="270500" y="549638"/>
                    </a:lnTo>
                    <a:lnTo>
                      <a:pt x="264519" y="548973"/>
                    </a:lnTo>
                    <a:lnTo>
                      <a:pt x="258537" y="547644"/>
                    </a:lnTo>
                    <a:lnTo>
                      <a:pt x="253220" y="546315"/>
                    </a:lnTo>
                    <a:lnTo>
                      <a:pt x="247903" y="544321"/>
                    </a:lnTo>
                    <a:lnTo>
                      <a:pt x="242586" y="541662"/>
                    </a:lnTo>
                    <a:lnTo>
                      <a:pt x="237934" y="538339"/>
                    </a:lnTo>
                    <a:lnTo>
                      <a:pt x="233946" y="535016"/>
                    </a:lnTo>
                    <a:lnTo>
                      <a:pt x="229958" y="531029"/>
                    </a:lnTo>
                    <a:lnTo>
                      <a:pt x="227300" y="527705"/>
                    </a:lnTo>
                    <a:lnTo>
                      <a:pt x="225306" y="524382"/>
                    </a:lnTo>
                    <a:lnTo>
                      <a:pt x="221318" y="515742"/>
                    </a:lnTo>
                    <a:lnTo>
                      <a:pt x="218660" y="507102"/>
                    </a:lnTo>
                    <a:lnTo>
                      <a:pt x="217995" y="503115"/>
                    </a:lnTo>
                    <a:lnTo>
                      <a:pt x="217995" y="499127"/>
                    </a:lnTo>
                    <a:lnTo>
                      <a:pt x="217330" y="489822"/>
                    </a:lnTo>
                    <a:lnTo>
                      <a:pt x="217330" y="485835"/>
                    </a:lnTo>
                    <a:lnTo>
                      <a:pt x="216001" y="481847"/>
                    </a:lnTo>
                    <a:lnTo>
                      <a:pt x="214672" y="478524"/>
                    </a:lnTo>
                    <a:lnTo>
                      <a:pt x="212014" y="475865"/>
                    </a:lnTo>
                    <a:lnTo>
                      <a:pt x="209355" y="473207"/>
                    </a:lnTo>
                    <a:lnTo>
                      <a:pt x="206032" y="471878"/>
                    </a:lnTo>
                    <a:lnTo>
                      <a:pt x="202709" y="470549"/>
                    </a:lnTo>
                    <a:lnTo>
                      <a:pt x="198721" y="470549"/>
                    </a:lnTo>
                    <a:lnTo>
                      <a:pt x="186758" y="470549"/>
                    </a:lnTo>
                    <a:lnTo>
                      <a:pt x="160838" y="470549"/>
                    </a:lnTo>
                    <a:lnTo>
                      <a:pt x="123619" y="470549"/>
                    </a:lnTo>
                    <a:lnTo>
                      <a:pt x="107668" y="470549"/>
                    </a:lnTo>
                    <a:lnTo>
                      <a:pt x="104345" y="470549"/>
                    </a:lnTo>
                    <a:lnTo>
                      <a:pt x="101022" y="469884"/>
                    </a:lnTo>
                    <a:lnTo>
                      <a:pt x="97699" y="468555"/>
                    </a:lnTo>
                    <a:lnTo>
                      <a:pt x="94376" y="467225"/>
                    </a:lnTo>
                    <a:lnTo>
                      <a:pt x="88394" y="462573"/>
                    </a:lnTo>
                    <a:lnTo>
                      <a:pt x="83077" y="457921"/>
                    </a:lnTo>
                    <a:lnTo>
                      <a:pt x="78425" y="451939"/>
                    </a:lnTo>
                    <a:lnTo>
                      <a:pt x="75102" y="445958"/>
                    </a:lnTo>
                    <a:lnTo>
                      <a:pt x="73108" y="441305"/>
                    </a:lnTo>
                    <a:lnTo>
                      <a:pt x="72443" y="436653"/>
                    </a:lnTo>
                    <a:lnTo>
                      <a:pt x="71779" y="432665"/>
                    </a:lnTo>
                    <a:lnTo>
                      <a:pt x="69785" y="428678"/>
                    </a:lnTo>
                    <a:lnTo>
                      <a:pt x="67126" y="424025"/>
                    </a:lnTo>
                    <a:lnTo>
                      <a:pt x="63139" y="420038"/>
                    </a:lnTo>
                    <a:lnTo>
                      <a:pt x="58486" y="415385"/>
                    </a:lnTo>
                    <a:lnTo>
                      <a:pt x="53169" y="411398"/>
                    </a:lnTo>
                    <a:lnTo>
                      <a:pt x="47188" y="407410"/>
                    </a:lnTo>
                    <a:lnTo>
                      <a:pt x="40542" y="404087"/>
                    </a:lnTo>
                    <a:lnTo>
                      <a:pt x="36554" y="401429"/>
                    </a:lnTo>
                    <a:lnTo>
                      <a:pt x="31902" y="398105"/>
                    </a:lnTo>
                    <a:lnTo>
                      <a:pt x="26585" y="393453"/>
                    </a:lnTo>
                    <a:lnTo>
                      <a:pt x="20603" y="387472"/>
                    </a:lnTo>
                    <a:lnTo>
                      <a:pt x="14621" y="380161"/>
                    </a:lnTo>
                    <a:lnTo>
                      <a:pt x="9305" y="370856"/>
                    </a:lnTo>
                    <a:lnTo>
                      <a:pt x="7311" y="365539"/>
                    </a:lnTo>
                    <a:lnTo>
                      <a:pt x="5317" y="360222"/>
                    </a:lnTo>
                    <a:lnTo>
                      <a:pt x="2658" y="351582"/>
                    </a:lnTo>
                    <a:lnTo>
                      <a:pt x="1329" y="34227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0277" fontAlgn="base">
                  <a:spcBef>
                    <a:spcPct val="0"/>
                  </a:spcBef>
                  <a:spcAft>
                    <a:spcPct val="0"/>
                  </a:spcAft>
                </a:pPr>
                <a:endParaRPr lang="en-US" sz="816">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66" name="Freeform 258">
                <a:extLst>
                  <a:ext uri="{FF2B5EF4-FFF2-40B4-BE49-F238E27FC236}">
                    <a16:creationId xmlns:a16="http://schemas.microsoft.com/office/drawing/2014/main" id="{A9AE2FD6-EBB8-4736-827B-CCA2956170C4}"/>
                  </a:ext>
                </a:extLst>
              </p:cNvPr>
              <p:cNvSpPr>
                <a:spLocks noChangeAspect="1"/>
              </p:cNvSpPr>
              <p:nvPr/>
            </p:nvSpPr>
            <p:spPr bwMode="auto">
              <a:xfrm rot="5400000">
                <a:off x="4320084" y="3242786"/>
                <a:ext cx="222940" cy="182802"/>
              </a:xfrm>
              <a:custGeom>
                <a:avLst/>
                <a:gdLst>
                  <a:gd name="connsiteX0" fmla="*/ 840077 w 928475"/>
                  <a:gd name="connsiteY0" fmla="*/ 467226 h 762315"/>
                  <a:gd name="connsiteX1" fmla="*/ 847388 w 928475"/>
                  <a:gd name="connsiteY1" fmla="*/ 465897 h 762315"/>
                  <a:gd name="connsiteX2" fmla="*/ 853369 w 928475"/>
                  <a:gd name="connsiteY2" fmla="*/ 463903 h 762315"/>
                  <a:gd name="connsiteX3" fmla="*/ 858686 w 928475"/>
                  <a:gd name="connsiteY3" fmla="*/ 460580 h 762315"/>
                  <a:gd name="connsiteX4" fmla="*/ 863339 w 928475"/>
                  <a:gd name="connsiteY4" fmla="*/ 456592 h 762315"/>
                  <a:gd name="connsiteX5" fmla="*/ 867326 w 928475"/>
                  <a:gd name="connsiteY5" fmla="*/ 451940 h 762315"/>
                  <a:gd name="connsiteX6" fmla="*/ 870649 w 928475"/>
                  <a:gd name="connsiteY6" fmla="*/ 446623 h 762315"/>
                  <a:gd name="connsiteX7" fmla="*/ 872643 w 928475"/>
                  <a:gd name="connsiteY7" fmla="*/ 439977 h 762315"/>
                  <a:gd name="connsiteX8" fmla="*/ 874637 w 928475"/>
                  <a:gd name="connsiteY8" fmla="*/ 433330 h 762315"/>
                  <a:gd name="connsiteX9" fmla="*/ 875966 w 928475"/>
                  <a:gd name="connsiteY9" fmla="*/ 425355 h 762315"/>
                  <a:gd name="connsiteX10" fmla="*/ 877296 w 928475"/>
                  <a:gd name="connsiteY10" fmla="*/ 417380 h 762315"/>
                  <a:gd name="connsiteX11" fmla="*/ 877960 w 928475"/>
                  <a:gd name="connsiteY11" fmla="*/ 399435 h 762315"/>
                  <a:gd name="connsiteX12" fmla="*/ 877960 w 928475"/>
                  <a:gd name="connsiteY12" fmla="*/ 380161 h 762315"/>
                  <a:gd name="connsiteX13" fmla="*/ 877960 w 928475"/>
                  <a:gd name="connsiteY13" fmla="*/ 360223 h 762315"/>
                  <a:gd name="connsiteX14" fmla="*/ 877960 w 928475"/>
                  <a:gd name="connsiteY14" fmla="*/ 275817 h 762315"/>
                  <a:gd name="connsiteX15" fmla="*/ 878625 w 928475"/>
                  <a:gd name="connsiteY15" fmla="*/ 247903 h 762315"/>
                  <a:gd name="connsiteX16" fmla="*/ 879954 w 928475"/>
                  <a:gd name="connsiteY16" fmla="*/ 217995 h 762315"/>
                  <a:gd name="connsiteX17" fmla="*/ 880619 w 928475"/>
                  <a:gd name="connsiteY17" fmla="*/ 187423 h 762315"/>
                  <a:gd name="connsiteX18" fmla="*/ 880619 w 928475"/>
                  <a:gd name="connsiteY18" fmla="*/ 172137 h 762315"/>
                  <a:gd name="connsiteX19" fmla="*/ 879954 w 928475"/>
                  <a:gd name="connsiteY19" fmla="*/ 157515 h 762315"/>
                  <a:gd name="connsiteX20" fmla="*/ 878625 w 928475"/>
                  <a:gd name="connsiteY20" fmla="*/ 143558 h 762315"/>
                  <a:gd name="connsiteX21" fmla="*/ 876631 w 928475"/>
                  <a:gd name="connsiteY21" fmla="*/ 130931 h 762315"/>
                  <a:gd name="connsiteX22" fmla="*/ 873308 w 928475"/>
                  <a:gd name="connsiteY22" fmla="*/ 118968 h 762315"/>
                  <a:gd name="connsiteX23" fmla="*/ 871314 w 928475"/>
                  <a:gd name="connsiteY23" fmla="*/ 113651 h 762315"/>
                  <a:gd name="connsiteX24" fmla="*/ 869320 w 928475"/>
                  <a:gd name="connsiteY24" fmla="*/ 108334 h 762315"/>
                  <a:gd name="connsiteX25" fmla="*/ 866662 w 928475"/>
                  <a:gd name="connsiteY25" fmla="*/ 103682 h 762315"/>
                  <a:gd name="connsiteX26" fmla="*/ 864003 w 928475"/>
                  <a:gd name="connsiteY26" fmla="*/ 99693 h 762315"/>
                  <a:gd name="connsiteX27" fmla="*/ 860680 w 928475"/>
                  <a:gd name="connsiteY27" fmla="*/ 95705 h 762315"/>
                  <a:gd name="connsiteX28" fmla="*/ 857357 w 928475"/>
                  <a:gd name="connsiteY28" fmla="*/ 92382 h 762315"/>
                  <a:gd name="connsiteX29" fmla="*/ 853369 w 928475"/>
                  <a:gd name="connsiteY29" fmla="*/ 89724 h 762315"/>
                  <a:gd name="connsiteX30" fmla="*/ 849381 w 928475"/>
                  <a:gd name="connsiteY30" fmla="*/ 87065 h 762315"/>
                  <a:gd name="connsiteX31" fmla="*/ 844729 w 928475"/>
                  <a:gd name="connsiteY31" fmla="*/ 85071 h 762315"/>
                  <a:gd name="connsiteX32" fmla="*/ 840077 w 928475"/>
                  <a:gd name="connsiteY32" fmla="*/ 84407 h 762315"/>
                  <a:gd name="connsiteX33" fmla="*/ 779597 w 928475"/>
                  <a:gd name="connsiteY33" fmla="*/ 501786 h 762315"/>
                  <a:gd name="connsiteX34" fmla="*/ 784250 w 928475"/>
                  <a:gd name="connsiteY34" fmla="*/ 501786 h 762315"/>
                  <a:gd name="connsiteX35" fmla="*/ 788902 w 928475"/>
                  <a:gd name="connsiteY35" fmla="*/ 501786 h 762315"/>
                  <a:gd name="connsiteX36" fmla="*/ 798871 w 928475"/>
                  <a:gd name="connsiteY36" fmla="*/ 502450 h 762315"/>
                  <a:gd name="connsiteX37" fmla="*/ 803523 w 928475"/>
                  <a:gd name="connsiteY37" fmla="*/ 502450 h 762315"/>
                  <a:gd name="connsiteX38" fmla="*/ 807511 w 928475"/>
                  <a:gd name="connsiteY38" fmla="*/ 501786 h 762315"/>
                  <a:gd name="connsiteX39" fmla="*/ 812163 w 928475"/>
                  <a:gd name="connsiteY39" fmla="*/ 501121 h 762315"/>
                  <a:gd name="connsiteX40" fmla="*/ 815486 w 928475"/>
                  <a:gd name="connsiteY40" fmla="*/ 499127 h 762315"/>
                  <a:gd name="connsiteX41" fmla="*/ 816151 w 928475"/>
                  <a:gd name="connsiteY41" fmla="*/ 489158 h 762315"/>
                  <a:gd name="connsiteX42" fmla="*/ 816816 w 928475"/>
                  <a:gd name="connsiteY42" fmla="*/ 476530 h 762315"/>
                  <a:gd name="connsiteX43" fmla="*/ 817480 w 928475"/>
                  <a:gd name="connsiteY43" fmla="*/ 447952 h 762315"/>
                  <a:gd name="connsiteX44" fmla="*/ 817480 w 928475"/>
                  <a:gd name="connsiteY44" fmla="*/ 388801 h 762315"/>
                  <a:gd name="connsiteX45" fmla="*/ 817480 w 928475"/>
                  <a:gd name="connsiteY45" fmla="*/ 217331 h 762315"/>
                  <a:gd name="connsiteX46" fmla="*/ 816816 w 928475"/>
                  <a:gd name="connsiteY46" fmla="*/ 133589 h 762315"/>
                  <a:gd name="connsiteX47" fmla="*/ 816151 w 928475"/>
                  <a:gd name="connsiteY47" fmla="*/ 53834 h 762315"/>
                  <a:gd name="connsiteX48" fmla="*/ 812828 w 928475"/>
                  <a:gd name="connsiteY48" fmla="*/ 51840 h 762315"/>
                  <a:gd name="connsiteX49" fmla="*/ 808176 w 928475"/>
                  <a:gd name="connsiteY49" fmla="*/ 50511 h 762315"/>
                  <a:gd name="connsiteX50" fmla="*/ 804188 w 928475"/>
                  <a:gd name="connsiteY50" fmla="*/ 50511 h 762315"/>
                  <a:gd name="connsiteX51" fmla="*/ 798871 w 928475"/>
                  <a:gd name="connsiteY51" fmla="*/ 50511 h 762315"/>
                  <a:gd name="connsiteX52" fmla="*/ 788902 w 928475"/>
                  <a:gd name="connsiteY52" fmla="*/ 50511 h 762315"/>
                  <a:gd name="connsiteX53" fmla="*/ 784250 w 928475"/>
                  <a:gd name="connsiteY53" fmla="*/ 51176 h 762315"/>
                  <a:gd name="connsiteX54" fmla="*/ 779597 w 928475"/>
                  <a:gd name="connsiteY54" fmla="*/ 50511 h 762315"/>
                  <a:gd name="connsiteX55" fmla="*/ 380161 w 928475"/>
                  <a:gd name="connsiteY55" fmla="*/ 713798 h 762315"/>
                  <a:gd name="connsiteX56" fmla="*/ 454599 w 928475"/>
                  <a:gd name="connsiteY56" fmla="*/ 713798 h 762315"/>
                  <a:gd name="connsiteX57" fmla="*/ 533024 w 928475"/>
                  <a:gd name="connsiteY57" fmla="*/ 713798 h 762315"/>
                  <a:gd name="connsiteX58" fmla="*/ 610784 w 928475"/>
                  <a:gd name="connsiteY58" fmla="*/ 713798 h 762315"/>
                  <a:gd name="connsiteX59" fmla="*/ 648667 w 928475"/>
                  <a:gd name="connsiteY59" fmla="*/ 713798 h 762315"/>
                  <a:gd name="connsiteX60" fmla="*/ 685222 w 928475"/>
                  <a:gd name="connsiteY60" fmla="*/ 712469 h 762315"/>
                  <a:gd name="connsiteX61" fmla="*/ 687215 w 928475"/>
                  <a:gd name="connsiteY61" fmla="*/ 709811 h 762315"/>
                  <a:gd name="connsiteX62" fmla="*/ 688545 w 928475"/>
                  <a:gd name="connsiteY62" fmla="*/ 706487 h 762315"/>
                  <a:gd name="connsiteX63" fmla="*/ 689209 w 928475"/>
                  <a:gd name="connsiteY63" fmla="*/ 701835 h 762315"/>
                  <a:gd name="connsiteX64" fmla="*/ 689209 w 928475"/>
                  <a:gd name="connsiteY64" fmla="*/ 697183 h 762315"/>
                  <a:gd name="connsiteX65" fmla="*/ 689209 w 928475"/>
                  <a:gd name="connsiteY65" fmla="*/ 686549 h 762315"/>
                  <a:gd name="connsiteX66" fmla="*/ 689209 w 928475"/>
                  <a:gd name="connsiteY66" fmla="*/ 675915 h 762315"/>
                  <a:gd name="connsiteX67" fmla="*/ 380826 w 928475"/>
                  <a:gd name="connsiteY67" fmla="*/ 675915 h 762315"/>
                  <a:gd name="connsiteX68" fmla="*/ 380826 w 928475"/>
                  <a:gd name="connsiteY68" fmla="*/ 686549 h 762315"/>
                  <a:gd name="connsiteX69" fmla="*/ 380826 w 928475"/>
                  <a:gd name="connsiteY69" fmla="*/ 695854 h 762315"/>
                  <a:gd name="connsiteX70" fmla="*/ 380826 w 928475"/>
                  <a:gd name="connsiteY70" fmla="*/ 704494 h 762315"/>
                  <a:gd name="connsiteX71" fmla="*/ 359518 w 928475"/>
                  <a:gd name="connsiteY71" fmla="*/ 138139 h 762315"/>
                  <a:gd name="connsiteX72" fmla="*/ 417123 w 928475"/>
                  <a:gd name="connsiteY72" fmla="*/ 100436 h 762315"/>
                  <a:gd name="connsiteX73" fmla="*/ 659974 w 928475"/>
                  <a:gd name="connsiteY73" fmla="*/ 100436 h 762315"/>
                  <a:gd name="connsiteX74" fmla="*/ 717578 w 928475"/>
                  <a:gd name="connsiteY74" fmla="*/ 138139 h 762315"/>
                  <a:gd name="connsiteX75" fmla="*/ 659974 w 928475"/>
                  <a:gd name="connsiteY75" fmla="*/ 175841 h 762315"/>
                  <a:gd name="connsiteX76" fmla="*/ 417123 w 928475"/>
                  <a:gd name="connsiteY76" fmla="*/ 175841 h 762315"/>
                  <a:gd name="connsiteX77" fmla="*/ 359518 w 928475"/>
                  <a:gd name="connsiteY77" fmla="*/ 138139 h 762315"/>
                  <a:gd name="connsiteX78" fmla="*/ 359517 w 928475"/>
                  <a:gd name="connsiteY78" fmla="*/ 275097 h 762315"/>
                  <a:gd name="connsiteX79" fmla="*/ 417122 w 928475"/>
                  <a:gd name="connsiteY79" fmla="*/ 237394 h 762315"/>
                  <a:gd name="connsiteX80" fmla="*/ 659973 w 928475"/>
                  <a:gd name="connsiteY80" fmla="*/ 237394 h 762315"/>
                  <a:gd name="connsiteX81" fmla="*/ 717577 w 928475"/>
                  <a:gd name="connsiteY81" fmla="*/ 275097 h 762315"/>
                  <a:gd name="connsiteX82" fmla="*/ 659973 w 928475"/>
                  <a:gd name="connsiteY82" fmla="*/ 312799 h 762315"/>
                  <a:gd name="connsiteX83" fmla="*/ 417122 w 928475"/>
                  <a:gd name="connsiteY83" fmla="*/ 312799 h 762315"/>
                  <a:gd name="connsiteX84" fmla="*/ 359517 w 928475"/>
                  <a:gd name="connsiteY84" fmla="*/ 275097 h 762315"/>
                  <a:gd name="connsiteX85" fmla="*/ 359516 w 928475"/>
                  <a:gd name="connsiteY85" fmla="*/ 412055 h 762315"/>
                  <a:gd name="connsiteX86" fmla="*/ 417121 w 928475"/>
                  <a:gd name="connsiteY86" fmla="*/ 374352 h 762315"/>
                  <a:gd name="connsiteX87" fmla="*/ 659972 w 928475"/>
                  <a:gd name="connsiteY87" fmla="*/ 374352 h 762315"/>
                  <a:gd name="connsiteX88" fmla="*/ 717576 w 928475"/>
                  <a:gd name="connsiteY88" fmla="*/ 412055 h 762315"/>
                  <a:gd name="connsiteX89" fmla="*/ 659972 w 928475"/>
                  <a:gd name="connsiteY89" fmla="*/ 449757 h 762315"/>
                  <a:gd name="connsiteX90" fmla="*/ 417121 w 928475"/>
                  <a:gd name="connsiteY90" fmla="*/ 449757 h 762315"/>
                  <a:gd name="connsiteX91" fmla="*/ 359516 w 928475"/>
                  <a:gd name="connsiteY91" fmla="*/ 412055 h 762315"/>
                  <a:gd name="connsiteX92" fmla="*/ 330979 w 928475"/>
                  <a:gd name="connsiteY92" fmla="*/ 618093 h 762315"/>
                  <a:gd name="connsiteX93" fmla="*/ 331643 w 928475"/>
                  <a:gd name="connsiteY93" fmla="*/ 654647 h 762315"/>
                  <a:gd name="connsiteX94" fmla="*/ 431337 w 928475"/>
                  <a:gd name="connsiteY94" fmla="*/ 654647 h 762315"/>
                  <a:gd name="connsiteX95" fmla="*/ 535682 w 928475"/>
                  <a:gd name="connsiteY95" fmla="*/ 655977 h 762315"/>
                  <a:gd name="connsiteX96" fmla="*/ 640027 w 928475"/>
                  <a:gd name="connsiteY96" fmla="*/ 656641 h 762315"/>
                  <a:gd name="connsiteX97" fmla="*/ 739720 w 928475"/>
                  <a:gd name="connsiteY97" fmla="*/ 657306 h 762315"/>
                  <a:gd name="connsiteX98" fmla="*/ 739720 w 928475"/>
                  <a:gd name="connsiteY98" fmla="*/ 640026 h 762315"/>
                  <a:gd name="connsiteX99" fmla="*/ 739720 w 928475"/>
                  <a:gd name="connsiteY99" fmla="*/ 619423 h 762315"/>
                  <a:gd name="connsiteX100" fmla="*/ 739055 w 928475"/>
                  <a:gd name="connsiteY100" fmla="*/ 576223 h 762315"/>
                  <a:gd name="connsiteX101" fmla="*/ 737726 w 928475"/>
                  <a:gd name="connsiteY101" fmla="*/ 525712 h 762315"/>
                  <a:gd name="connsiteX102" fmla="*/ 332308 w 928475"/>
                  <a:gd name="connsiteY102" fmla="*/ 525712 h 762315"/>
                  <a:gd name="connsiteX103" fmla="*/ 331643 w 928475"/>
                  <a:gd name="connsiteY103" fmla="*/ 575558 h 762315"/>
                  <a:gd name="connsiteX104" fmla="*/ 312010 w 928475"/>
                  <a:gd name="connsiteY104" fmla="*/ 508368 h 762315"/>
                  <a:gd name="connsiteX105" fmla="*/ 748776 w 928475"/>
                  <a:gd name="connsiteY105" fmla="*/ 508368 h 762315"/>
                  <a:gd name="connsiteX106" fmla="*/ 748776 w 928475"/>
                  <a:gd name="connsiteY106" fmla="*/ 50511 h 762315"/>
                  <a:gd name="connsiteX107" fmla="*/ 312010 w 928475"/>
                  <a:gd name="connsiteY107" fmla="*/ 50511 h 762315"/>
                  <a:gd name="connsiteX108" fmla="*/ 263852 w 928475"/>
                  <a:gd name="connsiteY108" fmla="*/ 275817 h 762315"/>
                  <a:gd name="connsiteX109" fmla="*/ 264516 w 928475"/>
                  <a:gd name="connsiteY109" fmla="*/ 388802 h 762315"/>
                  <a:gd name="connsiteX110" fmla="*/ 265846 w 928475"/>
                  <a:gd name="connsiteY110" fmla="*/ 499128 h 762315"/>
                  <a:gd name="connsiteX111" fmla="*/ 267839 w 928475"/>
                  <a:gd name="connsiteY111" fmla="*/ 500457 h 762315"/>
                  <a:gd name="connsiteX112" fmla="*/ 270498 w 928475"/>
                  <a:gd name="connsiteY112" fmla="*/ 501786 h 762315"/>
                  <a:gd name="connsiteX113" fmla="*/ 273156 w 928475"/>
                  <a:gd name="connsiteY113" fmla="*/ 501786 h 762315"/>
                  <a:gd name="connsiteX114" fmla="*/ 276480 w 928475"/>
                  <a:gd name="connsiteY114" fmla="*/ 502451 h 762315"/>
                  <a:gd name="connsiteX115" fmla="*/ 283790 w 928475"/>
                  <a:gd name="connsiteY115" fmla="*/ 501786 h 762315"/>
                  <a:gd name="connsiteX116" fmla="*/ 290437 w 928475"/>
                  <a:gd name="connsiteY116" fmla="*/ 501786 h 762315"/>
                  <a:gd name="connsiteX117" fmla="*/ 291101 w 928475"/>
                  <a:gd name="connsiteY117" fmla="*/ 501786 h 762315"/>
                  <a:gd name="connsiteX118" fmla="*/ 291766 w 928475"/>
                  <a:gd name="connsiteY118" fmla="*/ 500457 h 762315"/>
                  <a:gd name="connsiteX119" fmla="*/ 291766 w 928475"/>
                  <a:gd name="connsiteY119" fmla="*/ 497134 h 762315"/>
                  <a:gd name="connsiteX120" fmla="*/ 291766 w 928475"/>
                  <a:gd name="connsiteY120" fmla="*/ 50512 h 762315"/>
                  <a:gd name="connsiteX121" fmla="*/ 285120 w 928475"/>
                  <a:gd name="connsiteY121" fmla="*/ 50512 h 762315"/>
                  <a:gd name="connsiteX122" fmla="*/ 277809 w 928475"/>
                  <a:gd name="connsiteY122" fmla="*/ 50512 h 762315"/>
                  <a:gd name="connsiteX123" fmla="*/ 274486 w 928475"/>
                  <a:gd name="connsiteY123" fmla="*/ 50512 h 762315"/>
                  <a:gd name="connsiteX124" fmla="*/ 271163 w 928475"/>
                  <a:gd name="connsiteY124" fmla="*/ 51176 h 762315"/>
                  <a:gd name="connsiteX125" fmla="*/ 268504 w 928475"/>
                  <a:gd name="connsiteY125" fmla="*/ 51841 h 762315"/>
                  <a:gd name="connsiteX126" fmla="*/ 266510 w 928475"/>
                  <a:gd name="connsiteY126" fmla="*/ 53835 h 762315"/>
                  <a:gd name="connsiteX127" fmla="*/ 265181 w 928475"/>
                  <a:gd name="connsiteY127" fmla="*/ 107670 h 762315"/>
                  <a:gd name="connsiteX128" fmla="*/ 264516 w 928475"/>
                  <a:gd name="connsiteY128" fmla="*/ 163497 h 762315"/>
                  <a:gd name="connsiteX129" fmla="*/ 263852 w 928475"/>
                  <a:gd name="connsiteY129" fmla="*/ 219325 h 762315"/>
                  <a:gd name="connsiteX130" fmla="*/ 120295 w 928475"/>
                  <a:gd name="connsiteY130" fmla="*/ 422697 h 762315"/>
                  <a:gd name="connsiteX131" fmla="*/ 147544 w 928475"/>
                  <a:gd name="connsiteY131" fmla="*/ 422032 h 762315"/>
                  <a:gd name="connsiteX132" fmla="*/ 176788 w 928475"/>
                  <a:gd name="connsiteY132" fmla="*/ 422697 h 762315"/>
                  <a:gd name="connsiteX133" fmla="*/ 204037 w 928475"/>
                  <a:gd name="connsiteY133" fmla="*/ 422697 h 762315"/>
                  <a:gd name="connsiteX134" fmla="*/ 216000 w 928475"/>
                  <a:gd name="connsiteY134" fmla="*/ 422032 h 762315"/>
                  <a:gd name="connsiteX135" fmla="*/ 225970 w 928475"/>
                  <a:gd name="connsiteY135" fmla="*/ 420703 h 762315"/>
                  <a:gd name="connsiteX136" fmla="*/ 227963 w 928475"/>
                  <a:gd name="connsiteY136" fmla="*/ 417380 h 762315"/>
                  <a:gd name="connsiteX137" fmla="*/ 229293 w 928475"/>
                  <a:gd name="connsiteY137" fmla="*/ 414057 h 762315"/>
                  <a:gd name="connsiteX138" fmla="*/ 231287 w 928475"/>
                  <a:gd name="connsiteY138" fmla="*/ 406081 h 762315"/>
                  <a:gd name="connsiteX139" fmla="*/ 231951 w 928475"/>
                  <a:gd name="connsiteY139" fmla="*/ 396777 h 762315"/>
                  <a:gd name="connsiteX140" fmla="*/ 232616 w 928475"/>
                  <a:gd name="connsiteY140" fmla="*/ 387472 h 762315"/>
                  <a:gd name="connsiteX141" fmla="*/ 231951 w 928475"/>
                  <a:gd name="connsiteY141" fmla="*/ 367534 h 762315"/>
                  <a:gd name="connsiteX142" fmla="*/ 231951 w 928475"/>
                  <a:gd name="connsiteY142" fmla="*/ 348924 h 762315"/>
                  <a:gd name="connsiteX143" fmla="*/ 231951 w 928475"/>
                  <a:gd name="connsiteY143" fmla="*/ 237934 h 762315"/>
                  <a:gd name="connsiteX144" fmla="*/ 231287 w 928475"/>
                  <a:gd name="connsiteY144" fmla="*/ 184100 h 762315"/>
                  <a:gd name="connsiteX145" fmla="*/ 230622 w 928475"/>
                  <a:gd name="connsiteY145" fmla="*/ 158180 h 762315"/>
                  <a:gd name="connsiteX146" fmla="*/ 228628 w 928475"/>
                  <a:gd name="connsiteY146" fmla="*/ 132260 h 762315"/>
                  <a:gd name="connsiteX147" fmla="*/ 217994 w 928475"/>
                  <a:gd name="connsiteY147" fmla="*/ 130930 h 762315"/>
                  <a:gd name="connsiteX148" fmla="*/ 206031 w 928475"/>
                  <a:gd name="connsiteY148" fmla="*/ 130266 h 762315"/>
                  <a:gd name="connsiteX149" fmla="*/ 178117 w 928475"/>
                  <a:gd name="connsiteY149" fmla="*/ 130266 h 762315"/>
                  <a:gd name="connsiteX150" fmla="*/ 148209 w 928475"/>
                  <a:gd name="connsiteY150" fmla="*/ 130266 h 762315"/>
                  <a:gd name="connsiteX151" fmla="*/ 120295 w 928475"/>
                  <a:gd name="connsiteY151" fmla="*/ 130266 h 762315"/>
                  <a:gd name="connsiteX152" fmla="*/ 47851 w 928475"/>
                  <a:gd name="connsiteY152" fmla="*/ 328322 h 762315"/>
                  <a:gd name="connsiteX153" fmla="*/ 48515 w 928475"/>
                  <a:gd name="connsiteY153" fmla="*/ 335632 h 762315"/>
                  <a:gd name="connsiteX154" fmla="*/ 49845 w 928475"/>
                  <a:gd name="connsiteY154" fmla="*/ 342278 h 762315"/>
                  <a:gd name="connsiteX155" fmla="*/ 51839 w 928475"/>
                  <a:gd name="connsiteY155" fmla="*/ 348925 h 762315"/>
                  <a:gd name="connsiteX156" fmla="*/ 55162 w 928475"/>
                  <a:gd name="connsiteY156" fmla="*/ 355571 h 762315"/>
                  <a:gd name="connsiteX157" fmla="*/ 59149 w 928475"/>
                  <a:gd name="connsiteY157" fmla="*/ 360888 h 762315"/>
                  <a:gd name="connsiteX158" fmla="*/ 64466 w 928475"/>
                  <a:gd name="connsiteY158" fmla="*/ 365540 h 762315"/>
                  <a:gd name="connsiteX159" fmla="*/ 71113 w 928475"/>
                  <a:gd name="connsiteY159" fmla="*/ 368863 h 762315"/>
                  <a:gd name="connsiteX160" fmla="*/ 79088 w 928475"/>
                  <a:gd name="connsiteY160" fmla="*/ 371522 h 762315"/>
                  <a:gd name="connsiteX161" fmla="*/ 88393 w 928475"/>
                  <a:gd name="connsiteY161" fmla="*/ 372851 h 762315"/>
                  <a:gd name="connsiteX162" fmla="*/ 88393 w 928475"/>
                  <a:gd name="connsiteY162" fmla="*/ 178119 h 762315"/>
                  <a:gd name="connsiteX163" fmla="*/ 81082 w 928475"/>
                  <a:gd name="connsiteY163" fmla="*/ 178783 h 762315"/>
                  <a:gd name="connsiteX164" fmla="*/ 74436 w 928475"/>
                  <a:gd name="connsiteY164" fmla="*/ 179448 h 762315"/>
                  <a:gd name="connsiteX165" fmla="*/ 69119 w 928475"/>
                  <a:gd name="connsiteY165" fmla="*/ 181442 h 762315"/>
                  <a:gd name="connsiteX166" fmla="*/ 64466 w 928475"/>
                  <a:gd name="connsiteY166" fmla="*/ 183436 h 762315"/>
                  <a:gd name="connsiteX167" fmla="*/ 61143 w 928475"/>
                  <a:gd name="connsiteY167" fmla="*/ 185430 h 762315"/>
                  <a:gd name="connsiteX168" fmla="*/ 57820 w 928475"/>
                  <a:gd name="connsiteY168" fmla="*/ 188753 h 762315"/>
                  <a:gd name="connsiteX169" fmla="*/ 55162 w 928475"/>
                  <a:gd name="connsiteY169" fmla="*/ 191411 h 762315"/>
                  <a:gd name="connsiteX170" fmla="*/ 53832 w 928475"/>
                  <a:gd name="connsiteY170" fmla="*/ 195399 h 762315"/>
                  <a:gd name="connsiteX171" fmla="*/ 51839 w 928475"/>
                  <a:gd name="connsiteY171" fmla="*/ 199386 h 762315"/>
                  <a:gd name="connsiteX172" fmla="*/ 51174 w 928475"/>
                  <a:gd name="connsiteY172" fmla="*/ 203374 h 762315"/>
                  <a:gd name="connsiteX173" fmla="*/ 50509 w 928475"/>
                  <a:gd name="connsiteY173" fmla="*/ 212679 h 762315"/>
                  <a:gd name="connsiteX174" fmla="*/ 49845 w 928475"/>
                  <a:gd name="connsiteY174" fmla="*/ 221983 h 762315"/>
                  <a:gd name="connsiteX175" fmla="*/ 49845 w 928475"/>
                  <a:gd name="connsiteY175" fmla="*/ 232617 h 762315"/>
                  <a:gd name="connsiteX176" fmla="*/ 49845 w 928475"/>
                  <a:gd name="connsiteY176" fmla="*/ 275817 h 762315"/>
                  <a:gd name="connsiteX177" fmla="*/ 49845 w 928475"/>
                  <a:gd name="connsiteY177" fmla="*/ 289774 h 762315"/>
                  <a:gd name="connsiteX178" fmla="*/ 48515 w 928475"/>
                  <a:gd name="connsiteY178" fmla="*/ 305060 h 762315"/>
                  <a:gd name="connsiteX179" fmla="*/ 47851 w 928475"/>
                  <a:gd name="connsiteY179" fmla="*/ 320346 h 762315"/>
                  <a:gd name="connsiteX180" fmla="*/ 0 w 928475"/>
                  <a:gd name="connsiteY180" fmla="*/ 333638 h 762315"/>
                  <a:gd name="connsiteX181" fmla="*/ 0 w 928475"/>
                  <a:gd name="connsiteY181" fmla="*/ 324998 h 762315"/>
                  <a:gd name="connsiteX182" fmla="*/ 0 w 928475"/>
                  <a:gd name="connsiteY182" fmla="*/ 308382 h 762315"/>
                  <a:gd name="connsiteX183" fmla="*/ 1329 w 928475"/>
                  <a:gd name="connsiteY183" fmla="*/ 292432 h 762315"/>
                  <a:gd name="connsiteX184" fmla="*/ 1994 w 928475"/>
                  <a:gd name="connsiteY184" fmla="*/ 283127 h 762315"/>
                  <a:gd name="connsiteX185" fmla="*/ 1994 w 928475"/>
                  <a:gd name="connsiteY185" fmla="*/ 275816 h 762315"/>
                  <a:gd name="connsiteX186" fmla="*/ 1994 w 928475"/>
                  <a:gd name="connsiteY186" fmla="*/ 232616 h 762315"/>
                  <a:gd name="connsiteX187" fmla="*/ 1994 w 928475"/>
                  <a:gd name="connsiteY187" fmla="*/ 226635 h 762315"/>
                  <a:gd name="connsiteX188" fmla="*/ 1994 w 928475"/>
                  <a:gd name="connsiteY188" fmla="*/ 213342 h 762315"/>
                  <a:gd name="connsiteX189" fmla="*/ 2658 w 928475"/>
                  <a:gd name="connsiteY189" fmla="*/ 206696 h 762315"/>
                  <a:gd name="connsiteX190" fmla="*/ 3323 w 928475"/>
                  <a:gd name="connsiteY190" fmla="*/ 199385 h 762315"/>
                  <a:gd name="connsiteX191" fmla="*/ 4652 w 928475"/>
                  <a:gd name="connsiteY191" fmla="*/ 192075 h 762315"/>
                  <a:gd name="connsiteX192" fmla="*/ 6646 w 928475"/>
                  <a:gd name="connsiteY192" fmla="*/ 184764 h 762315"/>
                  <a:gd name="connsiteX193" fmla="*/ 9305 w 928475"/>
                  <a:gd name="connsiteY193" fmla="*/ 177453 h 762315"/>
                  <a:gd name="connsiteX194" fmla="*/ 12628 w 928475"/>
                  <a:gd name="connsiteY194" fmla="*/ 170142 h 762315"/>
                  <a:gd name="connsiteX195" fmla="*/ 15951 w 928475"/>
                  <a:gd name="connsiteY195" fmla="*/ 164161 h 762315"/>
                  <a:gd name="connsiteX196" fmla="*/ 20603 w 928475"/>
                  <a:gd name="connsiteY196" fmla="*/ 158179 h 762315"/>
                  <a:gd name="connsiteX197" fmla="*/ 25920 w 928475"/>
                  <a:gd name="connsiteY197" fmla="*/ 152198 h 762315"/>
                  <a:gd name="connsiteX198" fmla="*/ 32566 w 928475"/>
                  <a:gd name="connsiteY198" fmla="*/ 146881 h 762315"/>
                  <a:gd name="connsiteX199" fmla="*/ 40542 w 928475"/>
                  <a:gd name="connsiteY199" fmla="*/ 141564 h 762315"/>
                  <a:gd name="connsiteX200" fmla="*/ 49846 w 928475"/>
                  <a:gd name="connsiteY200" fmla="*/ 137576 h 762315"/>
                  <a:gd name="connsiteX201" fmla="*/ 60480 w 928475"/>
                  <a:gd name="connsiteY201" fmla="*/ 133589 h 762315"/>
                  <a:gd name="connsiteX202" fmla="*/ 72443 w 928475"/>
                  <a:gd name="connsiteY202" fmla="*/ 131595 h 762315"/>
                  <a:gd name="connsiteX203" fmla="*/ 73108 w 928475"/>
                  <a:gd name="connsiteY203" fmla="*/ 128936 h 762315"/>
                  <a:gd name="connsiteX204" fmla="*/ 73108 w 928475"/>
                  <a:gd name="connsiteY204" fmla="*/ 123619 h 762315"/>
                  <a:gd name="connsiteX205" fmla="*/ 73108 w 928475"/>
                  <a:gd name="connsiteY205" fmla="*/ 116308 h 762315"/>
                  <a:gd name="connsiteX206" fmla="*/ 73773 w 928475"/>
                  <a:gd name="connsiteY206" fmla="*/ 108998 h 762315"/>
                  <a:gd name="connsiteX207" fmla="*/ 75767 w 928475"/>
                  <a:gd name="connsiteY207" fmla="*/ 102352 h 762315"/>
                  <a:gd name="connsiteX208" fmla="*/ 79090 w 928475"/>
                  <a:gd name="connsiteY208" fmla="*/ 96369 h 762315"/>
                  <a:gd name="connsiteX209" fmla="*/ 83077 w 928475"/>
                  <a:gd name="connsiteY209" fmla="*/ 91717 h 762315"/>
                  <a:gd name="connsiteX210" fmla="*/ 88394 w 928475"/>
                  <a:gd name="connsiteY210" fmla="*/ 87064 h 762315"/>
                  <a:gd name="connsiteX211" fmla="*/ 94376 w 928475"/>
                  <a:gd name="connsiteY211" fmla="*/ 83741 h 762315"/>
                  <a:gd name="connsiteX212" fmla="*/ 101022 w 928475"/>
                  <a:gd name="connsiteY212" fmla="*/ 81747 h 762315"/>
                  <a:gd name="connsiteX213" fmla="*/ 107668 w 928475"/>
                  <a:gd name="connsiteY213" fmla="*/ 81747 h 762315"/>
                  <a:gd name="connsiteX214" fmla="*/ 132924 w 928475"/>
                  <a:gd name="connsiteY214" fmla="*/ 81747 h 762315"/>
                  <a:gd name="connsiteX215" fmla="*/ 186758 w 928475"/>
                  <a:gd name="connsiteY215" fmla="*/ 82412 h 762315"/>
                  <a:gd name="connsiteX216" fmla="*/ 199386 w 928475"/>
                  <a:gd name="connsiteY216" fmla="*/ 82412 h 762315"/>
                  <a:gd name="connsiteX217" fmla="*/ 203373 w 928475"/>
                  <a:gd name="connsiteY217" fmla="*/ 81747 h 762315"/>
                  <a:gd name="connsiteX218" fmla="*/ 207361 w 928475"/>
                  <a:gd name="connsiteY218" fmla="*/ 79754 h 762315"/>
                  <a:gd name="connsiteX219" fmla="*/ 211349 w 928475"/>
                  <a:gd name="connsiteY219" fmla="*/ 76431 h 762315"/>
                  <a:gd name="connsiteX220" fmla="*/ 215337 w 928475"/>
                  <a:gd name="connsiteY220" fmla="*/ 72443 h 762315"/>
                  <a:gd name="connsiteX221" fmla="*/ 218660 w 928475"/>
                  <a:gd name="connsiteY221" fmla="*/ 67791 h 762315"/>
                  <a:gd name="connsiteX222" fmla="*/ 221983 w 928475"/>
                  <a:gd name="connsiteY222" fmla="*/ 61809 h 762315"/>
                  <a:gd name="connsiteX223" fmla="*/ 224641 w 928475"/>
                  <a:gd name="connsiteY223" fmla="*/ 55827 h 762315"/>
                  <a:gd name="connsiteX224" fmla="*/ 226635 w 928475"/>
                  <a:gd name="connsiteY224" fmla="*/ 48517 h 762315"/>
                  <a:gd name="connsiteX225" fmla="*/ 228629 w 928475"/>
                  <a:gd name="connsiteY225" fmla="*/ 42535 h 762315"/>
                  <a:gd name="connsiteX226" fmla="*/ 231952 w 928475"/>
                  <a:gd name="connsiteY226" fmla="*/ 35889 h 762315"/>
                  <a:gd name="connsiteX227" fmla="*/ 236604 w 928475"/>
                  <a:gd name="connsiteY227" fmla="*/ 27914 h 762315"/>
                  <a:gd name="connsiteX228" fmla="*/ 239928 w 928475"/>
                  <a:gd name="connsiteY228" fmla="*/ 24591 h 762315"/>
                  <a:gd name="connsiteX229" fmla="*/ 243251 w 928475"/>
                  <a:gd name="connsiteY229" fmla="*/ 20603 h 762315"/>
                  <a:gd name="connsiteX230" fmla="*/ 247238 w 928475"/>
                  <a:gd name="connsiteY230" fmla="*/ 17280 h 762315"/>
                  <a:gd name="connsiteX231" fmla="*/ 251891 w 928475"/>
                  <a:gd name="connsiteY231" fmla="*/ 13957 h 762315"/>
                  <a:gd name="connsiteX232" fmla="*/ 256543 w 928475"/>
                  <a:gd name="connsiteY232" fmla="*/ 11298 h 762315"/>
                  <a:gd name="connsiteX233" fmla="*/ 262525 w 928475"/>
                  <a:gd name="connsiteY233" fmla="*/ 8640 h 762315"/>
                  <a:gd name="connsiteX234" fmla="*/ 269171 w 928475"/>
                  <a:gd name="connsiteY234" fmla="*/ 7311 h 762315"/>
                  <a:gd name="connsiteX235" fmla="*/ 275817 w 928475"/>
                  <a:gd name="connsiteY235" fmla="*/ 6646 h 762315"/>
                  <a:gd name="connsiteX236" fmla="*/ 315694 w 928475"/>
                  <a:gd name="connsiteY236" fmla="*/ 4652 h 762315"/>
                  <a:gd name="connsiteX237" fmla="*/ 352913 w 928475"/>
                  <a:gd name="connsiteY237" fmla="*/ 3987 h 762315"/>
                  <a:gd name="connsiteX238" fmla="*/ 428681 w 928475"/>
                  <a:gd name="connsiteY238" fmla="*/ 3987 h 762315"/>
                  <a:gd name="connsiteX239" fmla="*/ 557617 w 928475"/>
                  <a:gd name="connsiteY239" fmla="*/ 3323 h 762315"/>
                  <a:gd name="connsiteX240" fmla="*/ 622085 w 928475"/>
                  <a:gd name="connsiteY240" fmla="*/ 2658 h 762315"/>
                  <a:gd name="connsiteX241" fmla="*/ 685888 w 928475"/>
                  <a:gd name="connsiteY241" fmla="*/ 1329 h 762315"/>
                  <a:gd name="connsiteX242" fmla="*/ 710479 w 928475"/>
                  <a:gd name="connsiteY242" fmla="*/ 664 h 762315"/>
                  <a:gd name="connsiteX243" fmla="*/ 737064 w 928475"/>
                  <a:gd name="connsiteY243" fmla="*/ 0 h 762315"/>
                  <a:gd name="connsiteX244" fmla="*/ 763649 w 928475"/>
                  <a:gd name="connsiteY244" fmla="*/ 664 h 762315"/>
                  <a:gd name="connsiteX245" fmla="*/ 776277 w 928475"/>
                  <a:gd name="connsiteY245" fmla="*/ 1329 h 762315"/>
                  <a:gd name="connsiteX246" fmla="*/ 788240 w 928475"/>
                  <a:gd name="connsiteY246" fmla="*/ 2658 h 762315"/>
                  <a:gd name="connsiteX247" fmla="*/ 796215 w 928475"/>
                  <a:gd name="connsiteY247" fmla="*/ 4652 h 762315"/>
                  <a:gd name="connsiteX248" fmla="*/ 804191 w 928475"/>
                  <a:gd name="connsiteY248" fmla="*/ 6646 h 762315"/>
                  <a:gd name="connsiteX249" fmla="*/ 812166 w 928475"/>
                  <a:gd name="connsiteY249" fmla="*/ 9969 h 762315"/>
                  <a:gd name="connsiteX250" fmla="*/ 819477 w 928475"/>
                  <a:gd name="connsiteY250" fmla="*/ 13292 h 762315"/>
                  <a:gd name="connsiteX251" fmla="*/ 827453 w 928475"/>
                  <a:gd name="connsiteY251" fmla="*/ 17280 h 762315"/>
                  <a:gd name="connsiteX252" fmla="*/ 834763 w 928475"/>
                  <a:gd name="connsiteY252" fmla="*/ 21267 h 762315"/>
                  <a:gd name="connsiteX253" fmla="*/ 848720 w 928475"/>
                  <a:gd name="connsiteY253" fmla="*/ 31237 h 762315"/>
                  <a:gd name="connsiteX254" fmla="*/ 856696 w 928475"/>
                  <a:gd name="connsiteY254" fmla="*/ 35889 h 762315"/>
                  <a:gd name="connsiteX255" fmla="*/ 866000 w 928475"/>
                  <a:gd name="connsiteY255" fmla="*/ 40541 h 762315"/>
                  <a:gd name="connsiteX256" fmla="*/ 875970 w 928475"/>
                  <a:gd name="connsiteY256" fmla="*/ 46523 h 762315"/>
                  <a:gd name="connsiteX257" fmla="*/ 881287 w 928475"/>
                  <a:gd name="connsiteY257" fmla="*/ 50511 h 762315"/>
                  <a:gd name="connsiteX258" fmla="*/ 886604 w 928475"/>
                  <a:gd name="connsiteY258" fmla="*/ 54498 h 762315"/>
                  <a:gd name="connsiteX259" fmla="*/ 891256 w 928475"/>
                  <a:gd name="connsiteY259" fmla="*/ 59815 h 762315"/>
                  <a:gd name="connsiteX260" fmla="*/ 895908 w 928475"/>
                  <a:gd name="connsiteY260" fmla="*/ 65132 h 762315"/>
                  <a:gd name="connsiteX261" fmla="*/ 901225 w 928475"/>
                  <a:gd name="connsiteY261" fmla="*/ 71114 h 762315"/>
                  <a:gd name="connsiteX262" fmla="*/ 905213 w 928475"/>
                  <a:gd name="connsiteY262" fmla="*/ 77760 h 762315"/>
                  <a:gd name="connsiteX263" fmla="*/ 909865 w 928475"/>
                  <a:gd name="connsiteY263" fmla="*/ 84406 h 762315"/>
                  <a:gd name="connsiteX264" fmla="*/ 913853 w 928475"/>
                  <a:gd name="connsiteY264" fmla="*/ 92381 h 762315"/>
                  <a:gd name="connsiteX265" fmla="*/ 917176 w 928475"/>
                  <a:gd name="connsiteY265" fmla="*/ 101022 h 762315"/>
                  <a:gd name="connsiteX266" fmla="*/ 920499 w 928475"/>
                  <a:gd name="connsiteY266" fmla="*/ 109662 h 762315"/>
                  <a:gd name="connsiteX267" fmla="*/ 923158 w 928475"/>
                  <a:gd name="connsiteY267" fmla="*/ 119632 h 762315"/>
                  <a:gd name="connsiteX268" fmla="*/ 925152 w 928475"/>
                  <a:gd name="connsiteY268" fmla="*/ 130265 h 762315"/>
                  <a:gd name="connsiteX269" fmla="*/ 926481 w 928475"/>
                  <a:gd name="connsiteY269" fmla="*/ 142893 h 762315"/>
                  <a:gd name="connsiteX270" fmla="*/ 927810 w 928475"/>
                  <a:gd name="connsiteY270" fmla="*/ 156185 h 762315"/>
                  <a:gd name="connsiteX271" fmla="*/ 928475 w 928475"/>
                  <a:gd name="connsiteY271" fmla="*/ 169478 h 762315"/>
                  <a:gd name="connsiteX272" fmla="*/ 928475 w 928475"/>
                  <a:gd name="connsiteY272" fmla="*/ 182770 h 762315"/>
                  <a:gd name="connsiteX273" fmla="*/ 927810 w 928475"/>
                  <a:gd name="connsiteY273" fmla="*/ 210019 h 762315"/>
                  <a:gd name="connsiteX274" fmla="*/ 927146 w 928475"/>
                  <a:gd name="connsiteY274" fmla="*/ 235939 h 762315"/>
                  <a:gd name="connsiteX275" fmla="*/ 926481 w 928475"/>
                  <a:gd name="connsiteY275" fmla="*/ 257207 h 762315"/>
                  <a:gd name="connsiteX276" fmla="*/ 925816 w 928475"/>
                  <a:gd name="connsiteY276" fmla="*/ 275816 h 762315"/>
                  <a:gd name="connsiteX277" fmla="*/ 925816 w 928475"/>
                  <a:gd name="connsiteY277" fmla="*/ 360222 h 762315"/>
                  <a:gd name="connsiteX278" fmla="*/ 925816 w 928475"/>
                  <a:gd name="connsiteY278" fmla="*/ 372185 h 762315"/>
                  <a:gd name="connsiteX279" fmla="*/ 925816 w 928475"/>
                  <a:gd name="connsiteY279" fmla="*/ 393453 h 762315"/>
                  <a:gd name="connsiteX280" fmla="*/ 925152 w 928475"/>
                  <a:gd name="connsiteY280" fmla="*/ 413392 h 762315"/>
                  <a:gd name="connsiteX281" fmla="*/ 924487 w 928475"/>
                  <a:gd name="connsiteY281" fmla="*/ 422696 h 762315"/>
                  <a:gd name="connsiteX282" fmla="*/ 923822 w 928475"/>
                  <a:gd name="connsiteY282" fmla="*/ 432001 h 762315"/>
                  <a:gd name="connsiteX283" fmla="*/ 921829 w 928475"/>
                  <a:gd name="connsiteY283" fmla="*/ 441305 h 762315"/>
                  <a:gd name="connsiteX284" fmla="*/ 919835 w 928475"/>
                  <a:gd name="connsiteY284" fmla="*/ 450610 h 762315"/>
                  <a:gd name="connsiteX285" fmla="*/ 915847 w 928475"/>
                  <a:gd name="connsiteY285" fmla="*/ 461909 h 762315"/>
                  <a:gd name="connsiteX286" fmla="*/ 911195 w 928475"/>
                  <a:gd name="connsiteY286" fmla="*/ 472542 h 762315"/>
                  <a:gd name="connsiteX287" fmla="*/ 905213 w 928475"/>
                  <a:gd name="connsiteY287" fmla="*/ 481847 h 762315"/>
                  <a:gd name="connsiteX288" fmla="*/ 897902 w 928475"/>
                  <a:gd name="connsiteY288" fmla="*/ 489822 h 762315"/>
                  <a:gd name="connsiteX289" fmla="*/ 890591 w 928475"/>
                  <a:gd name="connsiteY289" fmla="*/ 497133 h 762315"/>
                  <a:gd name="connsiteX290" fmla="*/ 881287 w 928475"/>
                  <a:gd name="connsiteY290" fmla="*/ 503115 h 762315"/>
                  <a:gd name="connsiteX291" fmla="*/ 871982 w 928475"/>
                  <a:gd name="connsiteY291" fmla="*/ 507767 h 762315"/>
                  <a:gd name="connsiteX292" fmla="*/ 862013 w 928475"/>
                  <a:gd name="connsiteY292" fmla="*/ 511755 h 762315"/>
                  <a:gd name="connsiteX293" fmla="*/ 861348 w 928475"/>
                  <a:gd name="connsiteY293" fmla="*/ 514413 h 762315"/>
                  <a:gd name="connsiteX294" fmla="*/ 860019 w 928475"/>
                  <a:gd name="connsiteY294" fmla="*/ 517072 h 762315"/>
                  <a:gd name="connsiteX295" fmla="*/ 856696 w 928475"/>
                  <a:gd name="connsiteY295" fmla="*/ 523718 h 762315"/>
                  <a:gd name="connsiteX296" fmla="*/ 851379 w 928475"/>
                  <a:gd name="connsiteY296" fmla="*/ 529699 h 762315"/>
                  <a:gd name="connsiteX297" fmla="*/ 846062 w 928475"/>
                  <a:gd name="connsiteY297" fmla="*/ 535681 h 762315"/>
                  <a:gd name="connsiteX298" fmla="*/ 841410 w 928475"/>
                  <a:gd name="connsiteY298" fmla="*/ 539004 h 762315"/>
                  <a:gd name="connsiteX299" fmla="*/ 836757 w 928475"/>
                  <a:gd name="connsiteY299" fmla="*/ 542327 h 762315"/>
                  <a:gd name="connsiteX300" fmla="*/ 831440 w 928475"/>
                  <a:gd name="connsiteY300" fmla="*/ 544321 h 762315"/>
                  <a:gd name="connsiteX301" fmla="*/ 826123 w 928475"/>
                  <a:gd name="connsiteY301" fmla="*/ 546315 h 762315"/>
                  <a:gd name="connsiteX302" fmla="*/ 820806 w 928475"/>
                  <a:gd name="connsiteY302" fmla="*/ 548309 h 762315"/>
                  <a:gd name="connsiteX303" fmla="*/ 814825 w 928475"/>
                  <a:gd name="connsiteY303" fmla="*/ 549638 h 762315"/>
                  <a:gd name="connsiteX304" fmla="*/ 808179 w 928475"/>
                  <a:gd name="connsiteY304" fmla="*/ 550302 h 762315"/>
                  <a:gd name="connsiteX305" fmla="*/ 802197 w 928475"/>
                  <a:gd name="connsiteY305" fmla="*/ 550302 h 762315"/>
                  <a:gd name="connsiteX306" fmla="*/ 791563 w 928475"/>
                  <a:gd name="connsiteY306" fmla="*/ 549638 h 762315"/>
                  <a:gd name="connsiteX307" fmla="*/ 786911 w 928475"/>
                  <a:gd name="connsiteY307" fmla="*/ 549638 h 762315"/>
                  <a:gd name="connsiteX308" fmla="*/ 787575 w 928475"/>
                  <a:gd name="connsiteY308" fmla="*/ 605465 h 762315"/>
                  <a:gd name="connsiteX309" fmla="*/ 787575 w 928475"/>
                  <a:gd name="connsiteY309" fmla="*/ 634044 h 762315"/>
                  <a:gd name="connsiteX310" fmla="*/ 787575 w 928475"/>
                  <a:gd name="connsiteY310" fmla="*/ 658635 h 762315"/>
                  <a:gd name="connsiteX311" fmla="*/ 786911 w 928475"/>
                  <a:gd name="connsiteY311" fmla="*/ 669269 h 762315"/>
                  <a:gd name="connsiteX312" fmla="*/ 785581 w 928475"/>
                  <a:gd name="connsiteY312" fmla="*/ 676579 h 762315"/>
                  <a:gd name="connsiteX313" fmla="*/ 783588 w 928475"/>
                  <a:gd name="connsiteY313" fmla="*/ 683226 h 762315"/>
                  <a:gd name="connsiteX314" fmla="*/ 780265 w 928475"/>
                  <a:gd name="connsiteY314" fmla="*/ 689207 h 762315"/>
                  <a:gd name="connsiteX315" fmla="*/ 775612 w 928475"/>
                  <a:gd name="connsiteY315" fmla="*/ 694524 h 762315"/>
                  <a:gd name="connsiteX316" fmla="*/ 770295 w 928475"/>
                  <a:gd name="connsiteY316" fmla="*/ 698512 h 762315"/>
                  <a:gd name="connsiteX317" fmla="*/ 763649 w 928475"/>
                  <a:gd name="connsiteY317" fmla="*/ 701835 h 762315"/>
                  <a:gd name="connsiteX318" fmla="*/ 757003 w 928475"/>
                  <a:gd name="connsiteY318" fmla="*/ 703829 h 762315"/>
                  <a:gd name="connsiteX319" fmla="*/ 750357 w 928475"/>
                  <a:gd name="connsiteY319" fmla="*/ 705158 h 762315"/>
                  <a:gd name="connsiteX320" fmla="*/ 739723 w 928475"/>
                  <a:gd name="connsiteY320" fmla="*/ 705158 h 762315"/>
                  <a:gd name="connsiteX321" fmla="*/ 738393 w 928475"/>
                  <a:gd name="connsiteY321" fmla="*/ 705158 h 762315"/>
                  <a:gd name="connsiteX322" fmla="*/ 737064 w 928475"/>
                  <a:gd name="connsiteY322" fmla="*/ 707152 h 762315"/>
                  <a:gd name="connsiteX323" fmla="*/ 735735 w 928475"/>
                  <a:gd name="connsiteY323" fmla="*/ 714462 h 762315"/>
                  <a:gd name="connsiteX324" fmla="*/ 731083 w 928475"/>
                  <a:gd name="connsiteY324" fmla="*/ 737724 h 762315"/>
                  <a:gd name="connsiteX325" fmla="*/ 713803 w 928475"/>
                  <a:gd name="connsiteY325" fmla="*/ 750352 h 762315"/>
                  <a:gd name="connsiteX326" fmla="*/ 707821 w 928475"/>
                  <a:gd name="connsiteY326" fmla="*/ 754339 h 762315"/>
                  <a:gd name="connsiteX327" fmla="*/ 701175 w 928475"/>
                  <a:gd name="connsiteY327" fmla="*/ 756998 h 762315"/>
                  <a:gd name="connsiteX328" fmla="*/ 693199 w 928475"/>
                  <a:gd name="connsiteY328" fmla="*/ 759656 h 762315"/>
                  <a:gd name="connsiteX329" fmla="*/ 686553 w 928475"/>
                  <a:gd name="connsiteY329" fmla="*/ 760321 h 762315"/>
                  <a:gd name="connsiteX330" fmla="*/ 632719 w 928475"/>
                  <a:gd name="connsiteY330" fmla="*/ 761650 h 762315"/>
                  <a:gd name="connsiteX331" fmla="*/ 565592 w 928475"/>
                  <a:gd name="connsiteY331" fmla="*/ 762315 h 762315"/>
                  <a:gd name="connsiteX332" fmla="*/ 494478 w 928475"/>
                  <a:gd name="connsiteY332" fmla="*/ 761650 h 762315"/>
                  <a:gd name="connsiteX333" fmla="*/ 421370 w 928475"/>
                  <a:gd name="connsiteY333" fmla="*/ 761650 h 762315"/>
                  <a:gd name="connsiteX334" fmla="*/ 390797 w 928475"/>
                  <a:gd name="connsiteY334" fmla="*/ 761650 h 762315"/>
                  <a:gd name="connsiteX335" fmla="*/ 383486 w 928475"/>
                  <a:gd name="connsiteY335" fmla="*/ 761650 h 762315"/>
                  <a:gd name="connsiteX336" fmla="*/ 375511 w 928475"/>
                  <a:gd name="connsiteY336" fmla="*/ 759656 h 762315"/>
                  <a:gd name="connsiteX337" fmla="*/ 367536 w 928475"/>
                  <a:gd name="connsiteY337" fmla="*/ 756998 h 762315"/>
                  <a:gd name="connsiteX338" fmla="*/ 360225 w 928475"/>
                  <a:gd name="connsiteY338" fmla="*/ 753675 h 762315"/>
                  <a:gd name="connsiteX339" fmla="*/ 352913 w 928475"/>
                  <a:gd name="connsiteY339" fmla="*/ 749022 h 762315"/>
                  <a:gd name="connsiteX340" fmla="*/ 346267 w 928475"/>
                  <a:gd name="connsiteY340" fmla="*/ 744370 h 762315"/>
                  <a:gd name="connsiteX341" fmla="*/ 340285 w 928475"/>
                  <a:gd name="connsiteY341" fmla="*/ 739053 h 762315"/>
                  <a:gd name="connsiteX342" fmla="*/ 335633 w 928475"/>
                  <a:gd name="connsiteY342" fmla="*/ 733072 h 762315"/>
                  <a:gd name="connsiteX343" fmla="*/ 334968 w 928475"/>
                  <a:gd name="connsiteY343" fmla="*/ 731078 h 762315"/>
                  <a:gd name="connsiteX344" fmla="*/ 332974 w 928475"/>
                  <a:gd name="connsiteY344" fmla="*/ 725761 h 762315"/>
                  <a:gd name="connsiteX345" fmla="*/ 332310 w 928475"/>
                  <a:gd name="connsiteY345" fmla="*/ 722438 h 762315"/>
                  <a:gd name="connsiteX346" fmla="*/ 331645 w 928475"/>
                  <a:gd name="connsiteY346" fmla="*/ 717786 h 762315"/>
                  <a:gd name="connsiteX347" fmla="*/ 332310 w 928475"/>
                  <a:gd name="connsiteY347" fmla="*/ 711804 h 762315"/>
                  <a:gd name="connsiteX348" fmla="*/ 332974 w 928475"/>
                  <a:gd name="connsiteY348" fmla="*/ 705158 h 762315"/>
                  <a:gd name="connsiteX349" fmla="*/ 332974 w 928475"/>
                  <a:gd name="connsiteY349" fmla="*/ 704493 h 762315"/>
                  <a:gd name="connsiteX350" fmla="*/ 332974 w 928475"/>
                  <a:gd name="connsiteY350" fmla="*/ 703164 h 762315"/>
                  <a:gd name="connsiteX351" fmla="*/ 332310 w 928475"/>
                  <a:gd name="connsiteY351" fmla="*/ 702499 h 762315"/>
                  <a:gd name="connsiteX352" fmla="*/ 331645 w 928475"/>
                  <a:gd name="connsiteY352" fmla="*/ 702499 h 762315"/>
                  <a:gd name="connsiteX353" fmla="*/ 320347 w 928475"/>
                  <a:gd name="connsiteY353" fmla="*/ 702499 h 762315"/>
                  <a:gd name="connsiteX354" fmla="*/ 313036 w 928475"/>
                  <a:gd name="connsiteY354" fmla="*/ 701835 h 762315"/>
                  <a:gd name="connsiteX355" fmla="*/ 306390 w 928475"/>
                  <a:gd name="connsiteY355" fmla="*/ 699841 h 762315"/>
                  <a:gd name="connsiteX356" fmla="*/ 300408 w 928475"/>
                  <a:gd name="connsiteY356" fmla="*/ 696518 h 762315"/>
                  <a:gd name="connsiteX357" fmla="*/ 295091 w 928475"/>
                  <a:gd name="connsiteY357" fmla="*/ 691866 h 762315"/>
                  <a:gd name="connsiteX358" fmla="*/ 290439 w 928475"/>
                  <a:gd name="connsiteY358" fmla="*/ 686549 h 762315"/>
                  <a:gd name="connsiteX359" fmla="*/ 287116 w 928475"/>
                  <a:gd name="connsiteY359" fmla="*/ 680567 h 762315"/>
                  <a:gd name="connsiteX360" fmla="*/ 285122 w 928475"/>
                  <a:gd name="connsiteY360" fmla="*/ 673921 h 762315"/>
                  <a:gd name="connsiteX361" fmla="*/ 283792 w 928475"/>
                  <a:gd name="connsiteY361" fmla="*/ 667275 h 762315"/>
                  <a:gd name="connsiteX362" fmla="*/ 283792 w 928475"/>
                  <a:gd name="connsiteY362" fmla="*/ 655976 h 762315"/>
                  <a:gd name="connsiteX363" fmla="*/ 283128 w 928475"/>
                  <a:gd name="connsiteY363" fmla="*/ 632050 h 762315"/>
                  <a:gd name="connsiteX364" fmla="*/ 283128 w 928475"/>
                  <a:gd name="connsiteY364" fmla="*/ 604136 h 762315"/>
                  <a:gd name="connsiteX365" fmla="*/ 283792 w 928475"/>
                  <a:gd name="connsiteY365" fmla="*/ 549638 h 762315"/>
                  <a:gd name="connsiteX366" fmla="*/ 283128 w 928475"/>
                  <a:gd name="connsiteY366" fmla="*/ 549638 h 762315"/>
                  <a:gd name="connsiteX367" fmla="*/ 277146 w 928475"/>
                  <a:gd name="connsiteY367" fmla="*/ 550302 h 762315"/>
                  <a:gd name="connsiteX368" fmla="*/ 271829 w 928475"/>
                  <a:gd name="connsiteY368" fmla="*/ 549638 h 762315"/>
                  <a:gd name="connsiteX369" fmla="*/ 270500 w 928475"/>
                  <a:gd name="connsiteY369" fmla="*/ 549638 h 762315"/>
                  <a:gd name="connsiteX370" fmla="*/ 264519 w 928475"/>
                  <a:gd name="connsiteY370" fmla="*/ 548973 h 762315"/>
                  <a:gd name="connsiteX371" fmla="*/ 258537 w 928475"/>
                  <a:gd name="connsiteY371" fmla="*/ 547644 h 762315"/>
                  <a:gd name="connsiteX372" fmla="*/ 253220 w 928475"/>
                  <a:gd name="connsiteY372" fmla="*/ 546315 h 762315"/>
                  <a:gd name="connsiteX373" fmla="*/ 247903 w 928475"/>
                  <a:gd name="connsiteY373" fmla="*/ 544321 h 762315"/>
                  <a:gd name="connsiteX374" fmla="*/ 242586 w 928475"/>
                  <a:gd name="connsiteY374" fmla="*/ 541662 h 762315"/>
                  <a:gd name="connsiteX375" fmla="*/ 237934 w 928475"/>
                  <a:gd name="connsiteY375" fmla="*/ 538339 h 762315"/>
                  <a:gd name="connsiteX376" fmla="*/ 233946 w 928475"/>
                  <a:gd name="connsiteY376" fmla="*/ 535016 h 762315"/>
                  <a:gd name="connsiteX377" fmla="*/ 229958 w 928475"/>
                  <a:gd name="connsiteY377" fmla="*/ 531029 h 762315"/>
                  <a:gd name="connsiteX378" fmla="*/ 227300 w 928475"/>
                  <a:gd name="connsiteY378" fmla="*/ 527705 h 762315"/>
                  <a:gd name="connsiteX379" fmla="*/ 225306 w 928475"/>
                  <a:gd name="connsiteY379" fmla="*/ 524382 h 762315"/>
                  <a:gd name="connsiteX380" fmla="*/ 221318 w 928475"/>
                  <a:gd name="connsiteY380" fmla="*/ 515742 h 762315"/>
                  <a:gd name="connsiteX381" fmla="*/ 218660 w 928475"/>
                  <a:gd name="connsiteY381" fmla="*/ 507102 h 762315"/>
                  <a:gd name="connsiteX382" fmla="*/ 217995 w 928475"/>
                  <a:gd name="connsiteY382" fmla="*/ 503115 h 762315"/>
                  <a:gd name="connsiteX383" fmla="*/ 217995 w 928475"/>
                  <a:gd name="connsiteY383" fmla="*/ 499127 h 762315"/>
                  <a:gd name="connsiteX384" fmla="*/ 217330 w 928475"/>
                  <a:gd name="connsiteY384" fmla="*/ 489822 h 762315"/>
                  <a:gd name="connsiteX385" fmla="*/ 217330 w 928475"/>
                  <a:gd name="connsiteY385" fmla="*/ 485835 h 762315"/>
                  <a:gd name="connsiteX386" fmla="*/ 216001 w 928475"/>
                  <a:gd name="connsiteY386" fmla="*/ 481847 h 762315"/>
                  <a:gd name="connsiteX387" fmla="*/ 214672 w 928475"/>
                  <a:gd name="connsiteY387" fmla="*/ 478524 h 762315"/>
                  <a:gd name="connsiteX388" fmla="*/ 212014 w 928475"/>
                  <a:gd name="connsiteY388" fmla="*/ 475865 h 762315"/>
                  <a:gd name="connsiteX389" fmla="*/ 209355 w 928475"/>
                  <a:gd name="connsiteY389" fmla="*/ 473207 h 762315"/>
                  <a:gd name="connsiteX390" fmla="*/ 206032 w 928475"/>
                  <a:gd name="connsiteY390" fmla="*/ 471878 h 762315"/>
                  <a:gd name="connsiteX391" fmla="*/ 202709 w 928475"/>
                  <a:gd name="connsiteY391" fmla="*/ 470549 h 762315"/>
                  <a:gd name="connsiteX392" fmla="*/ 198721 w 928475"/>
                  <a:gd name="connsiteY392" fmla="*/ 470549 h 762315"/>
                  <a:gd name="connsiteX393" fmla="*/ 186758 w 928475"/>
                  <a:gd name="connsiteY393" fmla="*/ 470549 h 762315"/>
                  <a:gd name="connsiteX394" fmla="*/ 160838 w 928475"/>
                  <a:gd name="connsiteY394" fmla="*/ 470549 h 762315"/>
                  <a:gd name="connsiteX395" fmla="*/ 123619 w 928475"/>
                  <a:gd name="connsiteY395" fmla="*/ 470549 h 762315"/>
                  <a:gd name="connsiteX396" fmla="*/ 107668 w 928475"/>
                  <a:gd name="connsiteY396" fmla="*/ 470549 h 762315"/>
                  <a:gd name="connsiteX397" fmla="*/ 104345 w 928475"/>
                  <a:gd name="connsiteY397" fmla="*/ 470549 h 762315"/>
                  <a:gd name="connsiteX398" fmla="*/ 101022 w 928475"/>
                  <a:gd name="connsiteY398" fmla="*/ 469884 h 762315"/>
                  <a:gd name="connsiteX399" fmla="*/ 97699 w 928475"/>
                  <a:gd name="connsiteY399" fmla="*/ 468555 h 762315"/>
                  <a:gd name="connsiteX400" fmla="*/ 94376 w 928475"/>
                  <a:gd name="connsiteY400" fmla="*/ 467225 h 762315"/>
                  <a:gd name="connsiteX401" fmla="*/ 88394 w 928475"/>
                  <a:gd name="connsiteY401" fmla="*/ 462573 h 762315"/>
                  <a:gd name="connsiteX402" fmla="*/ 83077 w 928475"/>
                  <a:gd name="connsiteY402" fmla="*/ 457921 h 762315"/>
                  <a:gd name="connsiteX403" fmla="*/ 78425 w 928475"/>
                  <a:gd name="connsiteY403" fmla="*/ 451939 h 762315"/>
                  <a:gd name="connsiteX404" fmla="*/ 75102 w 928475"/>
                  <a:gd name="connsiteY404" fmla="*/ 445958 h 762315"/>
                  <a:gd name="connsiteX405" fmla="*/ 73108 w 928475"/>
                  <a:gd name="connsiteY405" fmla="*/ 441305 h 762315"/>
                  <a:gd name="connsiteX406" fmla="*/ 72443 w 928475"/>
                  <a:gd name="connsiteY406" fmla="*/ 436653 h 762315"/>
                  <a:gd name="connsiteX407" fmla="*/ 71779 w 928475"/>
                  <a:gd name="connsiteY407" fmla="*/ 432665 h 762315"/>
                  <a:gd name="connsiteX408" fmla="*/ 69785 w 928475"/>
                  <a:gd name="connsiteY408" fmla="*/ 428678 h 762315"/>
                  <a:gd name="connsiteX409" fmla="*/ 67126 w 928475"/>
                  <a:gd name="connsiteY409" fmla="*/ 424025 h 762315"/>
                  <a:gd name="connsiteX410" fmla="*/ 63139 w 928475"/>
                  <a:gd name="connsiteY410" fmla="*/ 420038 h 762315"/>
                  <a:gd name="connsiteX411" fmla="*/ 58486 w 928475"/>
                  <a:gd name="connsiteY411" fmla="*/ 415385 h 762315"/>
                  <a:gd name="connsiteX412" fmla="*/ 53169 w 928475"/>
                  <a:gd name="connsiteY412" fmla="*/ 411398 h 762315"/>
                  <a:gd name="connsiteX413" fmla="*/ 47188 w 928475"/>
                  <a:gd name="connsiteY413" fmla="*/ 407410 h 762315"/>
                  <a:gd name="connsiteX414" fmla="*/ 40542 w 928475"/>
                  <a:gd name="connsiteY414" fmla="*/ 404087 h 762315"/>
                  <a:gd name="connsiteX415" fmla="*/ 36554 w 928475"/>
                  <a:gd name="connsiteY415" fmla="*/ 401429 h 762315"/>
                  <a:gd name="connsiteX416" fmla="*/ 31902 w 928475"/>
                  <a:gd name="connsiteY416" fmla="*/ 398105 h 762315"/>
                  <a:gd name="connsiteX417" fmla="*/ 26585 w 928475"/>
                  <a:gd name="connsiteY417" fmla="*/ 393453 h 762315"/>
                  <a:gd name="connsiteX418" fmla="*/ 20603 w 928475"/>
                  <a:gd name="connsiteY418" fmla="*/ 387472 h 762315"/>
                  <a:gd name="connsiteX419" fmla="*/ 14621 w 928475"/>
                  <a:gd name="connsiteY419" fmla="*/ 380161 h 762315"/>
                  <a:gd name="connsiteX420" fmla="*/ 9305 w 928475"/>
                  <a:gd name="connsiteY420" fmla="*/ 370856 h 762315"/>
                  <a:gd name="connsiteX421" fmla="*/ 7311 w 928475"/>
                  <a:gd name="connsiteY421" fmla="*/ 365539 h 762315"/>
                  <a:gd name="connsiteX422" fmla="*/ 5317 w 928475"/>
                  <a:gd name="connsiteY422" fmla="*/ 360222 h 762315"/>
                  <a:gd name="connsiteX423" fmla="*/ 2658 w 928475"/>
                  <a:gd name="connsiteY423" fmla="*/ 351582 h 762315"/>
                  <a:gd name="connsiteX424" fmla="*/ 1329 w 928475"/>
                  <a:gd name="connsiteY424" fmla="*/ 342278 h 762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Lst>
                <a:rect l="l" t="t" r="r" b="b"/>
                <a:pathLst>
                  <a:path w="928475" h="762315">
                    <a:moveTo>
                      <a:pt x="840077" y="467226"/>
                    </a:moveTo>
                    <a:lnTo>
                      <a:pt x="847388" y="465897"/>
                    </a:lnTo>
                    <a:lnTo>
                      <a:pt x="853369" y="463903"/>
                    </a:lnTo>
                    <a:lnTo>
                      <a:pt x="858686" y="460580"/>
                    </a:lnTo>
                    <a:lnTo>
                      <a:pt x="863339" y="456592"/>
                    </a:lnTo>
                    <a:lnTo>
                      <a:pt x="867326" y="451940"/>
                    </a:lnTo>
                    <a:lnTo>
                      <a:pt x="870649" y="446623"/>
                    </a:lnTo>
                    <a:lnTo>
                      <a:pt x="872643" y="439977"/>
                    </a:lnTo>
                    <a:lnTo>
                      <a:pt x="874637" y="433330"/>
                    </a:lnTo>
                    <a:lnTo>
                      <a:pt x="875966" y="425355"/>
                    </a:lnTo>
                    <a:lnTo>
                      <a:pt x="877296" y="417380"/>
                    </a:lnTo>
                    <a:lnTo>
                      <a:pt x="877960" y="399435"/>
                    </a:lnTo>
                    <a:lnTo>
                      <a:pt x="877960" y="380161"/>
                    </a:lnTo>
                    <a:lnTo>
                      <a:pt x="877960" y="360223"/>
                    </a:lnTo>
                    <a:lnTo>
                      <a:pt x="877960" y="275817"/>
                    </a:lnTo>
                    <a:lnTo>
                      <a:pt x="878625" y="247903"/>
                    </a:lnTo>
                    <a:lnTo>
                      <a:pt x="879954" y="217995"/>
                    </a:lnTo>
                    <a:lnTo>
                      <a:pt x="880619" y="187423"/>
                    </a:lnTo>
                    <a:lnTo>
                      <a:pt x="880619" y="172137"/>
                    </a:lnTo>
                    <a:lnTo>
                      <a:pt x="879954" y="157515"/>
                    </a:lnTo>
                    <a:lnTo>
                      <a:pt x="878625" y="143558"/>
                    </a:lnTo>
                    <a:lnTo>
                      <a:pt x="876631" y="130931"/>
                    </a:lnTo>
                    <a:lnTo>
                      <a:pt x="873308" y="118968"/>
                    </a:lnTo>
                    <a:lnTo>
                      <a:pt x="871314" y="113651"/>
                    </a:lnTo>
                    <a:lnTo>
                      <a:pt x="869320" y="108334"/>
                    </a:lnTo>
                    <a:lnTo>
                      <a:pt x="866662" y="103682"/>
                    </a:lnTo>
                    <a:lnTo>
                      <a:pt x="864003" y="99693"/>
                    </a:lnTo>
                    <a:lnTo>
                      <a:pt x="860680" y="95705"/>
                    </a:lnTo>
                    <a:lnTo>
                      <a:pt x="857357" y="92382"/>
                    </a:lnTo>
                    <a:lnTo>
                      <a:pt x="853369" y="89724"/>
                    </a:lnTo>
                    <a:lnTo>
                      <a:pt x="849381" y="87065"/>
                    </a:lnTo>
                    <a:lnTo>
                      <a:pt x="844729" y="85071"/>
                    </a:lnTo>
                    <a:lnTo>
                      <a:pt x="840077" y="84407"/>
                    </a:lnTo>
                    <a:close/>
                    <a:moveTo>
                      <a:pt x="779597" y="501786"/>
                    </a:moveTo>
                    <a:lnTo>
                      <a:pt x="784250" y="501786"/>
                    </a:lnTo>
                    <a:lnTo>
                      <a:pt x="788902" y="501786"/>
                    </a:lnTo>
                    <a:lnTo>
                      <a:pt x="798871" y="502450"/>
                    </a:lnTo>
                    <a:lnTo>
                      <a:pt x="803523" y="502450"/>
                    </a:lnTo>
                    <a:lnTo>
                      <a:pt x="807511" y="501786"/>
                    </a:lnTo>
                    <a:lnTo>
                      <a:pt x="812163" y="501121"/>
                    </a:lnTo>
                    <a:lnTo>
                      <a:pt x="815486" y="499127"/>
                    </a:lnTo>
                    <a:lnTo>
                      <a:pt x="816151" y="489158"/>
                    </a:lnTo>
                    <a:lnTo>
                      <a:pt x="816816" y="476530"/>
                    </a:lnTo>
                    <a:lnTo>
                      <a:pt x="817480" y="447952"/>
                    </a:lnTo>
                    <a:lnTo>
                      <a:pt x="817480" y="388801"/>
                    </a:lnTo>
                    <a:lnTo>
                      <a:pt x="817480" y="217331"/>
                    </a:lnTo>
                    <a:lnTo>
                      <a:pt x="816816" y="133589"/>
                    </a:lnTo>
                    <a:lnTo>
                      <a:pt x="816151" y="53834"/>
                    </a:lnTo>
                    <a:lnTo>
                      <a:pt x="812828" y="51840"/>
                    </a:lnTo>
                    <a:lnTo>
                      <a:pt x="808176" y="50511"/>
                    </a:lnTo>
                    <a:lnTo>
                      <a:pt x="804188" y="50511"/>
                    </a:lnTo>
                    <a:lnTo>
                      <a:pt x="798871" y="50511"/>
                    </a:lnTo>
                    <a:lnTo>
                      <a:pt x="788902" y="50511"/>
                    </a:lnTo>
                    <a:lnTo>
                      <a:pt x="784250" y="51176"/>
                    </a:lnTo>
                    <a:lnTo>
                      <a:pt x="779597" y="50511"/>
                    </a:lnTo>
                    <a:close/>
                    <a:moveTo>
                      <a:pt x="380161" y="713798"/>
                    </a:moveTo>
                    <a:lnTo>
                      <a:pt x="454599" y="713798"/>
                    </a:lnTo>
                    <a:lnTo>
                      <a:pt x="533024" y="713798"/>
                    </a:lnTo>
                    <a:lnTo>
                      <a:pt x="610784" y="713798"/>
                    </a:lnTo>
                    <a:lnTo>
                      <a:pt x="648667" y="713798"/>
                    </a:lnTo>
                    <a:lnTo>
                      <a:pt x="685222" y="712469"/>
                    </a:lnTo>
                    <a:lnTo>
                      <a:pt x="687215" y="709811"/>
                    </a:lnTo>
                    <a:lnTo>
                      <a:pt x="688545" y="706487"/>
                    </a:lnTo>
                    <a:lnTo>
                      <a:pt x="689209" y="701835"/>
                    </a:lnTo>
                    <a:lnTo>
                      <a:pt x="689209" y="697183"/>
                    </a:lnTo>
                    <a:lnTo>
                      <a:pt x="689209" y="686549"/>
                    </a:lnTo>
                    <a:lnTo>
                      <a:pt x="689209" y="675915"/>
                    </a:lnTo>
                    <a:lnTo>
                      <a:pt x="380826" y="675915"/>
                    </a:lnTo>
                    <a:lnTo>
                      <a:pt x="380826" y="686549"/>
                    </a:lnTo>
                    <a:lnTo>
                      <a:pt x="380826" y="695854"/>
                    </a:lnTo>
                    <a:lnTo>
                      <a:pt x="380826" y="704494"/>
                    </a:lnTo>
                    <a:close/>
                    <a:moveTo>
                      <a:pt x="359518" y="138139"/>
                    </a:moveTo>
                    <a:cubicBezTo>
                      <a:pt x="359518" y="117315"/>
                      <a:pt x="385312" y="100436"/>
                      <a:pt x="417123" y="100436"/>
                    </a:cubicBezTo>
                    <a:lnTo>
                      <a:pt x="659974" y="100436"/>
                    </a:lnTo>
                    <a:cubicBezTo>
                      <a:pt x="691785" y="100436"/>
                      <a:pt x="717578" y="117315"/>
                      <a:pt x="717578" y="138139"/>
                    </a:cubicBezTo>
                    <a:cubicBezTo>
                      <a:pt x="717578" y="158962"/>
                      <a:pt x="691785" y="175841"/>
                      <a:pt x="659974" y="175841"/>
                    </a:cubicBezTo>
                    <a:lnTo>
                      <a:pt x="417123" y="175841"/>
                    </a:lnTo>
                    <a:cubicBezTo>
                      <a:pt x="385312" y="175841"/>
                      <a:pt x="359518" y="158962"/>
                      <a:pt x="359518" y="138139"/>
                    </a:cubicBezTo>
                    <a:close/>
                    <a:moveTo>
                      <a:pt x="359517" y="275097"/>
                    </a:moveTo>
                    <a:cubicBezTo>
                      <a:pt x="359517" y="254273"/>
                      <a:pt x="385311" y="237394"/>
                      <a:pt x="417122" y="237394"/>
                    </a:cubicBezTo>
                    <a:lnTo>
                      <a:pt x="659973" y="237394"/>
                    </a:lnTo>
                    <a:cubicBezTo>
                      <a:pt x="691784" y="237394"/>
                      <a:pt x="717577" y="254273"/>
                      <a:pt x="717577" y="275097"/>
                    </a:cubicBezTo>
                    <a:cubicBezTo>
                      <a:pt x="717577" y="295920"/>
                      <a:pt x="691784" y="312799"/>
                      <a:pt x="659973" y="312799"/>
                    </a:cubicBezTo>
                    <a:lnTo>
                      <a:pt x="417122" y="312799"/>
                    </a:lnTo>
                    <a:cubicBezTo>
                      <a:pt x="385311" y="312799"/>
                      <a:pt x="359517" y="295920"/>
                      <a:pt x="359517" y="275097"/>
                    </a:cubicBezTo>
                    <a:close/>
                    <a:moveTo>
                      <a:pt x="359516" y="412055"/>
                    </a:moveTo>
                    <a:cubicBezTo>
                      <a:pt x="359516" y="391231"/>
                      <a:pt x="385310" y="374352"/>
                      <a:pt x="417121" y="374352"/>
                    </a:cubicBezTo>
                    <a:lnTo>
                      <a:pt x="659972" y="374352"/>
                    </a:lnTo>
                    <a:cubicBezTo>
                      <a:pt x="691783" y="374352"/>
                      <a:pt x="717576" y="391231"/>
                      <a:pt x="717576" y="412055"/>
                    </a:cubicBezTo>
                    <a:cubicBezTo>
                      <a:pt x="717576" y="432878"/>
                      <a:pt x="691783" y="449757"/>
                      <a:pt x="659972" y="449757"/>
                    </a:cubicBezTo>
                    <a:lnTo>
                      <a:pt x="417121" y="449757"/>
                    </a:lnTo>
                    <a:cubicBezTo>
                      <a:pt x="385310" y="449757"/>
                      <a:pt x="359516" y="432878"/>
                      <a:pt x="359516" y="412055"/>
                    </a:cubicBezTo>
                    <a:close/>
                    <a:moveTo>
                      <a:pt x="330979" y="618093"/>
                    </a:moveTo>
                    <a:lnTo>
                      <a:pt x="331643" y="654647"/>
                    </a:lnTo>
                    <a:lnTo>
                      <a:pt x="431337" y="654647"/>
                    </a:lnTo>
                    <a:lnTo>
                      <a:pt x="535682" y="655977"/>
                    </a:lnTo>
                    <a:lnTo>
                      <a:pt x="640027" y="656641"/>
                    </a:lnTo>
                    <a:lnTo>
                      <a:pt x="739720" y="657306"/>
                    </a:lnTo>
                    <a:lnTo>
                      <a:pt x="739720" y="640026"/>
                    </a:lnTo>
                    <a:lnTo>
                      <a:pt x="739720" y="619423"/>
                    </a:lnTo>
                    <a:lnTo>
                      <a:pt x="739055" y="576223"/>
                    </a:lnTo>
                    <a:lnTo>
                      <a:pt x="737726" y="525712"/>
                    </a:lnTo>
                    <a:lnTo>
                      <a:pt x="332308" y="525712"/>
                    </a:lnTo>
                    <a:lnTo>
                      <a:pt x="331643" y="575558"/>
                    </a:lnTo>
                    <a:close/>
                    <a:moveTo>
                      <a:pt x="312010" y="508368"/>
                    </a:moveTo>
                    <a:lnTo>
                      <a:pt x="748776" y="508368"/>
                    </a:lnTo>
                    <a:lnTo>
                      <a:pt x="748776" y="50511"/>
                    </a:lnTo>
                    <a:lnTo>
                      <a:pt x="312010" y="50511"/>
                    </a:lnTo>
                    <a:close/>
                    <a:moveTo>
                      <a:pt x="263852" y="275817"/>
                    </a:moveTo>
                    <a:lnTo>
                      <a:pt x="264516" y="388802"/>
                    </a:lnTo>
                    <a:lnTo>
                      <a:pt x="265846" y="499128"/>
                    </a:lnTo>
                    <a:lnTo>
                      <a:pt x="267839" y="500457"/>
                    </a:lnTo>
                    <a:lnTo>
                      <a:pt x="270498" y="501786"/>
                    </a:lnTo>
                    <a:lnTo>
                      <a:pt x="273156" y="501786"/>
                    </a:lnTo>
                    <a:lnTo>
                      <a:pt x="276480" y="502451"/>
                    </a:lnTo>
                    <a:lnTo>
                      <a:pt x="283790" y="501786"/>
                    </a:lnTo>
                    <a:lnTo>
                      <a:pt x="290437" y="501786"/>
                    </a:lnTo>
                    <a:lnTo>
                      <a:pt x="291101" y="501786"/>
                    </a:lnTo>
                    <a:lnTo>
                      <a:pt x="291766" y="500457"/>
                    </a:lnTo>
                    <a:lnTo>
                      <a:pt x="291766" y="497134"/>
                    </a:lnTo>
                    <a:lnTo>
                      <a:pt x="291766" y="50512"/>
                    </a:lnTo>
                    <a:lnTo>
                      <a:pt x="285120" y="50512"/>
                    </a:lnTo>
                    <a:lnTo>
                      <a:pt x="277809" y="50512"/>
                    </a:lnTo>
                    <a:lnTo>
                      <a:pt x="274486" y="50512"/>
                    </a:lnTo>
                    <a:lnTo>
                      <a:pt x="271163" y="51176"/>
                    </a:lnTo>
                    <a:lnTo>
                      <a:pt x="268504" y="51841"/>
                    </a:lnTo>
                    <a:lnTo>
                      <a:pt x="266510" y="53835"/>
                    </a:lnTo>
                    <a:lnTo>
                      <a:pt x="265181" y="107670"/>
                    </a:lnTo>
                    <a:lnTo>
                      <a:pt x="264516" y="163497"/>
                    </a:lnTo>
                    <a:lnTo>
                      <a:pt x="263852" y="219325"/>
                    </a:lnTo>
                    <a:close/>
                    <a:moveTo>
                      <a:pt x="120295" y="422697"/>
                    </a:moveTo>
                    <a:lnTo>
                      <a:pt x="147544" y="422032"/>
                    </a:lnTo>
                    <a:lnTo>
                      <a:pt x="176788" y="422697"/>
                    </a:lnTo>
                    <a:lnTo>
                      <a:pt x="204037" y="422697"/>
                    </a:lnTo>
                    <a:lnTo>
                      <a:pt x="216000" y="422032"/>
                    </a:lnTo>
                    <a:lnTo>
                      <a:pt x="225970" y="420703"/>
                    </a:lnTo>
                    <a:lnTo>
                      <a:pt x="227963" y="417380"/>
                    </a:lnTo>
                    <a:lnTo>
                      <a:pt x="229293" y="414057"/>
                    </a:lnTo>
                    <a:lnTo>
                      <a:pt x="231287" y="406081"/>
                    </a:lnTo>
                    <a:lnTo>
                      <a:pt x="231951" y="396777"/>
                    </a:lnTo>
                    <a:lnTo>
                      <a:pt x="232616" y="387472"/>
                    </a:lnTo>
                    <a:lnTo>
                      <a:pt x="231951" y="367534"/>
                    </a:lnTo>
                    <a:lnTo>
                      <a:pt x="231951" y="348924"/>
                    </a:lnTo>
                    <a:lnTo>
                      <a:pt x="231951" y="237934"/>
                    </a:lnTo>
                    <a:lnTo>
                      <a:pt x="231287" y="184100"/>
                    </a:lnTo>
                    <a:lnTo>
                      <a:pt x="230622" y="158180"/>
                    </a:lnTo>
                    <a:lnTo>
                      <a:pt x="228628" y="132260"/>
                    </a:lnTo>
                    <a:lnTo>
                      <a:pt x="217994" y="130930"/>
                    </a:lnTo>
                    <a:lnTo>
                      <a:pt x="206031" y="130266"/>
                    </a:lnTo>
                    <a:lnTo>
                      <a:pt x="178117" y="130266"/>
                    </a:lnTo>
                    <a:lnTo>
                      <a:pt x="148209" y="130266"/>
                    </a:lnTo>
                    <a:lnTo>
                      <a:pt x="120295" y="130266"/>
                    </a:lnTo>
                    <a:close/>
                    <a:moveTo>
                      <a:pt x="47851" y="328322"/>
                    </a:moveTo>
                    <a:lnTo>
                      <a:pt x="48515" y="335632"/>
                    </a:lnTo>
                    <a:lnTo>
                      <a:pt x="49845" y="342278"/>
                    </a:lnTo>
                    <a:lnTo>
                      <a:pt x="51839" y="348925"/>
                    </a:lnTo>
                    <a:lnTo>
                      <a:pt x="55162" y="355571"/>
                    </a:lnTo>
                    <a:lnTo>
                      <a:pt x="59149" y="360888"/>
                    </a:lnTo>
                    <a:lnTo>
                      <a:pt x="64466" y="365540"/>
                    </a:lnTo>
                    <a:lnTo>
                      <a:pt x="71113" y="368863"/>
                    </a:lnTo>
                    <a:lnTo>
                      <a:pt x="79088" y="371522"/>
                    </a:lnTo>
                    <a:lnTo>
                      <a:pt x="88393" y="372851"/>
                    </a:lnTo>
                    <a:lnTo>
                      <a:pt x="88393" y="178119"/>
                    </a:lnTo>
                    <a:lnTo>
                      <a:pt x="81082" y="178783"/>
                    </a:lnTo>
                    <a:lnTo>
                      <a:pt x="74436" y="179448"/>
                    </a:lnTo>
                    <a:lnTo>
                      <a:pt x="69119" y="181442"/>
                    </a:lnTo>
                    <a:lnTo>
                      <a:pt x="64466" y="183436"/>
                    </a:lnTo>
                    <a:lnTo>
                      <a:pt x="61143" y="185430"/>
                    </a:lnTo>
                    <a:lnTo>
                      <a:pt x="57820" y="188753"/>
                    </a:lnTo>
                    <a:lnTo>
                      <a:pt x="55162" y="191411"/>
                    </a:lnTo>
                    <a:lnTo>
                      <a:pt x="53832" y="195399"/>
                    </a:lnTo>
                    <a:lnTo>
                      <a:pt x="51839" y="199386"/>
                    </a:lnTo>
                    <a:lnTo>
                      <a:pt x="51174" y="203374"/>
                    </a:lnTo>
                    <a:lnTo>
                      <a:pt x="50509" y="212679"/>
                    </a:lnTo>
                    <a:lnTo>
                      <a:pt x="49845" y="221983"/>
                    </a:lnTo>
                    <a:lnTo>
                      <a:pt x="49845" y="232617"/>
                    </a:lnTo>
                    <a:lnTo>
                      <a:pt x="49845" y="275817"/>
                    </a:lnTo>
                    <a:lnTo>
                      <a:pt x="49845" y="289774"/>
                    </a:lnTo>
                    <a:lnTo>
                      <a:pt x="48515" y="305060"/>
                    </a:lnTo>
                    <a:lnTo>
                      <a:pt x="47851" y="320346"/>
                    </a:lnTo>
                    <a:close/>
                    <a:moveTo>
                      <a:pt x="0" y="333638"/>
                    </a:moveTo>
                    <a:lnTo>
                      <a:pt x="0" y="324998"/>
                    </a:lnTo>
                    <a:lnTo>
                      <a:pt x="0" y="308382"/>
                    </a:lnTo>
                    <a:lnTo>
                      <a:pt x="1329" y="292432"/>
                    </a:lnTo>
                    <a:lnTo>
                      <a:pt x="1994" y="283127"/>
                    </a:lnTo>
                    <a:lnTo>
                      <a:pt x="1994" y="275816"/>
                    </a:lnTo>
                    <a:lnTo>
                      <a:pt x="1994" y="232616"/>
                    </a:lnTo>
                    <a:lnTo>
                      <a:pt x="1994" y="226635"/>
                    </a:lnTo>
                    <a:lnTo>
                      <a:pt x="1994" y="213342"/>
                    </a:lnTo>
                    <a:lnTo>
                      <a:pt x="2658" y="206696"/>
                    </a:lnTo>
                    <a:lnTo>
                      <a:pt x="3323" y="199385"/>
                    </a:lnTo>
                    <a:lnTo>
                      <a:pt x="4652" y="192075"/>
                    </a:lnTo>
                    <a:lnTo>
                      <a:pt x="6646" y="184764"/>
                    </a:lnTo>
                    <a:lnTo>
                      <a:pt x="9305" y="177453"/>
                    </a:lnTo>
                    <a:lnTo>
                      <a:pt x="12628" y="170142"/>
                    </a:lnTo>
                    <a:lnTo>
                      <a:pt x="15951" y="164161"/>
                    </a:lnTo>
                    <a:lnTo>
                      <a:pt x="20603" y="158179"/>
                    </a:lnTo>
                    <a:lnTo>
                      <a:pt x="25920" y="152198"/>
                    </a:lnTo>
                    <a:lnTo>
                      <a:pt x="32566" y="146881"/>
                    </a:lnTo>
                    <a:lnTo>
                      <a:pt x="40542" y="141564"/>
                    </a:lnTo>
                    <a:lnTo>
                      <a:pt x="49846" y="137576"/>
                    </a:lnTo>
                    <a:lnTo>
                      <a:pt x="60480" y="133589"/>
                    </a:lnTo>
                    <a:lnTo>
                      <a:pt x="72443" y="131595"/>
                    </a:lnTo>
                    <a:lnTo>
                      <a:pt x="73108" y="128936"/>
                    </a:lnTo>
                    <a:lnTo>
                      <a:pt x="73108" y="123619"/>
                    </a:lnTo>
                    <a:lnTo>
                      <a:pt x="73108" y="116308"/>
                    </a:lnTo>
                    <a:lnTo>
                      <a:pt x="73773" y="108998"/>
                    </a:lnTo>
                    <a:lnTo>
                      <a:pt x="75767" y="102352"/>
                    </a:lnTo>
                    <a:lnTo>
                      <a:pt x="79090" y="96369"/>
                    </a:lnTo>
                    <a:lnTo>
                      <a:pt x="83077" y="91717"/>
                    </a:lnTo>
                    <a:lnTo>
                      <a:pt x="88394" y="87064"/>
                    </a:lnTo>
                    <a:lnTo>
                      <a:pt x="94376" y="83741"/>
                    </a:lnTo>
                    <a:lnTo>
                      <a:pt x="101022" y="81747"/>
                    </a:lnTo>
                    <a:lnTo>
                      <a:pt x="107668" y="81747"/>
                    </a:lnTo>
                    <a:lnTo>
                      <a:pt x="132924" y="81747"/>
                    </a:lnTo>
                    <a:lnTo>
                      <a:pt x="186758" y="82412"/>
                    </a:lnTo>
                    <a:lnTo>
                      <a:pt x="199386" y="82412"/>
                    </a:lnTo>
                    <a:lnTo>
                      <a:pt x="203373" y="81747"/>
                    </a:lnTo>
                    <a:lnTo>
                      <a:pt x="207361" y="79754"/>
                    </a:lnTo>
                    <a:lnTo>
                      <a:pt x="211349" y="76431"/>
                    </a:lnTo>
                    <a:lnTo>
                      <a:pt x="215337" y="72443"/>
                    </a:lnTo>
                    <a:lnTo>
                      <a:pt x="218660" y="67791"/>
                    </a:lnTo>
                    <a:lnTo>
                      <a:pt x="221983" y="61809"/>
                    </a:lnTo>
                    <a:lnTo>
                      <a:pt x="224641" y="55827"/>
                    </a:lnTo>
                    <a:lnTo>
                      <a:pt x="226635" y="48517"/>
                    </a:lnTo>
                    <a:lnTo>
                      <a:pt x="228629" y="42535"/>
                    </a:lnTo>
                    <a:lnTo>
                      <a:pt x="231952" y="35889"/>
                    </a:lnTo>
                    <a:lnTo>
                      <a:pt x="236604" y="27914"/>
                    </a:lnTo>
                    <a:lnTo>
                      <a:pt x="239928" y="24591"/>
                    </a:lnTo>
                    <a:lnTo>
                      <a:pt x="243251" y="20603"/>
                    </a:lnTo>
                    <a:lnTo>
                      <a:pt x="247238" y="17280"/>
                    </a:lnTo>
                    <a:lnTo>
                      <a:pt x="251891" y="13957"/>
                    </a:lnTo>
                    <a:lnTo>
                      <a:pt x="256543" y="11298"/>
                    </a:lnTo>
                    <a:lnTo>
                      <a:pt x="262525" y="8640"/>
                    </a:lnTo>
                    <a:lnTo>
                      <a:pt x="269171" y="7311"/>
                    </a:lnTo>
                    <a:lnTo>
                      <a:pt x="275817" y="6646"/>
                    </a:lnTo>
                    <a:lnTo>
                      <a:pt x="315694" y="4652"/>
                    </a:lnTo>
                    <a:lnTo>
                      <a:pt x="352913" y="3987"/>
                    </a:lnTo>
                    <a:lnTo>
                      <a:pt x="428681" y="3987"/>
                    </a:lnTo>
                    <a:lnTo>
                      <a:pt x="557617" y="3323"/>
                    </a:lnTo>
                    <a:lnTo>
                      <a:pt x="622085" y="2658"/>
                    </a:lnTo>
                    <a:lnTo>
                      <a:pt x="685888" y="1329"/>
                    </a:lnTo>
                    <a:lnTo>
                      <a:pt x="710479" y="664"/>
                    </a:lnTo>
                    <a:lnTo>
                      <a:pt x="737064" y="0"/>
                    </a:lnTo>
                    <a:lnTo>
                      <a:pt x="763649" y="664"/>
                    </a:lnTo>
                    <a:lnTo>
                      <a:pt x="776277" y="1329"/>
                    </a:lnTo>
                    <a:lnTo>
                      <a:pt x="788240" y="2658"/>
                    </a:lnTo>
                    <a:lnTo>
                      <a:pt x="796215" y="4652"/>
                    </a:lnTo>
                    <a:lnTo>
                      <a:pt x="804191" y="6646"/>
                    </a:lnTo>
                    <a:lnTo>
                      <a:pt x="812166" y="9969"/>
                    </a:lnTo>
                    <a:lnTo>
                      <a:pt x="819477" y="13292"/>
                    </a:lnTo>
                    <a:lnTo>
                      <a:pt x="827453" y="17280"/>
                    </a:lnTo>
                    <a:lnTo>
                      <a:pt x="834763" y="21267"/>
                    </a:lnTo>
                    <a:lnTo>
                      <a:pt x="848720" y="31237"/>
                    </a:lnTo>
                    <a:lnTo>
                      <a:pt x="856696" y="35889"/>
                    </a:lnTo>
                    <a:lnTo>
                      <a:pt x="866000" y="40541"/>
                    </a:lnTo>
                    <a:lnTo>
                      <a:pt x="875970" y="46523"/>
                    </a:lnTo>
                    <a:lnTo>
                      <a:pt x="881287" y="50511"/>
                    </a:lnTo>
                    <a:lnTo>
                      <a:pt x="886604" y="54498"/>
                    </a:lnTo>
                    <a:lnTo>
                      <a:pt x="891256" y="59815"/>
                    </a:lnTo>
                    <a:lnTo>
                      <a:pt x="895908" y="65132"/>
                    </a:lnTo>
                    <a:lnTo>
                      <a:pt x="901225" y="71114"/>
                    </a:lnTo>
                    <a:lnTo>
                      <a:pt x="905213" y="77760"/>
                    </a:lnTo>
                    <a:lnTo>
                      <a:pt x="909865" y="84406"/>
                    </a:lnTo>
                    <a:lnTo>
                      <a:pt x="913853" y="92381"/>
                    </a:lnTo>
                    <a:lnTo>
                      <a:pt x="917176" y="101022"/>
                    </a:lnTo>
                    <a:lnTo>
                      <a:pt x="920499" y="109662"/>
                    </a:lnTo>
                    <a:lnTo>
                      <a:pt x="923158" y="119632"/>
                    </a:lnTo>
                    <a:lnTo>
                      <a:pt x="925152" y="130265"/>
                    </a:lnTo>
                    <a:lnTo>
                      <a:pt x="926481" y="142893"/>
                    </a:lnTo>
                    <a:lnTo>
                      <a:pt x="927810" y="156185"/>
                    </a:lnTo>
                    <a:lnTo>
                      <a:pt x="928475" y="169478"/>
                    </a:lnTo>
                    <a:lnTo>
                      <a:pt x="928475" y="182770"/>
                    </a:lnTo>
                    <a:lnTo>
                      <a:pt x="927810" y="210019"/>
                    </a:lnTo>
                    <a:lnTo>
                      <a:pt x="927146" y="235939"/>
                    </a:lnTo>
                    <a:lnTo>
                      <a:pt x="926481" y="257207"/>
                    </a:lnTo>
                    <a:lnTo>
                      <a:pt x="925816" y="275816"/>
                    </a:lnTo>
                    <a:lnTo>
                      <a:pt x="925816" y="360222"/>
                    </a:lnTo>
                    <a:lnTo>
                      <a:pt x="925816" y="372185"/>
                    </a:lnTo>
                    <a:lnTo>
                      <a:pt x="925816" y="393453"/>
                    </a:lnTo>
                    <a:lnTo>
                      <a:pt x="925152" y="413392"/>
                    </a:lnTo>
                    <a:lnTo>
                      <a:pt x="924487" y="422696"/>
                    </a:lnTo>
                    <a:lnTo>
                      <a:pt x="923822" y="432001"/>
                    </a:lnTo>
                    <a:lnTo>
                      <a:pt x="921829" y="441305"/>
                    </a:lnTo>
                    <a:lnTo>
                      <a:pt x="919835" y="450610"/>
                    </a:lnTo>
                    <a:lnTo>
                      <a:pt x="915847" y="461909"/>
                    </a:lnTo>
                    <a:lnTo>
                      <a:pt x="911195" y="472542"/>
                    </a:lnTo>
                    <a:lnTo>
                      <a:pt x="905213" y="481847"/>
                    </a:lnTo>
                    <a:lnTo>
                      <a:pt x="897902" y="489822"/>
                    </a:lnTo>
                    <a:lnTo>
                      <a:pt x="890591" y="497133"/>
                    </a:lnTo>
                    <a:lnTo>
                      <a:pt x="881287" y="503115"/>
                    </a:lnTo>
                    <a:lnTo>
                      <a:pt x="871982" y="507767"/>
                    </a:lnTo>
                    <a:lnTo>
                      <a:pt x="862013" y="511755"/>
                    </a:lnTo>
                    <a:lnTo>
                      <a:pt x="861348" y="514413"/>
                    </a:lnTo>
                    <a:lnTo>
                      <a:pt x="860019" y="517072"/>
                    </a:lnTo>
                    <a:lnTo>
                      <a:pt x="856696" y="523718"/>
                    </a:lnTo>
                    <a:lnTo>
                      <a:pt x="851379" y="529699"/>
                    </a:lnTo>
                    <a:lnTo>
                      <a:pt x="846062" y="535681"/>
                    </a:lnTo>
                    <a:lnTo>
                      <a:pt x="841410" y="539004"/>
                    </a:lnTo>
                    <a:lnTo>
                      <a:pt x="836757" y="542327"/>
                    </a:lnTo>
                    <a:lnTo>
                      <a:pt x="831440" y="544321"/>
                    </a:lnTo>
                    <a:lnTo>
                      <a:pt x="826123" y="546315"/>
                    </a:lnTo>
                    <a:lnTo>
                      <a:pt x="820806" y="548309"/>
                    </a:lnTo>
                    <a:lnTo>
                      <a:pt x="814825" y="549638"/>
                    </a:lnTo>
                    <a:lnTo>
                      <a:pt x="808179" y="550302"/>
                    </a:lnTo>
                    <a:lnTo>
                      <a:pt x="802197" y="550302"/>
                    </a:lnTo>
                    <a:lnTo>
                      <a:pt x="791563" y="549638"/>
                    </a:lnTo>
                    <a:lnTo>
                      <a:pt x="786911" y="549638"/>
                    </a:lnTo>
                    <a:lnTo>
                      <a:pt x="787575" y="605465"/>
                    </a:lnTo>
                    <a:lnTo>
                      <a:pt x="787575" y="634044"/>
                    </a:lnTo>
                    <a:lnTo>
                      <a:pt x="787575" y="658635"/>
                    </a:lnTo>
                    <a:lnTo>
                      <a:pt x="786911" y="669269"/>
                    </a:lnTo>
                    <a:lnTo>
                      <a:pt x="785581" y="676579"/>
                    </a:lnTo>
                    <a:lnTo>
                      <a:pt x="783588" y="683226"/>
                    </a:lnTo>
                    <a:lnTo>
                      <a:pt x="780265" y="689207"/>
                    </a:lnTo>
                    <a:lnTo>
                      <a:pt x="775612" y="694524"/>
                    </a:lnTo>
                    <a:lnTo>
                      <a:pt x="770295" y="698512"/>
                    </a:lnTo>
                    <a:lnTo>
                      <a:pt x="763649" y="701835"/>
                    </a:lnTo>
                    <a:lnTo>
                      <a:pt x="757003" y="703829"/>
                    </a:lnTo>
                    <a:lnTo>
                      <a:pt x="750357" y="705158"/>
                    </a:lnTo>
                    <a:lnTo>
                      <a:pt x="739723" y="705158"/>
                    </a:lnTo>
                    <a:lnTo>
                      <a:pt x="738393" y="705158"/>
                    </a:lnTo>
                    <a:lnTo>
                      <a:pt x="737064" y="707152"/>
                    </a:lnTo>
                    <a:lnTo>
                      <a:pt x="735735" y="714462"/>
                    </a:lnTo>
                    <a:lnTo>
                      <a:pt x="731083" y="737724"/>
                    </a:lnTo>
                    <a:lnTo>
                      <a:pt x="713803" y="750352"/>
                    </a:lnTo>
                    <a:lnTo>
                      <a:pt x="707821" y="754339"/>
                    </a:lnTo>
                    <a:lnTo>
                      <a:pt x="701175" y="756998"/>
                    </a:lnTo>
                    <a:lnTo>
                      <a:pt x="693199" y="759656"/>
                    </a:lnTo>
                    <a:lnTo>
                      <a:pt x="686553" y="760321"/>
                    </a:lnTo>
                    <a:lnTo>
                      <a:pt x="632719" y="761650"/>
                    </a:lnTo>
                    <a:lnTo>
                      <a:pt x="565592" y="762315"/>
                    </a:lnTo>
                    <a:lnTo>
                      <a:pt x="494478" y="761650"/>
                    </a:lnTo>
                    <a:lnTo>
                      <a:pt x="421370" y="761650"/>
                    </a:lnTo>
                    <a:lnTo>
                      <a:pt x="390797" y="761650"/>
                    </a:lnTo>
                    <a:lnTo>
                      <a:pt x="383486" y="761650"/>
                    </a:lnTo>
                    <a:lnTo>
                      <a:pt x="375511" y="759656"/>
                    </a:lnTo>
                    <a:lnTo>
                      <a:pt x="367536" y="756998"/>
                    </a:lnTo>
                    <a:lnTo>
                      <a:pt x="360225" y="753675"/>
                    </a:lnTo>
                    <a:lnTo>
                      <a:pt x="352913" y="749022"/>
                    </a:lnTo>
                    <a:lnTo>
                      <a:pt x="346267" y="744370"/>
                    </a:lnTo>
                    <a:lnTo>
                      <a:pt x="340285" y="739053"/>
                    </a:lnTo>
                    <a:lnTo>
                      <a:pt x="335633" y="733072"/>
                    </a:lnTo>
                    <a:lnTo>
                      <a:pt x="334968" y="731078"/>
                    </a:lnTo>
                    <a:lnTo>
                      <a:pt x="332974" y="725761"/>
                    </a:lnTo>
                    <a:lnTo>
                      <a:pt x="332310" y="722438"/>
                    </a:lnTo>
                    <a:lnTo>
                      <a:pt x="331645" y="717786"/>
                    </a:lnTo>
                    <a:lnTo>
                      <a:pt x="332310" y="711804"/>
                    </a:lnTo>
                    <a:lnTo>
                      <a:pt x="332974" y="705158"/>
                    </a:lnTo>
                    <a:lnTo>
                      <a:pt x="332974" y="704493"/>
                    </a:lnTo>
                    <a:lnTo>
                      <a:pt x="332974" y="703164"/>
                    </a:lnTo>
                    <a:lnTo>
                      <a:pt x="332310" y="702499"/>
                    </a:lnTo>
                    <a:lnTo>
                      <a:pt x="331645" y="702499"/>
                    </a:lnTo>
                    <a:lnTo>
                      <a:pt x="320347" y="702499"/>
                    </a:lnTo>
                    <a:lnTo>
                      <a:pt x="313036" y="701835"/>
                    </a:lnTo>
                    <a:lnTo>
                      <a:pt x="306390" y="699841"/>
                    </a:lnTo>
                    <a:lnTo>
                      <a:pt x="300408" y="696518"/>
                    </a:lnTo>
                    <a:lnTo>
                      <a:pt x="295091" y="691866"/>
                    </a:lnTo>
                    <a:lnTo>
                      <a:pt x="290439" y="686549"/>
                    </a:lnTo>
                    <a:lnTo>
                      <a:pt x="287116" y="680567"/>
                    </a:lnTo>
                    <a:lnTo>
                      <a:pt x="285122" y="673921"/>
                    </a:lnTo>
                    <a:lnTo>
                      <a:pt x="283792" y="667275"/>
                    </a:lnTo>
                    <a:lnTo>
                      <a:pt x="283792" y="655976"/>
                    </a:lnTo>
                    <a:lnTo>
                      <a:pt x="283128" y="632050"/>
                    </a:lnTo>
                    <a:lnTo>
                      <a:pt x="283128" y="604136"/>
                    </a:lnTo>
                    <a:lnTo>
                      <a:pt x="283792" y="549638"/>
                    </a:lnTo>
                    <a:lnTo>
                      <a:pt x="283128" y="549638"/>
                    </a:lnTo>
                    <a:lnTo>
                      <a:pt x="277146" y="550302"/>
                    </a:lnTo>
                    <a:lnTo>
                      <a:pt x="271829" y="549638"/>
                    </a:lnTo>
                    <a:lnTo>
                      <a:pt x="270500" y="549638"/>
                    </a:lnTo>
                    <a:lnTo>
                      <a:pt x="264519" y="548973"/>
                    </a:lnTo>
                    <a:lnTo>
                      <a:pt x="258537" y="547644"/>
                    </a:lnTo>
                    <a:lnTo>
                      <a:pt x="253220" y="546315"/>
                    </a:lnTo>
                    <a:lnTo>
                      <a:pt x="247903" y="544321"/>
                    </a:lnTo>
                    <a:lnTo>
                      <a:pt x="242586" y="541662"/>
                    </a:lnTo>
                    <a:lnTo>
                      <a:pt x="237934" y="538339"/>
                    </a:lnTo>
                    <a:lnTo>
                      <a:pt x="233946" y="535016"/>
                    </a:lnTo>
                    <a:lnTo>
                      <a:pt x="229958" y="531029"/>
                    </a:lnTo>
                    <a:lnTo>
                      <a:pt x="227300" y="527705"/>
                    </a:lnTo>
                    <a:lnTo>
                      <a:pt x="225306" y="524382"/>
                    </a:lnTo>
                    <a:lnTo>
                      <a:pt x="221318" y="515742"/>
                    </a:lnTo>
                    <a:lnTo>
                      <a:pt x="218660" y="507102"/>
                    </a:lnTo>
                    <a:lnTo>
                      <a:pt x="217995" y="503115"/>
                    </a:lnTo>
                    <a:lnTo>
                      <a:pt x="217995" y="499127"/>
                    </a:lnTo>
                    <a:lnTo>
                      <a:pt x="217330" y="489822"/>
                    </a:lnTo>
                    <a:lnTo>
                      <a:pt x="217330" y="485835"/>
                    </a:lnTo>
                    <a:lnTo>
                      <a:pt x="216001" y="481847"/>
                    </a:lnTo>
                    <a:lnTo>
                      <a:pt x="214672" y="478524"/>
                    </a:lnTo>
                    <a:lnTo>
                      <a:pt x="212014" y="475865"/>
                    </a:lnTo>
                    <a:lnTo>
                      <a:pt x="209355" y="473207"/>
                    </a:lnTo>
                    <a:lnTo>
                      <a:pt x="206032" y="471878"/>
                    </a:lnTo>
                    <a:lnTo>
                      <a:pt x="202709" y="470549"/>
                    </a:lnTo>
                    <a:lnTo>
                      <a:pt x="198721" y="470549"/>
                    </a:lnTo>
                    <a:lnTo>
                      <a:pt x="186758" y="470549"/>
                    </a:lnTo>
                    <a:lnTo>
                      <a:pt x="160838" y="470549"/>
                    </a:lnTo>
                    <a:lnTo>
                      <a:pt x="123619" y="470549"/>
                    </a:lnTo>
                    <a:lnTo>
                      <a:pt x="107668" y="470549"/>
                    </a:lnTo>
                    <a:lnTo>
                      <a:pt x="104345" y="470549"/>
                    </a:lnTo>
                    <a:lnTo>
                      <a:pt x="101022" y="469884"/>
                    </a:lnTo>
                    <a:lnTo>
                      <a:pt x="97699" y="468555"/>
                    </a:lnTo>
                    <a:lnTo>
                      <a:pt x="94376" y="467225"/>
                    </a:lnTo>
                    <a:lnTo>
                      <a:pt x="88394" y="462573"/>
                    </a:lnTo>
                    <a:lnTo>
                      <a:pt x="83077" y="457921"/>
                    </a:lnTo>
                    <a:lnTo>
                      <a:pt x="78425" y="451939"/>
                    </a:lnTo>
                    <a:lnTo>
                      <a:pt x="75102" y="445958"/>
                    </a:lnTo>
                    <a:lnTo>
                      <a:pt x="73108" y="441305"/>
                    </a:lnTo>
                    <a:lnTo>
                      <a:pt x="72443" y="436653"/>
                    </a:lnTo>
                    <a:lnTo>
                      <a:pt x="71779" y="432665"/>
                    </a:lnTo>
                    <a:lnTo>
                      <a:pt x="69785" y="428678"/>
                    </a:lnTo>
                    <a:lnTo>
                      <a:pt x="67126" y="424025"/>
                    </a:lnTo>
                    <a:lnTo>
                      <a:pt x="63139" y="420038"/>
                    </a:lnTo>
                    <a:lnTo>
                      <a:pt x="58486" y="415385"/>
                    </a:lnTo>
                    <a:lnTo>
                      <a:pt x="53169" y="411398"/>
                    </a:lnTo>
                    <a:lnTo>
                      <a:pt x="47188" y="407410"/>
                    </a:lnTo>
                    <a:lnTo>
                      <a:pt x="40542" y="404087"/>
                    </a:lnTo>
                    <a:lnTo>
                      <a:pt x="36554" y="401429"/>
                    </a:lnTo>
                    <a:lnTo>
                      <a:pt x="31902" y="398105"/>
                    </a:lnTo>
                    <a:lnTo>
                      <a:pt x="26585" y="393453"/>
                    </a:lnTo>
                    <a:lnTo>
                      <a:pt x="20603" y="387472"/>
                    </a:lnTo>
                    <a:lnTo>
                      <a:pt x="14621" y="380161"/>
                    </a:lnTo>
                    <a:lnTo>
                      <a:pt x="9305" y="370856"/>
                    </a:lnTo>
                    <a:lnTo>
                      <a:pt x="7311" y="365539"/>
                    </a:lnTo>
                    <a:lnTo>
                      <a:pt x="5317" y="360222"/>
                    </a:lnTo>
                    <a:lnTo>
                      <a:pt x="2658" y="351582"/>
                    </a:lnTo>
                    <a:lnTo>
                      <a:pt x="1329" y="342278"/>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0277" fontAlgn="base">
                  <a:spcBef>
                    <a:spcPct val="0"/>
                  </a:spcBef>
                  <a:spcAft>
                    <a:spcPct val="0"/>
                  </a:spcAft>
                </a:pPr>
                <a:endParaRPr lang="en-US" sz="816">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267" name="Freeform 308">
                <a:extLst>
                  <a:ext uri="{FF2B5EF4-FFF2-40B4-BE49-F238E27FC236}">
                    <a16:creationId xmlns:a16="http://schemas.microsoft.com/office/drawing/2014/main" id="{E5E6B686-6D18-4599-875E-93CBFD9AD278}"/>
                  </a:ext>
                </a:extLst>
              </p:cNvPr>
              <p:cNvSpPr>
                <a:spLocks/>
              </p:cNvSpPr>
              <p:nvPr/>
            </p:nvSpPr>
            <p:spPr bwMode="auto">
              <a:xfrm rot="18859173" flipV="1">
                <a:off x="4882135" y="2735759"/>
                <a:ext cx="74315" cy="191798"/>
              </a:xfrm>
              <a:custGeom>
                <a:avLst/>
                <a:gdLst>
                  <a:gd name="T0" fmla="*/ 9 w 178"/>
                  <a:gd name="T1" fmla="*/ 460 h 460"/>
                  <a:gd name="T2" fmla="*/ 0 w 178"/>
                  <a:gd name="T3" fmla="*/ 446 h 460"/>
                  <a:gd name="T4" fmla="*/ 0 w 178"/>
                  <a:gd name="T5" fmla="*/ 446 h 460"/>
                  <a:gd name="T6" fmla="*/ 27 w 178"/>
                  <a:gd name="T7" fmla="*/ 428 h 460"/>
                  <a:gd name="T8" fmla="*/ 52 w 178"/>
                  <a:gd name="T9" fmla="*/ 408 h 460"/>
                  <a:gd name="T10" fmla="*/ 74 w 178"/>
                  <a:gd name="T11" fmla="*/ 387 h 460"/>
                  <a:gd name="T12" fmla="*/ 95 w 178"/>
                  <a:gd name="T13" fmla="*/ 364 h 460"/>
                  <a:gd name="T14" fmla="*/ 111 w 178"/>
                  <a:gd name="T15" fmla="*/ 338 h 460"/>
                  <a:gd name="T16" fmla="*/ 127 w 178"/>
                  <a:gd name="T17" fmla="*/ 310 h 460"/>
                  <a:gd name="T18" fmla="*/ 139 w 178"/>
                  <a:gd name="T19" fmla="*/ 282 h 460"/>
                  <a:gd name="T20" fmla="*/ 149 w 178"/>
                  <a:gd name="T21" fmla="*/ 252 h 460"/>
                  <a:gd name="T22" fmla="*/ 149 w 178"/>
                  <a:gd name="T23" fmla="*/ 252 h 460"/>
                  <a:gd name="T24" fmla="*/ 156 w 178"/>
                  <a:gd name="T25" fmla="*/ 221 h 460"/>
                  <a:gd name="T26" fmla="*/ 160 w 178"/>
                  <a:gd name="T27" fmla="*/ 189 h 460"/>
                  <a:gd name="T28" fmla="*/ 161 w 178"/>
                  <a:gd name="T29" fmla="*/ 158 h 460"/>
                  <a:gd name="T30" fmla="*/ 159 w 178"/>
                  <a:gd name="T31" fmla="*/ 127 h 460"/>
                  <a:gd name="T32" fmla="*/ 153 w 178"/>
                  <a:gd name="T33" fmla="*/ 96 h 460"/>
                  <a:gd name="T34" fmla="*/ 145 w 178"/>
                  <a:gd name="T35" fmla="*/ 66 h 460"/>
                  <a:gd name="T36" fmla="*/ 134 w 178"/>
                  <a:gd name="T37" fmla="*/ 36 h 460"/>
                  <a:gd name="T38" fmla="*/ 118 w 178"/>
                  <a:gd name="T39" fmla="*/ 8 h 460"/>
                  <a:gd name="T40" fmla="*/ 134 w 178"/>
                  <a:gd name="T41" fmla="*/ 0 h 460"/>
                  <a:gd name="T42" fmla="*/ 134 w 178"/>
                  <a:gd name="T43" fmla="*/ 0 h 460"/>
                  <a:gd name="T44" fmla="*/ 149 w 178"/>
                  <a:gd name="T45" fmla="*/ 29 h 460"/>
                  <a:gd name="T46" fmla="*/ 160 w 178"/>
                  <a:gd name="T47" fmla="*/ 60 h 460"/>
                  <a:gd name="T48" fmla="*/ 170 w 178"/>
                  <a:gd name="T49" fmla="*/ 92 h 460"/>
                  <a:gd name="T50" fmla="*/ 175 w 178"/>
                  <a:gd name="T51" fmla="*/ 124 h 460"/>
                  <a:gd name="T52" fmla="*/ 178 w 178"/>
                  <a:gd name="T53" fmla="*/ 158 h 460"/>
                  <a:gd name="T54" fmla="*/ 177 w 178"/>
                  <a:gd name="T55" fmla="*/ 190 h 460"/>
                  <a:gd name="T56" fmla="*/ 172 w 178"/>
                  <a:gd name="T57" fmla="*/ 224 h 460"/>
                  <a:gd name="T58" fmla="*/ 166 w 178"/>
                  <a:gd name="T59" fmla="*/ 256 h 460"/>
                  <a:gd name="T60" fmla="*/ 166 w 178"/>
                  <a:gd name="T61" fmla="*/ 256 h 460"/>
                  <a:gd name="T62" fmla="*/ 156 w 178"/>
                  <a:gd name="T63" fmla="*/ 288 h 460"/>
                  <a:gd name="T64" fmla="*/ 142 w 178"/>
                  <a:gd name="T65" fmla="*/ 319 h 460"/>
                  <a:gd name="T66" fmla="*/ 125 w 178"/>
                  <a:gd name="T67" fmla="*/ 347 h 460"/>
                  <a:gd name="T68" fmla="*/ 107 w 178"/>
                  <a:gd name="T69" fmla="*/ 373 h 460"/>
                  <a:gd name="T70" fmla="*/ 86 w 178"/>
                  <a:gd name="T71" fmla="*/ 398 h 460"/>
                  <a:gd name="T72" fmla="*/ 63 w 178"/>
                  <a:gd name="T73" fmla="*/ 421 h 460"/>
                  <a:gd name="T74" fmla="*/ 36 w 178"/>
                  <a:gd name="T75" fmla="*/ 442 h 460"/>
                  <a:gd name="T76" fmla="*/ 9 w 178"/>
                  <a:gd name="T77" fmla="*/ 460 h 460"/>
                  <a:gd name="T78" fmla="*/ 9 w 178"/>
                  <a:gd name="T79" fmla="*/ 46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8" h="460">
                    <a:moveTo>
                      <a:pt x="9" y="460"/>
                    </a:moveTo>
                    <a:lnTo>
                      <a:pt x="0" y="446"/>
                    </a:lnTo>
                    <a:lnTo>
                      <a:pt x="0" y="446"/>
                    </a:lnTo>
                    <a:lnTo>
                      <a:pt x="27" y="428"/>
                    </a:lnTo>
                    <a:lnTo>
                      <a:pt x="52" y="408"/>
                    </a:lnTo>
                    <a:lnTo>
                      <a:pt x="74" y="387"/>
                    </a:lnTo>
                    <a:lnTo>
                      <a:pt x="95" y="364"/>
                    </a:lnTo>
                    <a:lnTo>
                      <a:pt x="111" y="338"/>
                    </a:lnTo>
                    <a:lnTo>
                      <a:pt x="127" y="310"/>
                    </a:lnTo>
                    <a:lnTo>
                      <a:pt x="139" y="282"/>
                    </a:lnTo>
                    <a:lnTo>
                      <a:pt x="149" y="252"/>
                    </a:lnTo>
                    <a:lnTo>
                      <a:pt x="149" y="252"/>
                    </a:lnTo>
                    <a:lnTo>
                      <a:pt x="156" y="221"/>
                    </a:lnTo>
                    <a:lnTo>
                      <a:pt x="160" y="189"/>
                    </a:lnTo>
                    <a:lnTo>
                      <a:pt x="161" y="158"/>
                    </a:lnTo>
                    <a:lnTo>
                      <a:pt x="159" y="127"/>
                    </a:lnTo>
                    <a:lnTo>
                      <a:pt x="153" y="96"/>
                    </a:lnTo>
                    <a:lnTo>
                      <a:pt x="145" y="66"/>
                    </a:lnTo>
                    <a:lnTo>
                      <a:pt x="134" y="36"/>
                    </a:lnTo>
                    <a:lnTo>
                      <a:pt x="118" y="8"/>
                    </a:lnTo>
                    <a:lnTo>
                      <a:pt x="134" y="0"/>
                    </a:lnTo>
                    <a:lnTo>
                      <a:pt x="134" y="0"/>
                    </a:lnTo>
                    <a:lnTo>
                      <a:pt x="149" y="29"/>
                    </a:lnTo>
                    <a:lnTo>
                      <a:pt x="160" y="60"/>
                    </a:lnTo>
                    <a:lnTo>
                      <a:pt x="170" y="92"/>
                    </a:lnTo>
                    <a:lnTo>
                      <a:pt x="175" y="124"/>
                    </a:lnTo>
                    <a:lnTo>
                      <a:pt x="178" y="158"/>
                    </a:lnTo>
                    <a:lnTo>
                      <a:pt x="177" y="190"/>
                    </a:lnTo>
                    <a:lnTo>
                      <a:pt x="172" y="224"/>
                    </a:lnTo>
                    <a:lnTo>
                      <a:pt x="166" y="256"/>
                    </a:lnTo>
                    <a:lnTo>
                      <a:pt x="166" y="256"/>
                    </a:lnTo>
                    <a:lnTo>
                      <a:pt x="156" y="288"/>
                    </a:lnTo>
                    <a:lnTo>
                      <a:pt x="142" y="319"/>
                    </a:lnTo>
                    <a:lnTo>
                      <a:pt x="125" y="347"/>
                    </a:lnTo>
                    <a:lnTo>
                      <a:pt x="107" y="373"/>
                    </a:lnTo>
                    <a:lnTo>
                      <a:pt x="86" y="398"/>
                    </a:lnTo>
                    <a:lnTo>
                      <a:pt x="63" y="421"/>
                    </a:lnTo>
                    <a:lnTo>
                      <a:pt x="36" y="442"/>
                    </a:lnTo>
                    <a:lnTo>
                      <a:pt x="9" y="460"/>
                    </a:lnTo>
                    <a:lnTo>
                      <a:pt x="9" y="460"/>
                    </a:lnTo>
                    <a:close/>
                  </a:path>
                </a:pathLst>
              </a:custGeom>
              <a:solidFill>
                <a:schemeClr val="tx2"/>
              </a:solidFill>
              <a:ln>
                <a:noFill/>
              </a:ln>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69" name="Freeform 309">
                <a:extLst>
                  <a:ext uri="{FF2B5EF4-FFF2-40B4-BE49-F238E27FC236}">
                    <a16:creationId xmlns:a16="http://schemas.microsoft.com/office/drawing/2014/main" id="{25B87438-171C-4B54-8E0A-2A670E7DB4D7}"/>
                  </a:ext>
                </a:extLst>
              </p:cNvPr>
              <p:cNvSpPr>
                <a:spLocks/>
              </p:cNvSpPr>
              <p:nvPr/>
            </p:nvSpPr>
            <p:spPr bwMode="auto">
              <a:xfrm rot="18859173" flipV="1">
                <a:off x="4881875" y="2775244"/>
                <a:ext cx="58451" cy="150520"/>
              </a:xfrm>
              <a:custGeom>
                <a:avLst/>
                <a:gdLst>
                  <a:gd name="T0" fmla="*/ 8 w 140"/>
                  <a:gd name="T1" fmla="*/ 361 h 361"/>
                  <a:gd name="T2" fmla="*/ 0 w 140"/>
                  <a:gd name="T3" fmla="*/ 346 h 361"/>
                  <a:gd name="T4" fmla="*/ 0 w 140"/>
                  <a:gd name="T5" fmla="*/ 346 h 361"/>
                  <a:gd name="T6" fmla="*/ 21 w 140"/>
                  <a:gd name="T7" fmla="*/ 333 h 361"/>
                  <a:gd name="T8" fmla="*/ 39 w 140"/>
                  <a:gd name="T9" fmla="*/ 318 h 361"/>
                  <a:gd name="T10" fmla="*/ 57 w 140"/>
                  <a:gd name="T11" fmla="*/ 301 h 361"/>
                  <a:gd name="T12" fmla="*/ 72 w 140"/>
                  <a:gd name="T13" fmla="*/ 283 h 361"/>
                  <a:gd name="T14" fmla="*/ 86 w 140"/>
                  <a:gd name="T15" fmla="*/ 263 h 361"/>
                  <a:gd name="T16" fmla="*/ 97 w 140"/>
                  <a:gd name="T17" fmla="*/ 242 h 361"/>
                  <a:gd name="T18" fmla="*/ 107 w 140"/>
                  <a:gd name="T19" fmla="*/ 220 h 361"/>
                  <a:gd name="T20" fmla="*/ 115 w 140"/>
                  <a:gd name="T21" fmla="*/ 196 h 361"/>
                  <a:gd name="T22" fmla="*/ 115 w 140"/>
                  <a:gd name="T23" fmla="*/ 196 h 361"/>
                  <a:gd name="T24" fmla="*/ 121 w 140"/>
                  <a:gd name="T25" fmla="*/ 172 h 361"/>
                  <a:gd name="T26" fmla="*/ 124 w 140"/>
                  <a:gd name="T27" fmla="*/ 149 h 361"/>
                  <a:gd name="T28" fmla="*/ 124 w 140"/>
                  <a:gd name="T29" fmla="*/ 125 h 361"/>
                  <a:gd name="T30" fmla="*/ 122 w 140"/>
                  <a:gd name="T31" fmla="*/ 101 h 361"/>
                  <a:gd name="T32" fmla="*/ 118 w 140"/>
                  <a:gd name="T33" fmla="*/ 77 h 361"/>
                  <a:gd name="T34" fmla="*/ 111 w 140"/>
                  <a:gd name="T35" fmla="*/ 53 h 361"/>
                  <a:gd name="T36" fmla="*/ 103 w 140"/>
                  <a:gd name="T37" fmla="*/ 31 h 361"/>
                  <a:gd name="T38" fmla="*/ 92 w 140"/>
                  <a:gd name="T39" fmla="*/ 9 h 361"/>
                  <a:gd name="T40" fmla="*/ 106 w 140"/>
                  <a:gd name="T41" fmla="*/ 0 h 361"/>
                  <a:gd name="T42" fmla="*/ 106 w 140"/>
                  <a:gd name="T43" fmla="*/ 0 h 361"/>
                  <a:gd name="T44" fmla="*/ 118 w 140"/>
                  <a:gd name="T45" fmla="*/ 24 h 361"/>
                  <a:gd name="T46" fmla="*/ 126 w 140"/>
                  <a:gd name="T47" fmla="*/ 48 h 361"/>
                  <a:gd name="T48" fmla="*/ 133 w 140"/>
                  <a:gd name="T49" fmla="*/ 73 h 361"/>
                  <a:gd name="T50" fmla="*/ 139 w 140"/>
                  <a:gd name="T51" fmla="*/ 98 h 361"/>
                  <a:gd name="T52" fmla="*/ 140 w 140"/>
                  <a:gd name="T53" fmla="*/ 123 h 361"/>
                  <a:gd name="T54" fmla="*/ 140 w 140"/>
                  <a:gd name="T55" fmla="*/ 150 h 361"/>
                  <a:gd name="T56" fmla="*/ 136 w 140"/>
                  <a:gd name="T57" fmla="*/ 175 h 361"/>
                  <a:gd name="T58" fmla="*/ 131 w 140"/>
                  <a:gd name="T59" fmla="*/ 202 h 361"/>
                  <a:gd name="T60" fmla="*/ 131 w 140"/>
                  <a:gd name="T61" fmla="*/ 202 h 361"/>
                  <a:gd name="T62" fmla="*/ 122 w 140"/>
                  <a:gd name="T63" fmla="*/ 225 h 361"/>
                  <a:gd name="T64" fmla="*/ 113 w 140"/>
                  <a:gd name="T65" fmla="*/ 249 h 361"/>
                  <a:gd name="T66" fmla="*/ 100 w 140"/>
                  <a:gd name="T67" fmla="*/ 272 h 361"/>
                  <a:gd name="T68" fmla="*/ 85 w 140"/>
                  <a:gd name="T69" fmla="*/ 293 h 361"/>
                  <a:gd name="T70" fmla="*/ 68 w 140"/>
                  <a:gd name="T71" fmla="*/ 312 h 361"/>
                  <a:gd name="T72" fmla="*/ 50 w 140"/>
                  <a:gd name="T73" fmla="*/ 330 h 361"/>
                  <a:gd name="T74" fmla="*/ 31 w 140"/>
                  <a:gd name="T75" fmla="*/ 347 h 361"/>
                  <a:gd name="T76" fmla="*/ 8 w 140"/>
                  <a:gd name="T77" fmla="*/ 361 h 361"/>
                  <a:gd name="T78" fmla="*/ 8 w 140"/>
                  <a:gd name="T7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361">
                    <a:moveTo>
                      <a:pt x="8" y="361"/>
                    </a:moveTo>
                    <a:lnTo>
                      <a:pt x="0" y="346"/>
                    </a:lnTo>
                    <a:lnTo>
                      <a:pt x="0" y="346"/>
                    </a:lnTo>
                    <a:lnTo>
                      <a:pt x="21" y="333"/>
                    </a:lnTo>
                    <a:lnTo>
                      <a:pt x="39" y="318"/>
                    </a:lnTo>
                    <a:lnTo>
                      <a:pt x="57" y="301"/>
                    </a:lnTo>
                    <a:lnTo>
                      <a:pt x="72" y="283"/>
                    </a:lnTo>
                    <a:lnTo>
                      <a:pt x="86" y="263"/>
                    </a:lnTo>
                    <a:lnTo>
                      <a:pt x="97" y="242"/>
                    </a:lnTo>
                    <a:lnTo>
                      <a:pt x="107" y="220"/>
                    </a:lnTo>
                    <a:lnTo>
                      <a:pt x="115" y="196"/>
                    </a:lnTo>
                    <a:lnTo>
                      <a:pt x="115" y="196"/>
                    </a:lnTo>
                    <a:lnTo>
                      <a:pt x="121" y="172"/>
                    </a:lnTo>
                    <a:lnTo>
                      <a:pt x="124" y="149"/>
                    </a:lnTo>
                    <a:lnTo>
                      <a:pt x="124" y="125"/>
                    </a:lnTo>
                    <a:lnTo>
                      <a:pt x="122" y="101"/>
                    </a:lnTo>
                    <a:lnTo>
                      <a:pt x="118" y="77"/>
                    </a:lnTo>
                    <a:lnTo>
                      <a:pt x="111" y="53"/>
                    </a:lnTo>
                    <a:lnTo>
                      <a:pt x="103" y="31"/>
                    </a:lnTo>
                    <a:lnTo>
                      <a:pt x="92" y="9"/>
                    </a:lnTo>
                    <a:lnTo>
                      <a:pt x="106" y="0"/>
                    </a:lnTo>
                    <a:lnTo>
                      <a:pt x="106" y="0"/>
                    </a:lnTo>
                    <a:lnTo>
                      <a:pt x="118" y="24"/>
                    </a:lnTo>
                    <a:lnTo>
                      <a:pt x="126" y="48"/>
                    </a:lnTo>
                    <a:lnTo>
                      <a:pt x="133" y="73"/>
                    </a:lnTo>
                    <a:lnTo>
                      <a:pt x="139" y="98"/>
                    </a:lnTo>
                    <a:lnTo>
                      <a:pt x="140" y="123"/>
                    </a:lnTo>
                    <a:lnTo>
                      <a:pt x="140" y="150"/>
                    </a:lnTo>
                    <a:lnTo>
                      <a:pt x="136" y="175"/>
                    </a:lnTo>
                    <a:lnTo>
                      <a:pt x="131" y="202"/>
                    </a:lnTo>
                    <a:lnTo>
                      <a:pt x="131" y="202"/>
                    </a:lnTo>
                    <a:lnTo>
                      <a:pt x="122" y="225"/>
                    </a:lnTo>
                    <a:lnTo>
                      <a:pt x="113" y="249"/>
                    </a:lnTo>
                    <a:lnTo>
                      <a:pt x="100" y="272"/>
                    </a:lnTo>
                    <a:lnTo>
                      <a:pt x="85" y="293"/>
                    </a:lnTo>
                    <a:lnTo>
                      <a:pt x="68" y="312"/>
                    </a:lnTo>
                    <a:lnTo>
                      <a:pt x="50" y="330"/>
                    </a:lnTo>
                    <a:lnTo>
                      <a:pt x="31" y="347"/>
                    </a:lnTo>
                    <a:lnTo>
                      <a:pt x="8" y="361"/>
                    </a:lnTo>
                    <a:lnTo>
                      <a:pt x="8" y="361"/>
                    </a:lnTo>
                    <a:close/>
                  </a:path>
                </a:pathLst>
              </a:custGeom>
              <a:solidFill>
                <a:schemeClr val="tx2"/>
              </a:solidFill>
              <a:ln>
                <a:noFill/>
              </a:ln>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71" name="Freeform 310">
                <a:extLst>
                  <a:ext uri="{FF2B5EF4-FFF2-40B4-BE49-F238E27FC236}">
                    <a16:creationId xmlns:a16="http://schemas.microsoft.com/office/drawing/2014/main" id="{3EE642BD-AAE7-44C8-9BD4-9631B305D1E5}"/>
                  </a:ext>
                </a:extLst>
              </p:cNvPr>
              <p:cNvSpPr>
                <a:spLocks/>
              </p:cNvSpPr>
              <p:nvPr/>
            </p:nvSpPr>
            <p:spPr bwMode="auto">
              <a:xfrm rot="18859173" flipV="1">
                <a:off x="4883977" y="2816714"/>
                <a:ext cx="44256" cy="110075"/>
              </a:xfrm>
              <a:custGeom>
                <a:avLst/>
                <a:gdLst>
                  <a:gd name="T0" fmla="*/ 8 w 106"/>
                  <a:gd name="T1" fmla="*/ 264 h 264"/>
                  <a:gd name="T2" fmla="*/ 0 w 106"/>
                  <a:gd name="T3" fmla="*/ 250 h 264"/>
                  <a:gd name="T4" fmla="*/ 0 w 106"/>
                  <a:gd name="T5" fmla="*/ 250 h 264"/>
                  <a:gd name="T6" fmla="*/ 15 w 106"/>
                  <a:gd name="T7" fmla="*/ 240 h 264"/>
                  <a:gd name="T8" fmla="*/ 29 w 106"/>
                  <a:gd name="T9" fmla="*/ 229 h 264"/>
                  <a:gd name="T10" fmla="*/ 40 w 106"/>
                  <a:gd name="T11" fmla="*/ 218 h 264"/>
                  <a:gd name="T12" fmla="*/ 53 w 106"/>
                  <a:gd name="T13" fmla="*/ 205 h 264"/>
                  <a:gd name="T14" fmla="*/ 62 w 106"/>
                  <a:gd name="T15" fmla="*/ 190 h 264"/>
                  <a:gd name="T16" fmla="*/ 71 w 106"/>
                  <a:gd name="T17" fmla="*/ 176 h 264"/>
                  <a:gd name="T18" fmla="*/ 78 w 106"/>
                  <a:gd name="T19" fmla="*/ 159 h 264"/>
                  <a:gd name="T20" fmla="*/ 83 w 106"/>
                  <a:gd name="T21" fmla="*/ 142 h 264"/>
                  <a:gd name="T22" fmla="*/ 83 w 106"/>
                  <a:gd name="T23" fmla="*/ 142 h 264"/>
                  <a:gd name="T24" fmla="*/ 86 w 106"/>
                  <a:gd name="T25" fmla="*/ 125 h 264"/>
                  <a:gd name="T26" fmla="*/ 89 w 106"/>
                  <a:gd name="T27" fmla="*/ 109 h 264"/>
                  <a:gd name="T28" fmla="*/ 89 w 106"/>
                  <a:gd name="T29" fmla="*/ 90 h 264"/>
                  <a:gd name="T30" fmla="*/ 87 w 106"/>
                  <a:gd name="T31" fmla="*/ 74 h 264"/>
                  <a:gd name="T32" fmla="*/ 85 w 106"/>
                  <a:gd name="T33" fmla="*/ 57 h 264"/>
                  <a:gd name="T34" fmla="*/ 81 w 106"/>
                  <a:gd name="T35" fmla="*/ 40 h 264"/>
                  <a:gd name="T36" fmla="*/ 74 w 106"/>
                  <a:gd name="T37" fmla="*/ 23 h 264"/>
                  <a:gd name="T38" fmla="*/ 65 w 106"/>
                  <a:gd name="T39" fmla="*/ 8 h 264"/>
                  <a:gd name="T40" fmla="*/ 81 w 106"/>
                  <a:gd name="T41" fmla="*/ 0 h 264"/>
                  <a:gd name="T42" fmla="*/ 81 w 106"/>
                  <a:gd name="T43" fmla="*/ 0 h 264"/>
                  <a:gd name="T44" fmla="*/ 89 w 106"/>
                  <a:gd name="T45" fmla="*/ 16 h 264"/>
                  <a:gd name="T46" fmla="*/ 96 w 106"/>
                  <a:gd name="T47" fmla="*/ 34 h 264"/>
                  <a:gd name="T48" fmla="*/ 101 w 106"/>
                  <a:gd name="T49" fmla="*/ 53 h 264"/>
                  <a:gd name="T50" fmla="*/ 104 w 106"/>
                  <a:gd name="T51" fmla="*/ 71 h 264"/>
                  <a:gd name="T52" fmla="*/ 106 w 106"/>
                  <a:gd name="T53" fmla="*/ 90 h 264"/>
                  <a:gd name="T54" fmla="*/ 106 w 106"/>
                  <a:gd name="T55" fmla="*/ 109 h 264"/>
                  <a:gd name="T56" fmla="*/ 103 w 106"/>
                  <a:gd name="T57" fmla="*/ 128 h 264"/>
                  <a:gd name="T58" fmla="*/ 99 w 106"/>
                  <a:gd name="T59" fmla="*/ 146 h 264"/>
                  <a:gd name="T60" fmla="*/ 99 w 106"/>
                  <a:gd name="T61" fmla="*/ 146 h 264"/>
                  <a:gd name="T62" fmla="*/ 93 w 106"/>
                  <a:gd name="T63" fmla="*/ 165 h 264"/>
                  <a:gd name="T64" fmla="*/ 85 w 106"/>
                  <a:gd name="T65" fmla="*/ 183 h 264"/>
                  <a:gd name="T66" fmla="*/ 76 w 106"/>
                  <a:gd name="T67" fmla="*/ 199 h 264"/>
                  <a:gd name="T68" fmla="*/ 65 w 106"/>
                  <a:gd name="T69" fmla="*/ 215 h 264"/>
                  <a:gd name="T70" fmla="*/ 53 w 106"/>
                  <a:gd name="T71" fmla="*/ 229 h 264"/>
                  <a:gd name="T72" fmla="*/ 39 w 106"/>
                  <a:gd name="T73" fmla="*/ 241 h 264"/>
                  <a:gd name="T74" fmla="*/ 25 w 106"/>
                  <a:gd name="T75" fmla="*/ 254 h 264"/>
                  <a:gd name="T76" fmla="*/ 8 w 106"/>
                  <a:gd name="T77" fmla="*/ 264 h 264"/>
                  <a:gd name="T78" fmla="*/ 8 w 106"/>
                  <a:gd name="T79"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 h="264">
                    <a:moveTo>
                      <a:pt x="8" y="264"/>
                    </a:moveTo>
                    <a:lnTo>
                      <a:pt x="0" y="250"/>
                    </a:lnTo>
                    <a:lnTo>
                      <a:pt x="0" y="250"/>
                    </a:lnTo>
                    <a:lnTo>
                      <a:pt x="15" y="240"/>
                    </a:lnTo>
                    <a:lnTo>
                      <a:pt x="29" y="229"/>
                    </a:lnTo>
                    <a:lnTo>
                      <a:pt x="40" y="218"/>
                    </a:lnTo>
                    <a:lnTo>
                      <a:pt x="53" y="205"/>
                    </a:lnTo>
                    <a:lnTo>
                      <a:pt x="62" y="190"/>
                    </a:lnTo>
                    <a:lnTo>
                      <a:pt x="71" y="176"/>
                    </a:lnTo>
                    <a:lnTo>
                      <a:pt x="78" y="159"/>
                    </a:lnTo>
                    <a:lnTo>
                      <a:pt x="83" y="142"/>
                    </a:lnTo>
                    <a:lnTo>
                      <a:pt x="83" y="142"/>
                    </a:lnTo>
                    <a:lnTo>
                      <a:pt x="86" y="125"/>
                    </a:lnTo>
                    <a:lnTo>
                      <a:pt x="89" y="109"/>
                    </a:lnTo>
                    <a:lnTo>
                      <a:pt x="89" y="90"/>
                    </a:lnTo>
                    <a:lnTo>
                      <a:pt x="87" y="74"/>
                    </a:lnTo>
                    <a:lnTo>
                      <a:pt x="85" y="57"/>
                    </a:lnTo>
                    <a:lnTo>
                      <a:pt x="81" y="40"/>
                    </a:lnTo>
                    <a:lnTo>
                      <a:pt x="74" y="23"/>
                    </a:lnTo>
                    <a:lnTo>
                      <a:pt x="65" y="8"/>
                    </a:lnTo>
                    <a:lnTo>
                      <a:pt x="81" y="0"/>
                    </a:lnTo>
                    <a:lnTo>
                      <a:pt x="81" y="0"/>
                    </a:lnTo>
                    <a:lnTo>
                      <a:pt x="89" y="16"/>
                    </a:lnTo>
                    <a:lnTo>
                      <a:pt x="96" y="34"/>
                    </a:lnTo>
                    <a:lnTo>
                      <a:pt x="101" y="53"/>
                    </a:lnTo>
                    <a:lnTo>
                      <a:pt x="104" y="71"/>
                    </a:lnTo>
                    <a:lnTo>
                      <a:pt x="106" y="90"/>
                    </a:lnTo>
                    <a:lnTo>
                      <a:pt x="106" y="109"/>
                    </a:lnTo>
                    <a:lnTo>
                      <a:pt x="103" y="128"/>
                    </a:lnTo>
                    <a:lnTo>
                      <a:pt x="99" y="146"/>
                    </a:lnTo>
                    <a:lnTo>
                      <a:pt x="99" y="146"/>
                    </a:lnTo>
                    <a:lnTo>
                      <a:pt x="93" y="165"/>
                    </a:lnTo>
                    <a:lnTo>
                      <a:pt x="85" y="183"/>
                    </a:lnTo>
                    <a:lnTo>
                      <a:pt x="76" y="199"/>
                    </a:lnTo>
                    <a:lnTo>
                      <a:pt x="65" y="215"/>
                    </a:lnTo>
                    <a:lnTo>
                      <a:pt x="53" y="229"/>
                    </a:lnTo>
                    <a:lnTo>
                      <a:pt x="39" y="241"/>
                    </a:lnTo>
                    <a:lnTo>
                      <a:pt x="25" y="254"/>
                    </a:lnTo>
                    <a:lnTo>
                      <a:pt x="8" y="264"/>
                    </a:lnTo>
                    <a:lnTo>
                      <a:pt x="8" y="264"/>
                    </a:lnTo>
                    <a:close/>
                  </a:path>
                </a:pathLst>
              </a:custGeom>
              <a:solidFill>
                <a:schemeClr val="tx2"/>
              </a:solidFill>
              <a:ln>
                <a:noFill/>
              </a:ln>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72" name="Freeform 308">
                <a:extLst>
                  <a:ext uri="{FF2B5EF4-FFF2-40B4-BE49-F238E27FC236}">
                    <a16:creationId xmlns:a16="http://schemas.microsoft.com/office/drawing/2014/main" id="{C263C51F-A32F-4486-AE12-9A55AFA98D08}"/>
                  </a:ext>
                </a:extLst>
              </p:cNvPr>
              <p:cNvSpPr>
                <a:spLocks/>
              </p:cNvSpPr>
              <p:nvPr/>
            </p:nvSpPr>
            <p:spPr bwMode="auto">
              <a:xfrm rot="18859173" flipV="1">
                <a:off x="4498891" y="3069124"/>
                <a:ext cx="74315" cy="191798"/>
              </a:xfrm>
              <a:custGeom>
                <a:avLst/>
                <a:gdLst>
                  <a:gd name="T0" fmla="*/ 9 w 178"/>
                  <a:gd name="T1" fmla="*/ 460 h 460"/>
                  <a:gd name="T2" fmla="*/ 0 w 178"/>
                  <a:gd name="T3" fmla="*/ 446 h 460"/>
                  <a:gd name="T4" fmla="*/ 0 w 178"/>
                  <a:gd name="T5" fmla="*/ 446 h 460"/>
                  <a:gd name="T6" fmla="*/ 27 w 178"/>
                  <a:gd name="T7" fmla="*/ 428 h 460"/>
                  <a:gd name="T8" fmla="*/ 52 w 178"/>
                  <a:gd name="T9" fmla="*/ 408 h 460"/>
                  <a:gd name="T10" fmla="*/ 74 w 178"/>
                  <a:gd name="T11" fmla="*/ 387 h 460"/>
                  <a:gd name="T12" fmla="*/ 95 w 178"/>
                  <a:gd name="T13" fmla="*/ 364 h 460"/>
                  <a:gd name="T14" fmla="*/ 111 w 178"/>
                  <a:gd name="T15" fmla="*/ 338 h 460"/>
                  <a:gd name="T16" fmla="*/ 127 w 178"/>
                  <a:gd name="T17" fmla="*/ 310 h 460"/>
                  <a:gd name="T18" fmla="*/ 139 w 178"/>
                  <a:gd name="T19" fmla="*/ 282 h 460"/>
                  <a:gd name="T20" fmla="*/ 149 w 178"/>
                  <a:gd name="T21" fmla="*/ 252 h 460"/>
                  <a:gd name="T22" fmla="*/ 149 w 178"/>
                  <a:gd name="T23" fmla="*/ 252 h 460"/>
                  <a:gd name="T24" fmla="*/ 156 w 178"/>
                  <a:gd name="T25" fmla="*/ 221 h 460"/>
                  <a:gd name="T26" fmla="*/ 160 w 178"/>
                  <a:gd name="T27" fmla="*/ 189 h 460"/>
                  <a:gd name="T28" fmla="*/ 161 w 178"/>
                  <a:gd name="T29" fmla="*/ 158 h 460"/>
                  <a:gd name="T30" fmla="*/ 159 w 178"/>
                  <a:gd name="T31" fmla="*/ 127 h 460"/>
                  <a:gd name="T32" fmla="*/ 153 w 178"/>
                  <a:gd name="T33" fmla="*/ 96 h 460"/>
                  <a:gd name="T34" fmla="*/ 145 w 178"/>
                  <a:gd name="T35" fmla="*/ 66 h 460"/>
                  <a:gd name="T36" fmla="*/ 134 w 178"/>
                  <a:gd name="T37" fmla="*/ 36 h 460"/>
                  <a:gd name="T38" fmla="*/ 118 w 178"/>
                  <a:gd name="T39" fmla="*/ 8 h 460"/>
                  <a:gd name="T40" fmla="*/ 134 w 178"/>
                  <a:gd name="T41" fmla="*/ 0 h 460"/>
                  <a:gd name="T42" fmla="*/ 134 w 178"/>
                  <a:gd name="T43" fmla="*/ 0 h 460"/>
                  <a:gd name="T44" fmla="*/ 149 w 178"/>
                  <a:gd name="T45" fmla="*/ 29 h 460"/>
                  <a:gd name="T46" fmla="*/ 160 w 178"/>
                  <a:gd name="T47" fmla="*/ 60 h 460"/>
                  <a:gd name="T48" fmla="*/ 170 w 178"/>
                  <a:gd name="T49" fmla="*/ 92 h 460"/>
                  <a:gd name="T50" fmla="*/ 175 w 178"/>
                  <a:gd name="T51" fmla="*/ 124 h 460"/>
                  <a:gd name="T52" fmla="*/ 178 w 178"/>
                  <a:gd name="T53" fmla="*/ 158 h 460"/>
                  <a:gd name="T54" fmla="*/ 177 w 178"/>
                  <a:gd name="T55" fmla="*/ 190 h 460"/>
                  <a:gd name="T56" fmla="*/ 172 w 178"/>
                  <a:gd name="T57" fmla="*/ 224 h 460"/>
                  <a:gd name="T58" fmla="*/ 166 w 178"/>
                  <a:gd name="T59" fmla="*/ 256 h 460"/>
                  <a:gd name="T60" fmla="*/ 166 w 178"/>
                  <a:gd name="T61" fmla="*/ 256 h 460"/>
                  <a:gd name="T62" fmla="*/ 156 w 178"/>
                  <a:gd name="T63" fmla="*/ 288 h 460"/>
                  <a:gd name="T64" fmla="*/ 142 w 178"/>
                  <a:gd name="T65" fmla="*/ 319 h 460"/>
                  <a:gd name="T66" fmla="*/ 125 w 178"/>
                  <a:gd name="T67" fmla="*/ 347 h 460"/>
                  <a:gd name="T68" fmla="*/ 107 w 178"/>
                  <a:gd name="T69" fmla="*/ 373 h 460"/>
                  <a:gd name="T70" fmla="*/ 86 w 178"/>
                  <a:gd name="T71" fmla="*/ 398 h 460"/>
                  <a:gd name="T72" fmla="*/ 63 w 178"/>
                  <a:gd name="T73" fmla="*/ 421 h 460"/>
                  <a:gd name="T74" fmla="*/ 36 w 178"/>
                  <a:gd name="T75" fmla="*/ 442 h 460"/>
                  <a:gd name="T76" fmla="*/ 9 w 178"/>
                  <a:gd name="T77" fmla="*/ 460 h 460"/>
                  <a:gd name="T78" fmla="*/ 9 w 178"/>
                  <a:gd name="T79" fmla="*/ 46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8" h="460">
                    <a:moveTo>
                      <a:pt x="9" y="460"/>
                    </a:moveTo>
                    <a:lnTo>
                      <a:pt x="0" y="446"/>
                    </a:lnTo>
                    <a:lnTo>
                      <a:pt x="0" y="446"/>
                    </a:lnTo>
                    <a:lnTo>
                      <a:pt x="27" y="428"/>
                    </a:lnTo>
                    <a:lnTo>
                      <a:pt x="52" y="408"/>
                    </a:lnTo>
                    <a:lnTo>
                      <a:pt x="74" y="387"/>
                    </a:lnTo>
                    <a:lnTo>
                      <a:pt x="95" y="364"/>
                    </a:lnTo>
                    <a:lnTo>
                      <a:pt x="111" y="338"/>
                    </a:lnTo>
                    <a:lnTo>
                      <a:pt x="127" y="310"/>
                    </a:lnTo>
                    <a:lnTo>
                      <a:pt x="139" y="282"/>
                    </a:lnTo>
                    <a:lnTo>
                      <a:pt x="149" y="252"/>
                    </a:lnTo>
                    <a:lnTo>
                      <a:pt x="149" y="252"/>
                    </a:lnTo>
                    <a:lnTo>
                      <a:pt x="156" y="221"/>
                    </a:lnTo>
                    <a:lnTo>
                      <a:pt x="160" y="189"/>
                    </a:lnTo>
                    <a:lnTo>
                      <a:pt x="161" y="158"/>
                    </a:lnTo>
                    <a:lnTo>
                      <a:pt x="159" y="127"/>
                    </a:lnTo>
                    <a:lnTo>
                      <a:pt x="153" y="96"/>
                    </a:lnTo>
                    <a:lnTo>
                      <a:pt x="145" y="66"/>
                    </a:lnTo>
                    <a:lnTo>
                      <a:pt x="134" y="36"/>
                    </a:lnTo>
                    <a:lnTo>
                      <a:pt x="118" y="8"/>
                    </a:lnTo>
                    <a:lnTo>
                      <a:pt x="134" y="0"/>
                    </a:lnTo>
                    <a:lnTo>
                      <a:pt x="134" y="0"/>
                    </a:lnTo>
                    <a:lnTo>
                      <a:pt x="149" y="29"/>
                    </a:lnTo>
                    <a:lnTo>
                      <a:pt x="160" y="60"/>
                    </a:lnTo>
                    <a:lnTo>
                      <a:pt x="170" y="92"/>
                    </a:lnTo>
                    <a:lnTo>
                      <a:pt x="175" y="124"/>
                    </a:lnTo>
                    <a:lnTo>
                      <a:pt x="178" y="158"/>
                    </a:lnTo>
                    <a:lnTo>
                      <a:pt x="177" y="190"/>
                    </a:lnTo>
                    <a:lnTo>
                      <a:pt x="172" y="224"/>
                    </a:lnTo>
                    <a:lnTo>
                      <a:pt x="166" y="256"/>
                    </a:lnTo>
                    <a:lnTo>
                      <a:pt x="166" y="256"/>
                    </a:lnTo>
                    <a:lnTo>
                      <a:pt x="156" y="288"/>
                    </a:lnTo>
                    <a:lnTo>
                      <a:pt x="142" y="319"/>
                    </a:lnTo>
                    <a:lnTo>
                      <a:pt x="125" y="347"/>
                    </a:lnTo>
                    <a:lnTo>
                      <a:pt x="107" y="373"/>
                    </a:lnTo>
                    <a:lnTo>
                      <a:pt x="86" y="398"/>
                    </a:lnTo>
                    <a:lnTo>
                      <a:pt x="63" y="421"/>
                    </a:lnTo>
                    <a:lnTo>
                      <a:pt x="36" y="442"/>
                    </a:lnTo>
                    <a:lnTo>
                      <a:pt x="9" y="460"/>
                    </a:lnTo>
                    <a:lnTo>
                      <a:pt x="9" y="460"/>
                    </a:lnTo>
                    <a:close/>
                  </a:path>
                </a:pathLst>
              </a:custGeom>
              <a:solidFill>
                <a:schemeClr val="tx2"/>
              </a:solidFill>
              <a:ln>
                <a:noFill/>
              </a:ln>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73" name="Freeform 309">
                <a:extLst>
                  <a:ext uri="{FF2B5EF4-FFF2-40B4-BE49-F238E27FC236}">
                    <a16:creationId xmlns:a16="http://schemas.microsoft.com/office/drawing/2014/main" id="{CCE08B7A-ED87-4F7E-91A7-183C4D952C1C}"/>
                  </a:ext>
                </a:extLst>
              </p:cNvPr>
              <p:cNvSpPr>
                <a:spLocks/>
              </p:cNvSpPr>
              <p:nvPr/>
            </p:nvSpPr>
            <p:spPr bwMode="auto">
              <a:xfrm rot="18859173" flipV="1">
                <a:off x="4498633" y="3108609"/>
                <a:ext cx="58451" cy="150520"/>
              </a:xfrm>
              <a:custGeom>
                <a:avLst/>
                <a:gdLst>
                  <a:gd name="T0" fmla="*/ 8 w 140"/>
                  <a:gd name="T1" fmla="*/ 361 h 361"/>
                  <a:gd name="T2" fmla="*/ 0 w 140"/>
                  <a:gd name="T3" fmla="*/ 346 h 361"/>
                  <a:gd name="T4" fmla="*/ 0 w 140"/>
                  <a:gd name="T5" fmla="*/ 346 h 361"/>
                  <a:gd name="T6" fmla="*/ 21 w 140"/>
                  <a:gd name="T7" fmla="*/ 333 h 361"/>
                  <a:gd name="T8" fmla="*/ 39 w 140"/>
                  <a:gd name="T9" fmla="*/ 318 h 361"/>
                  <a:gd name="T10" fmla="*/ 57 w 140"/>
                  <a:gd name="T11" fmla="*/ 301 h 361"/>
                  <a:gd name="T12" fmla="*/ 72 w 140"/>
                  <a:gd name="T13" fmla="*/ 283 h 361"/>
                  <a:gd name="T14" fmla="*/ 86 w 140"/>
                  <a:gd name="T15" fmla="*/ 263 h 361"/>
                  <a:gd name="T16" fmla="*/ 97 w 140"/>
                  <a:gd name="T17" fmla="*/ 242 h 361"/>
                  <a:gd name="T18" fmla="*/ 107 w 140"/>
                  <a:gd name="T19" fmla="*/ 220 h 361"/>
                  <a:gd name="T20" fmla="*/ 115 w 140"/>
                  <a:gd name="T21" fmla="*/ 196 h 361"/>
                  <a:gd name="T22" fmla="*/ 115 w 140"/>
                  <a:gd name="T23" fmla="*/ 196 h 361"/>
                  <a:gd name="T24" fmla="*/ 121 w 140"/>
                  <a:gd name="T25" fmla="*/ 172 h 361"/>
                  <a:gd name="T26" fmla="*/ 124 w 140"/>
                  <a:gd name="T27" fmla="*/ 149 h 361"/>
                  <a:gd name="T28" fmla="*/ 124 w 140"/>
                  <a:gd name="T29" fmla="*/ 125 h 361"/>
                  <a:gd name="T30" fmla="*/ 122 w 140"/>
                  <a:gd name="T31" fmla="*/ 101 h 361"/>
                  <a:gd name="T32" fmla="*/ 118 w 140"/>
                  <a:gd name="T33" fmla="*/ 77 h 361"/>
                  <a:gd name="T34" fmla="*/ 111 w 140"/>
                  <a:gd name="T35" fmla="*/ 53 h 361"/>
                  <a:gd name="T36" fmla="*/ 103 w 140"/>
                  <a:gd name="T37" fmla="*/ 31 h 361"/>
                  <a:gd name="T38" fmla="*/ 92 w 140"/>
                  <a:gd name="T39" fmla="*/ 9 h 361"/>
                  <a:gd name="T40" fmla="*/ 106 w 140"/>
                  <a:gd name="T41" fmla="*/ 0 h 361"/>
                  <a:gd name="T42" fmla="*/ 106 w 140"/>
                  <a:gd name="T43" fmla="*/ 0 h 361"/>
                  <a:gd name="T44" fmla="*/ 118 w 140"/>
                  <a:gd name="T45" fmla="*/ 24 h 361"/>
                  <a:gd name="T46" fmla="*/ 126 w 140"/>
                  <a:gd name="T47" fmla="*/ 48 h 361"/>
                  <a:gd name="T48" fmla="*/ 133 w 140"/>
                  <a:gd name="T49" fmla="*/ 73 h 361"/>
                  <a:gd name="T50" fmla="*/ 139 w 140"/>
                  <a:gd name="T51" fmla="*/ 98 h 361"/>
                  <a:gd name="T52" fmla="*/ 140 w 140"/>
                  <a:gd name="T53" fmla="*/ 123 h 361"/>
                  <a:gd name="T54" fmla="*/ 140 w 140"/>
                  <a:gd name="T55" fmla="*/ 150 h 361"/>
                  <a:gd name="T56" fmla="*/ 136 w 140"/>
                  <a:gd name="T57" fmla="*/ 175 h 361"/>
                  <a:gd name="T58" fmla="*/ 131 w 140"/>
                  <a:gd name="T59" fmla="*/ 202 h 361"/>
                  <a:gd name="T60" fmla="*/ 131 w 140"/>
                  <a:gd name="T61" fmla="*/ 202 h 361"/>
                  <a:gd name="T62" fmla="*/ 122 w 140"/>
                  <a:gd name="T63" fmla="*/ 225 h 361"/>
                  <a:gd name="T64" fmla="*/ 113 w 140"/>
                  <a:gd name="T65" fmla="*/ 249 h 361"/>
                  <a:gd name="T66" fmla="*/ 100 w 140"/>
                  <a:gd name="T67" fmla="*/ 272 h 361"/>
                  <a:gd name="T68" fmla="*/ 85 w 140"/>
                  <a:gd name="T69" fmla="*/ 293 h 361"/>
                  <a:gd name="T70" fmla="*/ 68 w 140"/>
                  <a:gd name="T71" fmla="*/ 312 h 361"/>
                  <a:gd name="T72" fmla="*/ 50 w 140"/>
                  <a:gd name="T73" fmla="*/ 330 h 361"/>
                  <a:gd name="T74" fmla="*/ 31 w 140"/>
                  <a:gd name="T75" fmla="*/ 347 h 361"/>
                  <a:gd name="T76" fmla="*/ 8 w 140"/>
                  <a:gd name="T77" fmla="*/ 361 h 361"/>
                  <a:gd name="T78" fmla="*/ 8 w 140"/>
                  <a:gd name="T7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361">
                    <a:moveTo>
                      <a:pt x="8" y="361"/>
                    </a:moveTo>
                    <a:lnTo>
                      <a:pt x="0" y="346"/>
                    </a:lnTo>
                    <a:lnTo>
                      <a:pt x="0" y="346"/>
                    </a:lnTo>
                    <a:lnTo>
                      <a:pt x="21" y="333"/>
                    </a:lnTo>
                    <a:lnTo>
                      <a:pt x="39" y="318"/>
                    </a:lnTo>
                    <a:lnTo>
                      <a:pt x="57" y="301"/>
                    </a:lnTo>
                    <a:lnTo>
                      <a:pt x="72" y="283"/>
                    </a:lnTo>
                    <a:lnTo>
                      <a:pt x="86" y="263"/>
                    </a:lnTo>
                    <a:lnTo>
                      <a:pt x="97" y="242"/>
                    </a:lnTo>
                    <a:lnTo>
                      <a:pt x="107" y="220"/>
                    </a:lnTo>
                    <a:lnTo>
                      <a:pt x="115" y="196"/>
                    </a:lnTo>
                    <a:lnTo>
                      <a:pt x="115" y="196"/>
                    </a:lnTo>
                    <a:lnTo>
                      <a:pt x="121" y="172"/>
                    </a:lnTo>
                    <a:lnTo>
                      <a:pt x="124" y="149"/>
                    </a:lnTo>
                    <a:lnTo>
                      <a:pt x="124" y="125"/>
                    </a:lnTo>
                    <a:lnTo>
                      <a:pt x="122" y="101"/>
                    </a:lnTo>
                    <a:lnTo>
                      <a:pt x="118" y="77"/>
                    </a:lnTo>
                    <a:lnTo>
                      <a:pt x="111" y="53"/>
                    </a:lnTo>
                    <a:lnTo>
                      <a:pt x="103" y="31"/>
                    </a:lnTo>
                    <a:lnTo>
                      <a:pt x="92" y="9"/>
                    </a:lnTo>
                    <a:lnTo>
                      <a:pt x="106" y="0"/>
                    </a:lnTo>
                    <a:lnTo>
                      <a:pt x="106" y="0"/>
                    </a:lnTo>
                    <a:lnTo>
                      <a:pt x="118" y="24"/>
                    </a:lnTo>
                    <a:lnTo>
                      <a:pt x="126" y="48"/>
                    </a:lnTo>
                    <a:lnTo>
                      <a:pt x="133" y="73"/>
                    </a:lnTo>
                    <a:lnTo>
                      <a:pt x="139" y="98"/>
                    </a:lnTo>
                    <a:lnTo>
                      <a:pt x="140" y="123"/>
                    </a:lnTo>
                    <a:lnTo>
                      <a:pt x="140" y="150"/>
                    </a:lnTo>
                    <a:lnTo>
                      <a:pt x="136" y="175"/>
                    </a:lnTo>
                    <a:lnTo>
                      <a:pt x="131" y="202"/>
                    </a:lnTo>
                    <a:lnTo>
                      <a:pt x="131" y="202"/>
                    </a:lnTo>
                    <a:lnTo>
                      <a:pt x="122" y="225"/>
                    </a:lnTo>
                    <a:lnTo>
                      <a:pt x="113" y="249"/>
                    </a:lnTo>
                    <a:lnTo>
                      <a:pt x="100" y="272"/>
                    </a:lnTo>
                    <a:lnTo>
                      <a:pt x="85" y="293"/>
                    </a:lnTo>
                    <a:lnTo>
                      <a:pt x="68" y="312"/>
                    </a:lnTo>
                    <a:lnTo>
                      <a:pt x="50" y="330"/>
                    </a:lnTo>
                    <a:lnTo>
                      <a:pt x="31" y="347"/>
                    </a:lnTo>
                    <a:lnTo>
                      <a:pt x="8" y="361"/>
                    </a:lnTo>
                    <a:lnTo>
                      <a:pt x="8" y="361"/>
                    </a:lnTo>
                    <a:close/>
                  </a:path>
                </a:pathLst>
              </a:custGeom>
              <a:solidFill>
                <a:schemeClr val="tx2"/>
              </a:solidFill>
              <a:ln>
                <a:noFill/>
              </a:ln>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74" name="Freeform 310">
                <a:extLst>
                  <a:ext uri="{FF2B5EF4-FFF2-40B4-BE49-F238E27FC236}">
                    <a16:creationId xmlns:a16="http://schemas.microsoft.com/office/drawing/2014/main" id="{04786D6F-C536-471E-BCF6-432D75906ABC}"/>
                  </a:ext>
                </a:extLst>
              </p:cNvPr>
              <p:cNvSpPr>
                <a:spLocks/>
              </p:cNvSpPr>
              <p:nvPr/>
            </p:nvSpPr>
            <p:spPr bwMode="auto">
              <a:xfrm rot="18859173" flipV="1">
                <a:off x="4500735" y="3150079"/>
                <a:ext cx="44256" cy="110075"/>
              </a:xfrm>
              <a:custGeom>
                <a:avLst/>
                <a:gdLst>
                  <a:gd name="T0" fmla="*/ 8 w 106"/>
                  <a:gd name="T1" fmla="*/ 264 h 264"/>
                  <a:gd name="T2" fmla="*/ 0 w 106"/>
                  <a:gd name="T3" fmla="*/ 250 h 264"/>
                  <a:gd name="T4" fmla="*/ 0 w 106"/>
                  <a:gd name="T5" fmla="*/ 250 h 264"/>
                  <a:gd name="T6" fmla="*/ 15 w 106"/>
                  <a:gd name="T7" fmla="*/ 240 h 264"/>
                  <a:gd name="T8" fmla="*/ 29 w 106"/>
                  <a:gd name="T9" fmla="*/ 229 h 264"/>
                  <a:gd name="T10" fmla="*/ 40 w 106"/>
                  <a:gd name="T11" fmla="*/ 218 h 264"/>
                  <a:gd name="T12" fmla="*/ 53 w 106"/>
                  <a:gd name="T13" fmla="*/ 205 h 264"/>
                  <a:gd name="T14" fmla="*/ 62 w 106"/>
                  <a:gd name="T15" fmla="*/ 190 h 264"/>
                  <a:gd name="T16" fmla="*/ 71 w 106"/>
                  <a:gd name="T17" fmla="*/ 176 h 264"/>
                  <a:gd name="T18" fmla="*/ 78 w 106"/>
                  <a:gd name="T19" fmla="*/ 159 h 264"/>
                  <a:gd name="T20" fmla="*/ 83 w 106"/>
                  <a:gd name="T21" fmla="*/ 142 h 264"/>
                  <a:gd name="T22" fmla="*/ 83 w 106"/>
                  <a:gd name="T23" fmla="*/ 142 h 264"/>
                  <a:gd name="T24" fmla="*/ 86 w 106"/>
                  <a:gd name="T25" fmla="*/ 125 h 264"/>
                  <a:gd name="T26" fmla="*/ 89 w 106"/>
                  <a:gd name="T27" fmla="*/ 109 h 264"/>
                  <a:gd name="T28" fmla="*/ 89 w 106"/>
                  <a:gd name="T29" fmla="*/ 90 h 264"/>
                  <a:gd name="T30" fmla="*/ 87 w 106"/>
                  <a:gd name="T31" fmla="*/ 74 h 264"/>
                  <a:gd name="T32" fmla="*/ 85 w 106"/>
                  <a:gd name="T33" fmla="*/ 57 h 264"/>
                  <a:gd name="T34" fmla="*/ 81 w 106"/>
                  <a:gd name="T35" fmla="*/ 40 h 264"/>
                  <a:gd name="T36" fmla="*/ 74 w 106"/>
                  <a:gd name="T37" fmla="*/ 23 h 264"/>
                  <a:gd name="T38" fmla="*/ 65 w 106"/>
                  <a:gd name="T39" fmla="*/ 8 h 264"/>
                  <a:gd name="T40" fmla="*/ 81 w 106"/>
                  <a:gd name="T41" fmla="*/ 0 h 264"/>
                  <a:gd name="T42" fmla="*/ 81 w 106"/>
                  <a:gd name="T43" fmla="*/ 0 h 264"/>
                  <a:gd name="T44" fmla="*/ 89 w 106"/>
                  <a:gd name="T45" fmla="*/ 16 h 264"/>
                  <a:gd name="T46" fmla="*/ 96 w 106"/>
                  <a:gd name="T47" fmla="*/ 34 h 264"/>
                  <a:gd name="T48" fmla="*/ 101 w 106"/>
                  <a:gd name="T49" fmla="*/ 53 h 264"/>
                  <a:gd name="T50" fmla="*/ 104 w 106"/>
                  <a:gd name="T51" fmla="*/ 71 h 264"/>
                  <a:gd name="T52" fmla="*/ 106 w 106"/>
                  <a:gd name="T53" fmla="*/ 90 h 264"/>
                  <a:gd name="T54" fmla="*/ 106 w 106"/>
                  <a:gd name="T55" fmla="*/ 109 h 264"/>
                  <a:gd name="T56" fmla="*/ 103 w 106"/>
                  <a:gd name="T57" fmla="*/ 128 h 264"/>
                  <a:gd name="T58" fmla="*/ 99 w 106"/>
                  <a:gd name="T59" fmla="*/ 146 h 264"/>
                  <a:gd name="T60" fmla="*/ 99 w 106"/>
                  <a:gd name="T61" fmla="*/ 146 h 264"/>
                  <a:gd name="T62" fmla="*/ 93 w 106"/>
                  <a:gd name="T63" fmla="*/ 165 h 264"/>
                  <a:gd name="T64" fmla="*/ 85 w 106"/>
                  <a:gd name="T65" fmla="*/ 183 h 264"/>
                  <a:gd name="T66" fmla="*/ 76 w 106"/>
                  <a:gd name="T67" fmla="*/ 199 h 264"/>
                  <a:gd name="T68" fmla="*/ 65 w 106"/>
                  <a:gd name="T69" fmla="*/ 215 h 264"/>
                  <a:gd name="T70" fmla="*/ 53 w 106"/>
                  <a:gd name="T71" fmla="*/ 229 h 264"/>
                  <a:gd name="T72" fmla="*/ 39 w 106"/>
                  <a:gd name="T73" fmla="*/ 241 h 264"/>
                  <a:gd name="T74" fmla="*/ 25 w 106"/>
                  <a:gd name="T75" fmla="*/ 254 h 264"/>
                  <a:gd name="T76" fmla="*/ 8 w 106"/>
                  <a:gd name="T77" fmla="*/ 264 h 264"/>
                  <a:gd name="T78" fmla="*/ 8 w 106"/>
                  <a:gd name="T79"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 h="264">
                    <a:moveTo>
                      <a:pt x="8" y="264"/>
                    </a:moveTo>
                    <a:lnTo>
                      <a:pt x="0" y="250"/>
                    </a:lnTo>
                    <a:lnTo>
                      <a:pt x="0" y="250"/>
                    </a:lnTo>
                    <a:lnTo>
                      <a:pt x="15" y="240"/>
                    </a:lnTo>
                    <a:lnTo>
                      <a:pt x="29" y="229"/>
                    </a:lnTo>
                    <a:lnTo>
                      <a:pt x="40" y="218"/>
                    </a:lnTo>
                    <a:lnTo>
                      <a:pt x="53" y="205"/>
                    </a:lnTo>
                    <a:lnTo>
                      <a:pt x="62" y="190"/>
                    </a:lnTo>
                    <a:lnTo>
                      <a:pt x="71" y="176"/>
                    </a:lnTo>
                    <a:lnTo>
                      <a:pt x="78" y="159"/>
                    </a:lnTo>
                    <a:lnTo>
                      <a:pt x="83" y="142"/>
                    </a:lnTo>
                    <a:lnTo>
                      <a:pt x="83" y="142"/>
                    </a:lnTo>
                    <a:lnTo>
                      <a:pt x="86" y="125"/>
                    </a:lnTo>
                    <a:lnTo>
                      <a:pt x="89" y="109"/>
                    </a:lnTo>
                    <a:lnTo>
                      <a:pt x="89" y="90"/>
                    </a:lnTo>
                    <a:lnTo>
                      <a:pt x="87" y="74"/>
                    </a:lnTo>
                    <a:lnTo>
                      <a:pt x="85" y="57"/>
                    </a:lnTo>
                    <a:lnTo>
                      <a:pt x="81" y="40"/>
                    </a:lnTo>
                    <a:lnTo>
                      <a:pt x="74" y="23"/>
                    </a:lnTo>
                    <a:lnTo>
                      <a:pt x="65" y="8"/>
                    </a:lnTo>
                    <a:lnTo>
                      <a:pt x="81" y="0"/>
                    </a:lnTo>
                    <a:lnTo>
                      <a:pt x="81" y="0"/>
                    </a:lnTo>
                    <a:lnTo>
                      <a:pt x="89" y="16"/>
                    </a:lnTo>
                    <a:lnTo>
                      <a:pt x="96" y="34"/>
                    </a:lnTo>
                    <a:lnTo>
                      <a:pt x="101" y="53"/>
                    </a:lnTo>
                    <a:lnTo>
                      <a:pt x="104" y="71"/>
                    </a:lnTo>
                    <a:lnTo>
                      <a:pt x="106" y="90"/>
                    </a:lnTo>
                    <a:lnTo>
                      <a:pt x="106" y="109"/>
                    </a:lnTo>
                    <a:lnTo>
                      <a:pt x="103" y="128"/>
                    </a:lnTo>
                    <a:lnTo>
                      <a:pt x="99" y="146"/>
                    </a:lnTo>
                    <a:lnTo>
                      <a:pt x="99" y="146"/>
                    </a:lnTo>
                    <a:lnTo>
                      <a:pt x="93" y="165"/>
                    </a:lnTo>
                    <a:lnTo>
                      <a:pt x="85" y="183"/>
                    </a:lnTo>
                    <a:lnTo>
                      <a:pt x="76" y="199"/>
                    </a:lnTo>
                    <a:lnTo>
                      <a:pt x="65" y="215"/>
                    </a:lnTo>
                    <a:lnTo>
                      <a:pt x="53" y="229"/>
                    </a:lnTo>
                    <a:lnTo>
                      <a:pt x="39" y="241"/>
                    </a:lnTo>
                    <a:lnTo>
                      <a:pt x="25" y="254"/>
                    </a:lnTo>
                    <a:lnTo>
                      <a:pt x="8" y="264"/>
                    </a:lnTo>
                    <a:lnTo>
                      <a:pt x="8" y="264"/>
                    </a:lnTo>
                    <a:close/>
                  </a:path>
                </a:pathLst>
              </a:custGeom>
              <a:solidFill>
                <a:schemeClr val="tx2"/>
              </a:solidFill>
              <a:ln w="9525">
                <a:noFill/>
                <a:round/>
                <a:headEnd/>
                <a:tailEnd/>
              </a:ln>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76" name="TextBox 275">
                <a:extLst>
                  <a:ext uri="{FF2B5EF4-FFF2-40B4-BE49-F238E27FC236}">
                    <a16:creationId xmlns:a16="http://schemas.microsoft.com/office/drawing/2014/main" id="{350838AD-F46D-4415-9524-D4E77C4E7F6F}"/>
                  </a:ext>
                </a:extLst>
              </p:cNvPr>
              <p:cNvSpPr txBox="1"/>
              <p:nvPr/>
            </p:nvSpPr>
            <p:spPr>
              <a:xfrm>
                <a:off x="3820615" y="3675069"/>
                <a:ext cx="1521505" cy="523220"/>
              </a:xfrm>
              <a:prstGeom prst="rect">
                <a:avLst/>
              </a:prstGeom>
              <a:noFill/>
            </p:spPr>
            <p:txBody>
              <a:bodyPr wrap="square" rtlCol="0">
                <a:spAutoFit/>
              </a:bodyPr>
              <a:lstStyle/>
              <a:p>
                <a:pPr defTabSz="932597"/>
                <a:r>
                  <a:rPr lang="en-US" sz="1400">
                    <a:solidFill>
                      <a:schemeClr val="accent5"/>
                    </a:solidFill>
                    <a:latin typeface="Segoe UI" panose="020B0502040204020203" pitchFamily="34" charset="0"/>
                  </a:rPr>
                  <a:t>Collaborative equipment</a:t>
                </a:r>
              </a:p>
            </p:txBody>
          </p:sp>
          <p:pic>
            <p:nvPicPr>
              <p:cNvPr id="277" name="Picture 276">
                <a:extLst>
                  <a:ext uri="{FF2B5EF4-FFF2-40B4-BE49-F238E27FC236}">
                    <a16:creationId xmlns:a16="http://schemas.microsoft.com/office/drawing/2014/main" id="{49A47F52-3F33-4A70-8630-48CC8081149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08220" y="3287658"/>
                <a:ext cx="408465" cy="370517"/>
              </a:xfrm>
              <a:prstGeom prst="rect">
                <a:avLst/>
              </a:prstGeom>
            </p:spPr>
          </p:pic>
        </p:grpSp>
        <p:grpSp>
          <p:nvGrpSpPr>
            <p:cNvPr id="203" name="Group 202">
              <a:extLst>
                <a:ext uri="{FF2B5EF4-FFF2-40B4-BE49-F238E27FC236}">
                  <a16:creationId xmlns:a16="http://schemas.microsoft.com/office/drawing/2014/main" id="{C744ACA6-B044-4CC7-8B03-9F081675AB1B}"/>
                </a:ext>
              </a:extLst>
            </p:cNvPr>
            <p:cNvGrpSpPr/>
            <p:nvPr/>
          </p:nvGrpSpPr>
          <p:grpSpPr>
            <a:xfrm>
              <a:off x="6445925" y="2529700"/>
              <a:ext cx="2201458" cy="1480337"/>
              <a:chOff x="6445925" y="2529700"/>
              <a:chExt cx="2201458" cy="1480337"/>
            </a:xfrm>
          </p:grpSpPr>
          <p:sp>
            <p:nvSpPr>
              <p:cNvPr id="206" name="TextBox 205">
                <a:extLst>
                  <a:ext uri="{FF2B5EF4-FFF2-40B4-BE49-F238E27FC236}">
                    <a16:creationId xmlns:a16="http://schemas.microsoft.com/office/drawing/2014/main" id="{45E6A730-3F04-4A89-AC14-1E748513CA83}"/>
                  </a:ext>
                </a:extLst>
              </p:cNvPr>
              <p:cNvSpPr txBox="1"/>
              <p:nvPr/>
            </p:nvSpPr>
            <p:spPr>
              <a:xfrm>
                <a:off x="6445925" y="3486817"/>
                <a:ext cx="2201458" cy="523220"/>
              </a:xfrm>
              <a:prstGeom prst="rect">
                <a:avLst/>
              </a:prstGeom>
              <a:noFill/>
            </p:spPr>
            <p:txBody>
              <a:bodyPr wrap="square" rtlCol="0">
                <a:spAutoFit/>
              </a:bodyPr>
              <a:lstStyle/>
              <a:p>
                <a:pPr algn="ctr" defTabSz="932597"/>
                <a:r>
                  <a:rPr lang="en-US" sz="1400">
                    <a:solidFill>
                      <a:schemeClr val="accent5"/>
                    </a:solidFill>
                    <a:latin typeface="Segoe UI" panose="020B0502040204020203" pitchFamily="34" charset="0"/>
                  </a:rPr>
                  <a:t>Ecosystem </a:t>
                </a:r>
              </a:p>
              <a:p>
                <a:pPr algn="ctr" defTabSz="932597"/>
                <a:r>
                  <a:rPr lang="en-US" sz="1400">
                    <a:solidFill>
                      <a:schemeClr val="accent5"/>
                    </a:solidFill>
                    <a:latin typeface="Segoe UI" panose="020B0502040204020203" pitchFamily="34" charset="0"/>
                  </a:rPr>
                  <a:t>Interaction</a:t>
                </a:r>
              </a:p>
            </p:txBody>
          </p:sp>
          <p:grpSp>
            <p:nvGrpSpPr>
              <p:cNvPr id="216" name="Group 215">
                <a:extLst>
                  <a:ext uri="{FF2B5EF4-FFF2-40B4-BE49-F238E27FC236}">
                    <a16:creationId xmlns:a16="http://schemas.microsoft.com/office/drawing/2014/main" id="{DD5494AE-3A3E-4CA9-A2EB-CB168582B150}"/>
                  </a:ext>
                </a:extLst>
              </p:cNvPr>
              <p:cNvGrpSpPr/>
              <p:nvPr/>
            </p:nvGrpSpPr>
            <p:grpSpPr>
              <a:xfrm>
                <a:off x="7234256" y="2529700"/>
                <a:ext cx="766574" cy="962583"/>
                <a:chOff x="7414282" y="2684267"/>
                <a:chExt cx="766574" cy="962583"/>
              </a:xfrm>
            </p:grpSpPr>
            <p:grpSp>
              <p:nvGrpSpPr>
                <p:cNvPr id="219" name="Group 218">
                  <a:extLst>
                    <a:ext uri="{FF2B5EF4-FFF2-40B4-BE49-F238E27FC236}">
                      <a16:creationId xmlns:a16="http://schemas.microsoft.com/office/drawing/2014/main" id="{206E1823-A6D6-4C19-A416-261D513A183D}"/>
                    </a:ext>
                  </a:extLst>
                </p:cNvPr>
                <p:cNvGrpSpPr/>
                <p:nvPr/>
              </p:nvGrpSpPr>
              <p:grpSpPr>
                <a:xfrm flipH="1">
                  <a:off x="7453498" y="2889026"/>
                  <a:ext cx="518501" cy="365512"/>
                  <a:chOff x="6020371" y="4484422"/>
                  <a:chExt cx="810291" cy="612662"/>
                </a:xfrm>
                <a:solidFill>
                  <a:schemeClr val="tx2"/>
                </a:solidFill>
              </p:grpSpPr>
              <p:sp>
                <p:nvSpPr>
                  <p:cNvPr id="237" name="Freeform 168">
                    <a:extLst>
                      <a:ext uri="{FF2B5EF4-FFF2-40B4-BE49-F238E27FC236}">
                        <a16:creationId xmlns:a16="http://schemas.microsoft.com/office/drawing/2014/main" id="{5DCBF73E-190B-4A83-93FE-F2A0F7D287A3}"/>
                      </a:ext>
                    </a:extLst>
                  </p:cNvPr>
                  <p:cNvSpPr>
                    <a:spLocks noEditPoints="1"/>
                  </p:cNvSpPr>
                  <p:nvPr/>
                </p:nvSpPr>
                <p:spPr bwMode="auto">
                  <a:xfrm>
                    <a:off x="6020371" y="4484422"/>
                    <a:ext cx="553372" cy="518788"/>
                  </a:xfrm>
                  <a:custGeom>
                    <a:avLst/>
                    <a:gdLst/>
                    <a:ahLst/>
                    <a:cxnLst>
                      <a:cxn ang="0">
                        <a:pos x="215" y="24"/>
                      </a:cxn>
                      <a:cxn ang="0">
                        <a:pos x="127" y="0"/>
                      </a:cxn>
                      <a:cxn ang="0">
                        <a:pos x="39" y="24"/>
                      </a:cxn>
                      <a:cxn ang="0">
                        <a:pos x="0" y="89"/>
                      </a:cxn>
                      <a:cxn ang="0">
                        <a:pos x="42" y="155"/>
                      </a:cxn>
                      <a:cxn ang="0">
                        <a:pos x="34" y="197"/>
                      </a:cxn>
                      <a:cxn ang="0">
                        <a:pos x="27" y="231"/>
                      </a:cxn>
                      <a:cxn ang="0">
                        <a:pos x="25" y="240"/>
                      </a:cxn>
                      <a:cxn ang="0">
                        <a:pos x="31" y="233"/>
                      </a:cxn>
                      <a:cxn ang="0">
                        <a:pos x="55" y="207"/>
                      </a:cxn>
                      <a:cxn ang="0">
                        <a:pos x="87" y="173"/>
                      </a:cxn>
                      <a:cxn ang="0">
                        <a:pos x="127" y="178"/>
                      </a:cxn>
                      <a:cxn ang="0">
                        <a:pos x="215" y="153"/>
                      </a:cxn>
                      <a:cxn ang="0">
                        <a:pos x="255" y="89"/>
                      </a:cxn>
                      <a:cxn ang="0">
                        <a:pos x="215" y="24"/>
                      </a:cxn>
                      <a:cxn ang="0">
                        <a:pos x="59" y="149"/>
                      </a:cxn>
                      <a:cxn ang="0">
                        <a:pos x="59" y="147"/>
                      </a:cxn>
                      <a:cxn ang="0">
                        <a:pos x="57" y="147"/>
                      </a:cxn>
                      <a:cxn ang="0">
                        <a:pos x="15" y="89"/>
                      </a:cxn>
                      <a:cxn ang="0">
                        <a:pos x="127" y="15"/>
                      </a:cxn>
                      <a:cxn ang="0">
                        <a:pos x="240" y="89"/>
                      </a:cxn>
                      <a:cxn ang="0">
                        <a:pos x="127" y="163"/>
                      </a:cxn>
                      <a:cxn ang="0">
                        <a:pos x="83" y="157"/>
                      </a:cxn>
                      <a:cxn ang="0">
                        <a:pos x="82" y="156"/>
                      </a:cxn>
                      <a:cxn ang="0">
                        <a:pos x="81" y="158"/>
                      </a:cxn>
                      <a:cxn ang="0">
                        <a:pos x="50" y="191"/>
                      </a:cxn>
                      <a:cxn ang="0">
                        <a:pos x="59" y="149"/>
                      </a:cxn>
                    </a:cxnLst>
                    <a:rect l="0" t="0" r="r" b="b"/>
                    <a:pathLst>
                      <a:path w="255" h="240">
                        <a:moveTo>
                          <a:pt x="215" y="24"/>
                        </a:moveTo>
                        <a:cubicBezTo>
                          <a:pt x="192" y="8"/>
                          <a:pt x="160" y="0"/>
                          <a:pt x="127" y="0"/>
                        </a:cubicBezTo>
                        <a:cubicBezTo>
                          <a:pt x="94" y="0"/>
                          <a:pt x="63" y="8"/>
                          <a:pt x="39" y="24"/>
                        </a:cubicBezTo>
                        <a:cubicBezTo>
                          <a:pt x="14" y="41"/>
                          <a:pt x="0" y="64"/>
                          <a:pt x="0" y="89"/>
                        </a:cubicBezTo>
                        <a:cubicBezTo>
                          <a:pt x="0" y="114"/>
                          <a:pt x="15" y="138"/>
                          <a:pt x="42" y="155"/>
                        </a:cubicBezTo>
                        <a:cubicBezTo>
                          <a:pt x="34" y="197"/>
                          <a:pt x="34" y="197"/>
                          <a:pt x="34" y="197"/>
                        </a:cubicBezTo>
                        <a:cubicBezTo>
                          <a:pt x="27" y="231"/>
                          <a:pt x="27" y="231"/>
                          <a:pt x="27" y="231"/>
                        </a:cubicBezTo>
                        <a:cubicBezTo>
                          <a:pt x="25" y="240"/>
                          <a:pt x="25" y="240"/>
                          <a:pt x="25" y="240"/>
                        </a:cubicBezTo>
                        <a:cubicBezTo>
                          <a:pt x="31" y="233"/>
                          <a:pt x="31" y="233"/>
                          <a:pt x="31" y="233"/>
                        </a:cubicBezTo>
                        <a:cubicBezTo>
                          <a:pt x="55" y="207"/>
                          <a:pt x="55" y="207"/>
                          <a:pt x="55" y="207"/>
                        </a:cubicBezTo>
                        <a:cubicBezTo>
                          <a:pt x="87" y="173"/>
                          <a:pt x="87" y="173"/>
                          <a:pt x="87" y="173"/>
                        </a:cubicBezTo>
                        <a:cubicBezTo>
                          <a:pt x="100" y="176"/>
                          <a:pt x="113" y="178"/>
                          <a:pt x="127" y="178"/>
                        </a:cubicBezTo>
                        <a:cubicBezTo>
                          <a:pt x="160" y="178"/>
                          <a:pt x="192" y="169"/>
                          <a:pt x="215" y="153"/>
                        </a:cubicBezTo>
                        <a:cubicBezTo>
                          <a:pt x="241" y="136"/>
                          <a:pt x="255" y="113"/>
                          <a:pt x="255" y="89"/>
                        </a:cubicBezTo>
                        <a:cubicBezTo>
                          <a:pt x="255" y="64"/>
                          <a:pt x="241" y="41"/>
                          <a:pt x="215" y="24"/>
                        </a:cubicBezTo>
                        <a:close/>
                        <a:moveTo>
                          <a:pt x="59" y="149"/>
                        </a:moveTo>
                        <a:cubicBezTo>
                          <a:pt x="59" y="147"/>
                          <a:pt x="59" y="147"/>
                          <a:pt x="59" y="147"/>
                        </a:cubicBezTo>
                        <a:cubicBezTo>
                          <a:pt x="57" y="147"/>
                          <a:pt x="57" y="147"/>
                          <a:pt x="57" y="147"/>
                        </a:cubicBezTo>
                        <a:cubicBezTo>
                          <a:pt x="30" y="132"/>
                          <a:pt x="15" y="111"/>
                          <a:pt x="15" y="89"/>
                        </a:cubicBezTo>
                        <a:cubicBezTo>
                          <a:pt x="15" y="48"/>
                          <a:pt x="65" y="15"/>
                          <a:pt x="127" y="15"/>
                        </a:cubicBezTo>
                        <a:cubicBezTo>
                          <a:pt x="189" y="15"/>
                          <a:pt x="240" y="48"/>
                          <a:pt x="240" y="89"/>
                        </a:cubicBezTo>
                        <a:cubicBezTo>
                          <a:pt x="240" y="129"/>
                          <a:pt x="189" y="163"/>
                          <a:pt x="127" y="163"/>
                        </a:cubicBezTo>
                        <a:cubicBezTo>
                          <a:pt x="112" y="163"/>
                          <a:pt x="97" y="161"/>
                          <a:pt x="83" y="157"/>
                        </a:cubicBezTo>
                        <a:cubicBezTo>
                          <a:pt x="82" y="156"/>
                          <a:pt x="82" y="156"/>
                          <a:pt x="82" y="156"/>
                        </a:cubicBezTo>
                        <a:cubicBezTo>
                          <a:pt x="81" y="158"/>
                          <a:pt x="81" y="158"/>
                          <a:pt x="81" y="158"/>
                        </a:cubicBezTo>
                        <a:cubicBezTo>
                          <a:pt x="50" y="191"/>
                          <a:pt x="50" y="191"/>
                          <a:pt x="50" y="191"/>
                        </a:cubicBezTo>
                        <a:lnTo>
                          <a:pt x="59" y="149"/>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837518"/>
                    <a:endParaRPr lang="en-US" sz="816">
                      <a:solidFill>
                        <a:srgbClr val="D2D2D2"/>
                      </a:solidFill>
                      <a:latin typeface="Segoe UI" panose="020B0502040204020203" pitchFamily="34" charset="0"/>
                    </a:endParaRPr>
                  </a:p>
                </p:txBody>
              </p:sp>
              <p:sp>
                <p:nvSpPr>
                  <p:cNvPr id="238" name="Freeform 169">
                    <a:extLst>
                      <a:ext uri="{FF2B5EF4-FFF2-40B4-BE49-F238E27FC236}">
                        <a16:creationId xmlns:a16="http://schemas.microsoft.com/office/drawing/2014/main" id="{87D4F414-4564-4950-A60D-C57C57854BAC}"/>
                      </a:ext>
                    </a:extLst>
                  </p:cNvPr>
                  <p:cNvSpPr>
                    <a:spLocks/>
                  </p:cNvSpPr>
                  <p:nvPr/>
                </p:nvSpPr>
                <p:spPr bwMode="auto">
                  <a:xfrm>
                    <a:off x="6390930" y="4662292"/>
                    <a:ext cx="439732" cy="434792"/>
                  </a:xfrm>
                  <a:custGeom>
                    <a:avLst/>
                    <a:gdLst/>
                    <a:ahLst/>
                    <a:cxnLst>
                      <a:cxn ang="0">
                        <a:pos x="203" y="74"/>
                      </a:cxn>
                      <a:cxn ang="0">
                        <a:pos x="170" y="20"/>
                      </a:cxn>
                      <a:cxn ang="0">
                        <a:pos x="98" y="0"/>
                      </a:cxn>
                      <a:cxn ang="0">
                        <a:pos x="95" y="0"/>
                      </a:cxn>
                      <a:cxn ang="0">
                        <a:pos x="95" y="3"/>
                      </a:cxn>
                      <a:cxn ang="0">
                        <a:pos x="96" y="11"/>
                      </a:cxn>
                      <a:cxn ang="0">
                        <a:pos x="96" y="13"/>
                      </a:cxn>
                      <a:cxn ang="0">
                        <a:pos x="99" y="13"/>
                      </a:cxn>
                      <a:cxn ang="0">
                        <a:pos x="190" y="74"/>
                      </a:cxn>
                      <a:cxn ang="0">
                        <a:pos x="155" y="121"/>
                      </a:cxn>
                      <a:cxn ang="0">
                        <a:pos x="153" y="122"/>
                      </a:cxn>
                      <a:cxn ang="0">
                        <a:pos x="153" y="124"/>
                      </a:cxn>
                      <a:cxn ang="0">
                        <a:pos x="160" y="157"/>
                      </a:cxn>
                      <a:cxn ang="0">
                        <a:pos x="136" y="130"/>
                      </a:cxn>
                      <a:cxn ang="0">
                        <a:pos x="134" y="129"/>
                      </a:cxn>
                      <a:cxn ang="0">
                        <a:pos x="133" y="130"/>
                      </a:cxn>
                      <a:cxn ang="0">
                        <a:pos x="97" y="134"/>
                      </a:cxn>
                      <a:cxn ang="0">
                        <a:pos x="15" y="102"/>
                      </a:cxn>
                      <a:cxn ang="0">
                        <a:pos x="14" y="100"/>
                      </a:cxn>
                      <a:cxn ang="0">
                        <a:pos x="12" y="101"/>
                      </a:cxn>
                      <a:cxn ang="0">
                        <a:pos x="4" y="103"/>
                      </a:cxn>
                      <a:cxn ang="0">
                        <a:pos x="0" y="104"/>
                      </a:cxn>
                      <a:cxn ang="0">
                        <a:pos x="2" y="107"/>
                      </a:cxn>
                      <a:cxn ang="0">
                        <a:pos x="24" y="127"/>
                      </a:cxn>
                      <a:cxn ang="0">
                        <a:pos x="97" y="148"/>
                      </a:cxn>
                      <a:cxn ang="0">
                        <a:pos x="130" y="144"/>
                      </a:cxn>
                      <a:cxn ang="0">
                        <a:pos x="156" y="172"/>
                      </a:cxn>
                      <a:cxn ang="0">
                        <a:pos x="176" y="194"/>
                      </a:cxn>
                      <a:cxn ang="0">
                        <a:pos x="182" y="200"/>
                      </a:cxn>
                      <a:cxn ang="0">
                        <a:pos x="180" y="192"/>
                      </a:cxn>
                      <a:cxn ang="0">
                        <a:pos x="175" y="163"/>
                      </a:cxn>
                      <a:cxn ang="0">
                        <a:pos x="168" y="129"/>
                      </a:cxn>
                      <a:cxn ang="0">
                        <a:pos x="203" y="74"/>
                      </a:cxn>
                    </a:cxnLst>
                    <a:rect l="0" t="0" r="r" b="b"/>
                    <a:pathLst>
                      <a:path w="203" h="200">
                        <a:moveTo>
                          <a:pt x="203" y="74"/>
                        </a:moveTo>
                        <a:cubicBezTo>
                          <a:pt x="203" y="53"/>
                          <a:pt x="191" y="34"/>
                          <a:pt x="170" y="20"/>
                        </a:cubicBezTo>
                        <a:cubicBezTo>
                          <a:pt x="151" y="7"/>
                          <a:pt x="125" y="0"/>
                          <a:pt x="98" y="0"/>
                        </a:cubicBezTo>
                        <a:cubicBezTo>
                          <a:pt x="95" y="0"/>
                          <a:pt x="95" y="0"/>
                          <a:pt x="95" y="0"/>
                        </a:cubicBezTo>
                        <a:cubicBezTo>
                          <a:pt x="95" y="3"/>
                          <a:pt x="95" y="3"/>
                          <a:pt x="95" y="3"/>
                        </a:cubicBezTo>
                        <a:cubicBezTo>
                          <a:pt x="96" y="5"/>
                          <a:pt x="96" y="8"/>
                          <a:pt x="96" y="11"/>
                        </a:cubicBezTo>
                        <a:cubicBezTo>
                          <a:pt x="96" y="13"/>
                          <a:pt x="96" y="13"/>
                          <a:pt x="96" y="13"/>
                        </a:cubicBezTo>
                        <a:cubicBezTo>
                          <a:pt x="99" y="13"/>
                          <a:pt x="99" y="13"/>
                          <a:pt x="99" y="13"/>
                        </a:cubicBezTo>
                        <a:cubicBezTo>
                          <a:pt x="149" y="14"/>
                          <a:pt x="190" y="41"/>
                          <a:pt x="190" y="74"/>
                        </a:cubicBezTo>
                        <a:cubicBezTo>
                          <a:pt x="190" y="92"/>
                          <a:pt x="177" y="110"/>
                          <a:pt x="155" y="121"/>
                        </a:cubicBezTo>
                        <a:cubicBezTo>
                          <a:pt x="153" y="122"/>
                          <a:pt x="153" y="122"/>
                          <a:pt x="153" y="122"/>
                        </a:cubicBezTo>
                        <a:cubicBezTo>
                          <a:pt x="153" y="124"/>
                          <a:pt x="153" y="124"/>
                          <a:pt x="153" y="124"/>
                        </a:cubicBezTo>
                        <a:cubicBezTo>
                          <a:pt x="160" y="157"/>
                          <a:pt x="160" y="157"/>
                          <a:pt x="160" y="157"/>
                        </a:cubicBezTo>
                        <a:cubicBezTo>
                          <a:pt x="136" y="130"/>
                          <a:pt x="136" y="130"/>
                          <a:pt x="136" y="130"/>
                        </a:cubicBezTo>
                        <a:cubicBezTo>
                          <a:pt x="134" y="129"/>
                          <a:pt x="134" y="129"/>
                          <a:pt x="134" y="129"/>
                        </a:cubicBezTo>
                        <a:cubicBezTo>
                          <a:pt x="133" y="130"/>
                          <a:pt x="133" y="130"/>
                          <a:pt x="133" y="130"/>
                        </a:cubicBezTo>
                        <a:cubicBezTo>
                          <a:pt x="122" y="133"/>
                          <a:pt x="109" y="134"/>
                          <a:pt x="97" y="134"/>
                        </a:cubicBezTo>
                        <a:cubicBezTo>
                          <a:pt x="62" y="134"/>
                          <a:pt x="31" y="122"/>
                          <a:pt x="15" y="102"/>
                        </a:cubicBezTo>
                        <a:cubicBezTo>
                          <a:pt x="14" y="100"/>
                          <a:pt x="14" y="100"/>
                          <a:pt x="14" y="100"/>
                        </a:cubicBezTo>
                        <a:cubicBezTo>
                          <a:pt x="12" y="101"/>
                          <a:pt x="12" y="101"/>
                          <a:pt x="12" y="101"/>
                        </a:cubicBezTo>
                        <a:cubicBezTo>
                          <a:pt x="10" y="102"/>
                          <a:pt x="7" y="102"/>
                          <a:pt x="4" y="103"/>
                        </a:cubicBezTo>
                        <a:cubicBezTo>
                          <a:pt x="0" y="104"/>
                          <a:pt x="0" y="104"/>
                          <a:pt x="0" y="104"/>
                        </a:cubicBezTo>
                        <a:cubicBezTo>
                          <a:pt x="2" y="107"/>
                          <a:pt x="2" y="107"/>
                          <a:pt x="2" y="107"/>
                        </a:cubicBezTo>
                        <a:cubicBezTo>
                          <a:pt x="8" y="115"/>
                          <a:pt x="15" y="121"/>
                          <a:pt x="24" y="127"/>
                        </a:cubicBezTo>
                        <a:cubicBezTo>
                          <a:pt x="44" y="141"/>
                          <a:pt x="70" y="148"/>
                          <a:pt x="97" y="148"/>
                        </a:cubicBezTo>
                        <a:cubicBezTo>
                          <a:pt x="108" y="148"/>
                          <a:pt x="119" y="147"/>
                          <a:pt x="130" y="144"/>
                        </a:cubicBezTo>
                        <a:cubicBezTo>
                          <a:pt x="156" y="172"/>
                          <a:pt x="156" y="172"/>
                          <a:pt x="156" y="172"/>
                        </a:cubicBezTo>
                        <a:cubicBezTo>
                          <a:pt x="176" y="194"/>
                          <a:pt x="176" y="194"/>
                          <a:pt x="176" y="194"/>
                        </a:cubicBezTo>
                        <a:cubicBezTo>
                          <a:pt x="182" y="200"/>
                          <a:pt x="182" y="200"/>
                          <a:pt x="182" y="200"/>
                        </a:cubicBezTo>
                        <a:cubicBezTo>
                          <a:pt x="180" y="192"/>
                          <a:pt x="180" y="192"/>
                          <a:pt x="180" y="192"/>
                        </a:cubicBezTo>
                        <a:cubicBezTo>
                          <a:pt x="175" y="163"/>
                          <a:pt x="175" y="163"/>
                          <a:pt x="175" y="163"/>
                        </a:cubicBezTo>
                        <a:cubicBezTo>
                          <a:pt x="168" y="129"/>
                          <a:pt x="168" y="129"/>
                          <a:pt x="168" y="129"/>
                        </a:cubicBezTo>
                        <a:cubicBezTo>
                          <a:pt x="190" y="115"/>
                          <a:pt x="203" y="95"/>
                          <a:pt x="203" y="7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837518"/>
                    <a:endParaRPr lang="en-US" sz="816">
                      <a:solidFill>
                        <a:srgbClr val="D2D2D2"/>
                      </a:solidFill>
                      <a:latin typeface="Segoe UI" panose="020B0502040204020203" pitchFamily="34" charset="0"/>
                    </a:endParaRPr>
                  </a:p>
                </p:txBody>
              </p:sp>
            </p:grpSp>
            <p:grpSp>
              <p:nvGrpSpPr>
                <p:cNvPr id="222" name="Group 221">
                  <a:extLst>
                    <a:ext uri="{FF2B5EF4-FFF2-40B4-BE49-F238E27FC236}">
                      <a16:creationId xmlns:a16="http://schemas.microsoft.com/office/drawing/2014/main" id="{F449C8E6-3093-4910-AD0C-E6777521F35A}"/>
                    </a:ext>
                  </a:extLst>
                </p:cNvPr>
                <p:cNvGrpSpPr/>
                <p:nvPr/>
              </p:nvGrpSpPr>
              <p:grpSpPr>
                <a:xfrm>
                  <a:off x="7796844" y="2684267"/>
                  <a:ext cx="384012" cy="185265"/>
                  <a:chOff x="7834956" y="2571078"/>
                  <a:chExt cx="390351" cy="188323"/>
                </a:xfrm>
              </p:grpSpPr>
              <p:sp>
                <p:nvSpPr>
                  <p:cNvPr id="234" name="Freeform 308">
                    <a:extLst>
                      <a:ext uri="{FF2B5EF4-FFF2-40B4-BE49-F238E27FC236}">
                        <a16:creationId xmlns:a16="http://schemas.microsoft.com/office/drawing/2014/main" id="{2657D989-4800-4CF3-AFDF-BD3C6367662F}"/>
                      </a:ext>
                    </a:extLst>
                  </p:cNvPr>
                  <p:cNvSpPr>
                    <a:spLocks/>
                  </p:cNvSpPr>
                  <p:nvPr/>
                </p:nvSpPr>
                <p:spPr bwMode="auto">
                  <a:xfrm rot="18859173" flipV="1">
                    <a:off x="7959716" y="2446318"/>
                    <a:ext cx="140831" cy="390351"/>
                  </a:xfrm>
                  <a:custGeom>
                    <a:avLst/>
                    <a:gdLst>
                      <a:gd name="T0" fmla="*/ 9 w 178"/>
                      <a:gd name="T1" fmla="*/ 460 h 460"/>
                      <a:gd name="T2" fmla="*/ 0 w 178"/>
                      <a:gd name="T3" fmla="*/ 446 h 460"/>
                      <a:gd name="T4" fmla="*/ 0 w 178"/>
                      <a:gd name="T5" fmla="*/ 446 h 460"/>
                      <a:gd name="T6" fmla="*/ 27 w 178"/>
                      <a:gd name="T7" fmla="*/ 428 h 460"/>
                      <a:gd name="T8" fmla="*/ 52 w 178"/>
                      <a:gd name="T9" fmla="*/ 408 h 460"/>
                      <a:gd name="T10" fmla="*/ 74 w 178"/>
                      <a:gd name="T11" fmla="*/ 387 h 460"/>
                      <a:gd name="T12" fmla="*/ 95 w 178"/>
                      <a:gd name="T13" fmla="*/ 364 h 460"/>
                      <a:gd name="T14" fmla="*/ 111 w 178"/>
                      <a:gd name="T15" fmla="*/ 338 h 460"/>
                      <a:gd name="T16" fmla="*/ 127 w 178"/>
                      <a:gd name="T17" fmla="*/ 310 h 460"/>
                      <a:gd name="T18" fmla="*/ 139 w 178"/>
                      <a:gd name="T19" fmla="*/ 282 h 460"/>
                      <a:gd name="T20" fmla="*/ 149 w 178"/>
                      <a:gd name="T21" fmla="*/ 252 h 460"/>
                      <a:gd name="T22" fmla="*/ 149 w 178"/>
                      <a:gd name="T23" fmla="*/ 252 h 460"/>
                      <a:gd name="T24" fmla="*/ 156 w 178"/>
                      <a:gd name="T25" fmla="*/ 221 h 460"/>
                      <a:gd name="T26" fmla="*/ 160 w 178"/>
                      <a:gd name="T27" fmla="*/ 189 h 460"/>
                      <a:gd name="T28" fmla="*/ 161 w 178"/>
                      <a:gd name="T29" fmla="*/ 158 h 460"/>
                      <a:gd name="T30" fmla="*/ 159 w 178"/>
                      <a:gd name="T31" fmla="*/ 127 h 460"/>
                      <a:gd name="T32" fmla="*/ 153 w 178"/>
                      <a:gd name="T33" fmla="*/ 96 h 460"/>
                      <a:gd name="T34" fmla="*/ 145 w 178"/>
                      <a:gd name="T35" fmla="*/ 66 h 460"/>
                      <a:gd name="T36" fmla="*/ 134 w 178"/>
                      <a:gd name="T37" fmla="*/ 36 h 460"/>
                      <a:gd name="T38" fmla="*/ 118 w 178"/>
                      <a:gd name="T39" fmla="*/ 8 h 460"/>
                      <a:gd name="T40" fmla="*/ 134 w 178"/>
                      <a:gd name="T41" fmla="*/ 0 h 460"/>
                      <a:gd name="T42" fmla="*/ 134 w 178"/>
                      <a:gd name="T43" fmla="*/ 0 h 460"/>
                      <a:gd name="T44" fmla="*/ 149 w 178"/>
                      <a:gd name="T45" fmla="*/ 29 h 460"/>
                      <a:gd name="T46" fmla="*/ 160 w 178"/>
                      <a:gd name="T47" fmla="*/ 60 h 460"/>
                      <a:gd name="T48" fmla="*/ 170 w 178"/>
                      <a:gd name="T49" fmla="*/ 92 h 460"/>
                      <a:gd name="T50" fmla="*/ 175 w 178"/>
                      <a:gd name="T51" fmla="*/ 124 h 460"/>
                      <a:gd name="T52" fmla="*/ 178 w 178"/>
                      <a:gd name="T53" fmla="*/ 158 h 460"/>
                      <a:gd name="T54" fmla="*/ 177 w 178"/>
                      <a:gd name="T55" fmla="*/ 190 h 460"/>
                      <a:gd name="T56" fmla="*/ 172 w 178"/>
                      <a:gd name="T57" fmla="*/ 224 h 460"/>
                      <a:gd name="T58" fmla="*/ 166 w 178"/>
                      <a:gd name="T59" fmla="*/ 256 h 460"/>
                      <a:gd name="T60" fmla="*/ 166 w 178"/>
                      <a:gd name="T61" fmla="*/ 256 h 460"/>
                      <a:gd name="T62" fmla="*/ 156 w 178"/>
                      <a:gd name="T63" fmla="*/ 288 h 460"/>
                      <a:gd name="T64" fmla="*/ 142 w 178"/>
                      <a:gd name="T65" fmla="*/ 319 h 460"/>
                      <a:gd name="T66" fmla="*/ 125 w 178"/>
                      <a:gd name="T67" fmla="*/ 347 h 460"/>
                      <a:gd name="T68" fmla="*/ 107 w 178"/>
                      <a:gd name="T69" fmla="*/ 373 h 460"/>
                      <a:gd name="T70" fmla="*/ 86 w 178"/>
                      <a:gd name="T71" fmla="*/ 398 h 460"/>
                      <a:gd name="T72" fmla="*/ 63 w 178"/>
                      <a:gd name="T73" fmla="*/ 421 h 460"/>
                      <a:gd name="T74" fmla="*/ 36 w 178"/>
                      <a:gd name="T75" fmla="*/ 442 h 460"/>
                      <a:gd name="T76" fmla="*/ 9 w 178"/>
                      <a:gd name="T77" fmla="*/ 460 h 460"/>
                      <a:gd name="T78" fmla="*/ 9 w 178"/>
                      <a:gd name="T79" fmla="*/ 46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8" h="460">
                        <a:moveTo>
                          <a:pt x="9" y="460"/>
                        </a:moveTo>
                        <a:lnTo>
                          <a:pt x="0" y="446"/>
                        </a:lnTo>
                        <a:lnTo>
                          <a:pt x="0" y="446"/>
                        </a:lnTo>
                        <a:lnTo>
                          <a:pt x="27" y="428"/>
                        </a:lnTo>
                        <a:lnTo>
                          <a:pt x="52" y="408"/>
                        </a:lnTo>
                        <a:lnTo>
                          <a:pt x="74" y="387"/>
                        </a:lnTo>
                        <a:lnTo>
                          <a:pt x="95" y="364"/>
                        </a:lnTo>
                        <a:lnTo>
                          <a:pt x="111" y="338"/>
                        </a:lnTo>
                        <a:lnTo>
                          <a:pt x="127" y="310"/>
                        </a:lnTo>
                        <a:lnTo>
                          <a:pt x="139" y="282"/>
                        </a:lnTo>
                        <a:lnTo>
                          <a:pt x="149" y="252"/>
                        </a:lnTo>
                        <a:lnTo>
                          <a:pt x="149" y="252"/>
                        </a:lnTo>
                        <a:lnTo>
                          <a:pt x="156" y="221"/>
                        </a:lnTo>
                        <a:lnTo>
                          <a:pt x="160" y="189"/>
                        </a:lnTo>
                        <a:lnTo>
                          <a:pt x="161" y="158"/>
                        </a:lnTo>
                        <a:lnTo>
                          <a:pt x="159" y="127"/>
                        </a:lnTo>
                        <a:lnTo>
                          <a:pt x="153" y="96"/>
                        </a:lnTo>
                        <a:lnTo>
                          <a:pt x="145" y="66"/>
                        </a:lnTo>
                        <a:lnTo>
                          <a:pt x="134" y="36"/>
                        </a:lnTo>
                        <a:lnTo>
                          <a:pt x="118" y="8"/>
                        </a:lnTo>
                        <a:lnTo>
                          <a:pt x="134" y="0"/>
                        </a:lnTo>
                        <a:lnTo>
                          <a:pt x="134" y="0"/>
                        </a:lnTo>
                        <a:lnTo>
                          <a:pt x="149" y="29"/>
                        </a:lnTo>
                        <a:lnTo>
                          <a:pt x="160" y="60"/>
                        </a:lnTo>
                        <a:lnTo>
                          <a:pt x="170" y="92"/>
                        </a:lnTo>
                        <a:lnTo>
                          <a:pt x="175" y="124"/>
                        </a:lnTo>
                        <a:lnTo>
                          <a:pt x="178" y="158"/>
                        </a:lnTo>
                        <a:lnTo>
                          <a:pt x="177" y="190"/>
                        </a:lnTo>
                        <a:lnTo>
                          <a:pt x="172" y="224"/>
                        </a:lnTo>
                        <a:lnTo>
                          <a:pt x="166" y="256"/>
                        </a:lnTo>
                        <a:lnTo>
                          <a:pt x="166" y="256"/>
                        </a:lnTo>
                        <a:lnTo>
                          <a:pt x="156" y="288"/>
                        </a:lnTo>
                        <a:lnTo>
                          <a:pt x="142" y="319"/>
                        </a:lnTo>
                        <a:lnTo>
                          <a:pt x="125" y="347"/>
                        </a:lnTo>
                        <a:lnTo>
                          <a:pt x="107" y="373"/>
                        </a:lnTo>
                        <a:lnTo>
                          <a:pt x="86" y="398"/>
                        </a:lnTo>
                        <a:lnTo>
                          <a:pt x="63" y="421"/>
                        </a:lnTo>
                        <a:lnTo>
                          <a:pt x="36" y="442"/>
                        </a:lnTo>
                        <a:lnTo>
                          <a:pt x="9" y="460"/>
                        </a:lnTo>
                        <a:lnTo>
                          <a:pt x="9" y="460"/>
                        </a:lnTo>
                        <a:close/>
                      </a:path>
                    </a:pathLst>
                  </a:custGeom>
                  <a:solidFill>
                    <a:schemeClr val="tx2"/>
                  </a:solidFill>
                  <a:ln>
                    <a:noFill/>
                  </a:ln>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35" name="Freeform 309">
                    <a:extLst>
                      <a:ext uri="{FF2B5EF4-FFF2-40B4-BE49-F238E27FC236}">
                        <a16:creationId xmlns:a16="http://schemas.microsoft.com/office/drawing/2014/main" id="{AB2B975C-BC16-4EC0-B163-522F9FBFE076}"/>
                      </a:ext>
                    </a:extLst>
                  </p:cNvPr>
                  <p:cNvSpPr>
                    <a:spLocks/>
                  </p:cNvSpPr>
                  <p:nvPr/>
                </p:nvSpPr>
                <p:spPr bwMode="auto">
                  <a:xfrm rot="18859173" flipV="1">
                    <a:off x="7958074" y="2524028"/>
                    <a:ext cx="110767" cy="306341"/>
                  </a:xfrm>
                  <a:custGeom>
                    <a:avLst/>
                    <a:gdLst>
                      <a:gd name="T0" fmla="*/ 8 w 140"/>
                      <a:gd name="T1" fmla="*/ 361 h 361"/>
                      <a:gd name="T2" fmla="*/ 0 w 140"/>
                      <a:gd name="T3" fmla="*/ 346 h 361"/>
                      <a:gd name="T4" fmla="*/ 0 w 140"/>
                      <a:gd name="T5" fmla="*/ 346 h 361"/>
                      <a:gd name="T6" fmla="*/ 21 w 140"/>
                      <a:gd name="T7" fmla="*/ 333 h 361"/>
                      <a:gd name="T8" fmla="*/ 39 w 140"/>
                      <a:gd name="T9" fmla="*/ 318 h 361"/>
                      <a:gd name="T10" fmla="*/ 57 w 140"/>
                      <a:gd name="T11" fmla="*/ 301 h 361"/>
                      <a:gd name="T12" fmla="*/ 72 w 140"/>
                      <a:gd name="T13" fmla="*/ 283 h 361"/>
                      <a:gd name="T14" fmla="*/ 86 w 140"/>
                      <a:gd name="T15" fmla="*/ 263 h 361"/>
                      <a:gd name="T16" fmla="*/ 97 w 140"/>
                      <a:gd name="T17" fmla="*/ 242 h 361"/>
                      <a:gd name="T18" fmla="*/ 107 w 140"/>
                      <a:gd name="T19" fmla="*/ 220 h 361"/>
                      <a:gd name="T20" fmla="*/ 115 w 140"/>
                      <a:gd name="T21" fmla="*/ 196 h 361"/>
                      <a:gd name="T22" fmla="*/ 115 w 140"/>
                      <a:gd name="T23" fmla="*/ 196 h 361"/>
                      <a:gd name="T24" fmla="*/ 121 w 140"/>
                      <a:gd name="T25" fmla="*/ 172 h 361"/>
                      <a:gd name="T26" fmla="*/ 124 w 140"/>
                      <a:gd name="T27" fmla="*/ 149 h 361"/>
                      <a:gd name="T28" fmla="*/ 124 w 140"/>
                      <a:gd name="T29" fmla="*/ 125 h 361"/>
                      <a:gd name="T30" fmla="*/ 122 w 140"/>
                      <a:gd name="T31" fmla="*/ 101 h 361"/>
                      <a:gd name="T32" fmla="*/ 118 w 140"/>
                      <a:gd name="T33" fmla="*/ 77 h 361"/>
                      <a:gd name="T34" fmla="*/ 111 w 140"/>
                      <a:gd name="T35" fmla="*/ 53 h 361"/>
                      <a:gd name="T36" fmla="*/ 103 w 140"/>
                      <a:gd name="T37" fmla="*/ 31 h 361"/>
                      <a:gd name="T38" fmla="*/ 92 w 140"/>
                      <a:gd name="T39" fmla="*/ 9 h 361"/>
                      <a:gd name="T40" fmla="*/ 106 w 140"/>
                      <a:gd name="T41" fmla="*/ 0 h 361"/>
                      <a:gd name="T42" fmla="*/ 106 w 140"/>
                      <a:gd name="T43" fmla="*/ 0 h 361"/>
                      <a:gd name="T44" fmla="*/ 118 w 140"/>
                      <a:gd name="T45" fmla="*/ 24 h 361"/>
                      <a:gd name="T46" fmla="*/ 126 w 140"/>
                      <a:gd name="T47" fmla="*/ 48 h 361"/>
                      <a:gd name="T48" fmla="*/ 133 w 140"/>
                      <a:gd name="T49" fmla="*/ 73 h 361"/>
                      <a:gd name="T50" fmla="*/ 139 w 140"/>
                      <a:gd name="T51" fmla="*/ 98 h 361"/>
                      <a:gd name="T52" fmla="*/ 140 w 140"/>
                      <a:gd name="T53" fmla="*/ 123 h 361"/>
                      <a:gd name="T54" fmla="*/ 140 w 140"/>
                      <a:gd name="T55" fmla="*/ 150 h 361"/>
                      <a:gd name="T56" fmla="*/ 136 w 140"/>
                      <a:gd name="T57" fmla="*/ 175 h 361"/>
                      <a:gd name="T58" fmla="*/ 131 w 140"/>
                      <a:gd name="T59" fmla="*/ 202 h 361"/>
                      <a:gd name="T60" fmla="*/ 131 w 140"/>
                      <a:gd name="T61" fmla="*/ 202 h 361"/>
                      <a:gd name="T62" fmla="*/ 122 w 140"/>
                      <a:gd name="T63" fmla="*/ 225 h 361"/>
                      <a:gd name="T64" fmla="*/ 113 w 140"/>
                      <a:gd name="T65" fmla="*/ 249 h 361"/>
                      <a:gd name="T66" fmla="*/ 100 w 140"/>
                      <a:gd name="T67" fmla="*/ 272 h 361"/>
                      <a:gd name="T68" fmla="*/ 85 w 140"/>
                      <a:gd name="T69" fmla="*/ 293 h 361"/>
                      <a:gd name="T70" fmla="*/ 68 w 140"/>
                      <a:gd name="T71" fmla="*/ 312 h 361"/>
                      <a:gd name="T72" fmla="*/ 50 w 140"/>
                      <a:gd name="T73" fmla="*/ 330 h 361"/>
                      <a:gd name="T74" fmla="*/ 31 w 140"/>
                      <a:gd name="T75" fmla="*/ 347 h 361"/>
                      <a:gd name="T76" fmla="*/ 8 w 140"/>
                      <a:gd name="T77" fmla="*/ 361 h 361"/>
                      <a:gd name="T78" fmla="*/ 8 w 140"/>
                      <a:gd name="T79" fmla="*/ 361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361">
                        <a:moveTo>
                          <a:pt x="8" y="361"/>
                        </a:moveTo>
                        <a:lnTo>
                          <a:pt x="0" y="346"/>
                        </a:lnTo>
                        <a:lnTo>
                          <a:pt x="0" y="346"/>
                        </a:lnTo>
                        <a:lnTo>
                          <a:pt x="21" y="333"/>
                        </a:lnTo>
                        <a:lnTo>
                          <a:pt x="39" y="318"/>
                        </a:lnTo>
                        <a:lnTo>
                          <a:pt x="57" y="301"/>
                        </a:lnTo>
                        <a:lnTo>
                          <a:pt x="72" y="283"/>
                        </a:lnTo>
                        <a:lnTo>
                          <a:pt x="86" y="263"/>
                        </a:lnTo>
                        <a:lnTo>
                          <a:pt x="97" y="242"/>
                        </a:lnTo>
                        <a:lnTo>
                          <a:pt x="107" y="220"/>
                        </a:lnTo>
                        <a:lnTo>
                          <a:pt x="115" y="196"/>
                        </a:lnTo>
                        <a:lnTo>
                          <a:pt x="115" y="196"/>
                        </a:lnTo>
                        <a:lnTo>
                          <a:pt x="121" y="172"/>
                        </a:lnTo>
                        <a:lnTo>
                          <a:pt x="124" y="149"/>
                        </a:lnTo>
                        <a:lnTo>
                          <a:pt x="124" y="125"/>
                        </a:lnTo>
                        <a:lnTo>
                          <a:pt x="122" y="101"/>
                        </a:lnTo>
                        <a:lnTo>
                          <a:pt x="118" y="77"/>
                        </a:lnTo>
                        <a:lnTo>
                          <a:pt x="111" y="53"/>
                        </a:lnTo>
                        <a:lnTo>
                          <a:pt x="103" y="31"/>
                        </a:lnTo>
                        <a:lnTo>
                          <a:pt x="92" y="9"/>
                        </a:lnTo>
                        <a:lnTo>
                          <a:pt x="106" y="0"/>
                        </a:lnTo>
                        <a:lnTo>
                          <a:pt x="106" y="0"/>
                        </a:lnTo>
                        <a:lnTo>
                          <a:pt x="118" y="24"/>
                        </a:lnTo>
                        <a:lnTo>
                          <a:pt x="126" y="48"/>
                        </a:lnTo>
                        <a:lnTo>
                          <a:pt x="133" y="73"/>
                        </a:lnTo>
                        <a:lnTo>
                          <a:pt x="139" y="98"/>
                        </a:lnTo>
                        <a:lnTo>
                          <a:pt x="140" y="123"/>
                        </a:lnTo>
                        <a:lnTo>
                          <a:pt x="140" y="150"/>
                        </a:lnTo>
                        <a:lnTo>
                          <a:pt x="136" y="175"/>
                        </a:lnTo>
                        <a:lnTo>
                          <a:pt x="131" y="202"/>
                        </a:lnTo>
                        <a:lnTo>
                          <a:pt x="131" y="202"/>
                        </a:lnTo>
                        <a:lnTo>
                          <a:pt x="122" y="225"/>
                        </a:lnTo>
                        <a:lnTo>
                          <a:pt x="113" y="249"/>
                        </a:lnTo>
                        <a:lnTo>
                          <a:pt x="100" y="272"/>
                        </a:lnTo>
                        <a:lnTo>
                          <a:pt x="85" y="293"/>
                        </a:lnTo>
                        <a:lnTo>
                          <a:pt x="68" y="312"/>
                        </a:lnTo>
                        <a:lnTo>
                          <a:pt x="50" y="330"/>
                        </a:lnTo>
                        <a:lnTo>
                          <a:pt x="31" y="347"/>
                        </a:lnTo>
                        <a:lnTo>
                          <a:pt x="8" y="361"/>
                        </a:lnTo>
                        <a:lnTo>
                          <a:pt x="8" y="361"/>
                        </a:lnTo>
                        <a:close/>
                      </a:path>
                    </a:pathLst>
                  </a:custGeom>
                  <a:solidFill>
                    <a:schemeClr val="tx2"/>
                  </a:solidFill>
                  <a:ln>
                    <a:noFill/>
                  </a:ln>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sp>
                <p:nvSpPr>
                  <p:cNvPr id="236" name="Freeform 310">
                    <a:extLst>
                      <a:ext uri="{FF2B5EF4-FFF2-40B4-BE49-F238E27FC236}">
                        <a16:creationId xmlns:a16="http://schemas.microsoft.com/office/drawing/2014/main" id="{8B8F1617-C7EE-4C85-B028-1C18BF0DBA94}"/>
                      </a:ext>
                    </a:extLst>
                  </p:cNvPr>
                  <p:cNvSpPr>
                    <a:spLocks/>
                  </p:cNvSpPr>
                  <p:nvPr/>
                </p:nvSpPr>
                <p:spPr bwMode="auto">
                  <a:xfrm rot="18859173" flipV="1">
                    <a:off x="7961356" y="2605454"/>
                    <a:ext cx="83867" cy="224027"/>
                  </a:xfrm>
                  <a:custGeom>
                    <a:avLst/>
                    <a:gdLst>
                      <a:gd name="T0" fmla="*/ 8 w 106"/>
                      <a:gd name="T1" fmla="*/ 264 h 264"/>
                      <a:gd name="T2" fmla="*/ 0 w 106"/>
                      <a:gd name="T3" fmla="*/ 250 h 264"/>
                      <a:gd name="T4" fmla="*/ 0 w 106"/>
                      <a:gd name="T5" fmla="*/ 250 h 264"/>
                      <a:gd name="T6" fmla="*/ 15 w 106"/>
                      <a:gd name="T7" fmla="*/ 240 h 264"/>
                      <a:gd name="T8" fmla="*/ 29 w 106"/>
                      <a:gd name="T9" fmla="*/ 229 h 264"/>
                      <a:gd name="T10" fmla="*/ 40 w 106"/>
                      <a:gd name="T11" fmla="*/ 218 h 264"/>
                      <a:gd name="T12" fmla="*/ 53 w 106"/>
                      <a:gd name="T13" fmla="*/ 205 h 264"/>
                      <a:gd name="T14" fmla="*/ 62 w 106"/>
                      <a:gd name="T15" fmla="*/ 190 h 264"/>
                      <a:gd name="T16" fmla="*/ 71 w 106"/>
                      <a:gd name="T17" fmla="*/ 176 h 264"/>
                      <a:gd name="T18" fmla="*/ 78 w 106"/>
                      <a:gd name="T19" fmla="*/ 159 h 264"/>
                      <a:gd name="T20" fmla="*/ 83 w 106"/>
                      <a:gd name="T21" fmla="*/ 142 h 264"/>
                      <a:gd name="T22" fmla="*/ 83 w 106"/>
                      <a:gd name="T23" fmla="*/ 142 h 264"/>
                      <a:gd name="T24" fmla="*/ 86 w 106"/>
                      <a:gd name="T25" fmla="*/ 125 h 264"/>
                      <a:gd name="T26" fmla="*/ 89 w 106"/>
                      <a:gd name="T27" fmla="*/ 109 h 264"/>
                      <a:gd name="T28" fmla="*/ 89 w 106"/>
                      <a:gd name="T29" fmla="*/ 90 h 264"/>
                      <a:gd name="T30" fmla="*/ 87 w 106"/>
                      <a:gd name="T31" fmla="*/ 74 h 264"/>
                      <a:gd name="T32" fmla="*/ 85 w 106"/>
                      <a:gd name="T33" fmla="*/ 57 h 264"/>
                      <a:gd name="T34" fmla="*/ 81 w 106"/>
                      <a:gd name="T35" fmla="*/ 40 h 264"/>
                      <a:gd name="T36" fmla="*/ 74 w 106"/>
                      <a:gd name="T37" fmla="*/ 23 h 264"/>
                      <a:gd name="T38" fmla="*/ 65 w 106"/>
                      <a:gd name="T39" fmla="*/ 8 h 264"/>
                      <a:gd name="T40" fmla="*/ 81 w 106"/>
                      <a:gd name="T41" fmla="*/ 0 h 264"/>
                      <a:gd name="T42" fmla="*/ 81 w 106"/>
                      <a:gd name="T43" fmla="*/ 0 h 264"/>
                      <a:gd name="T44" fmla="*/ 89 w 106"/>
                      <a:gd name="T45" fmla="*/ 16 h 264"/>
                      <a:gd name="T46" fmla="*/ 96 w 106"/>
                      <a:gd name="T47" fmla="*/ 34 h 264"/>
                      <a:gd name="T48" fmla="*/ 101 w 106"/>
                      <a:gd name="T49" fmla="*/ 53 h 264"/>
                      <a:gd name="T50" fmla="*/ 104 w 106"/>
                      <a:gd name="T51" fmla="*/ 71 h 264"/>
                      <a:gd name="T52" fmla="*/ 106 w 106"/>
                      <a:gd name="T53" fmla="*/ 90 h 264"/>
                      <a:gd name="T54" fmla="*/ 106 w 106"/>
                      <a:gd name="T55" fmla="*/ 109 h 264"/>
                      <a:gd name="T56" fmla="*/ 103 w 106"/>
                      <a:gd name="T57" fmla="*/ 128 h 264"/>
                      <a:gd name="T58" fmla="*/ 99 w 106"/>
                      <a:gd name="T59" fmla="*/ 146 h 264"/>
                      <a:gd name="T60" fmla="*/ 99 w 106"/>
                      <a:gd name="T61" fmla="*/ 146 h 264"/>
                      <a:gd name="T62" fmla="*/ 93 w 106"/>
                      <a:gd name="T63" fmla="*/ 165 h 264"/>
                      <a:gd name="T64" fmla="*/ 85 w 106"/>
                      <a:gd name="T65" fmla="*/ 183 h 264"/>
                      <a:gd name="T66" fmla="*/ 76 w 106"/>
                      <a:gd name="T67" fmla="*/ 199 h 264"/>
                      <a:gd name="T68" fmla="*/ 65 w 106"/>
                      <a:gd name="T69" fmla="*/ 215 h 264"/>
                      <a:gd name="T70" fmla="*/ 53 w 106"/>
                      <a:gd name="T71" fmla="*/ 229 h 264"/>
                      <a:gd name="T72" fmla="*/ 39 w 106"/>
                      <a:gd name="T73" fmla="*/ 241 h 264"/>
                      <a:gd name="T74" fmla="*/ 25 w 106"/>
                      <a:gd name="T75" fmla="*/ 254 h 264"/>
                      <a:gd name="T76" fmla="*/ 8 w 106"/>
                      <a:gd name="T77" fmla="*/ 264 h 264"/>
                      <a:gd name="T78" fmla="*/ 8 w 106"/>
                      <a:gd name="T79"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6" h="264">
                        <a:moveTo>
                          <a:pt x="8" y="264"/>
                        </a:moveTo>
                        <a:lnTo>
                          <a:pt x="0" y="250"/>
                        </a:lnTo>
                        <a:lnTo>
                          <a:pt x="0" y="250"/>
                        </a:lnTo>
                        <a:lnTo>
                          <a:pt x="15" y="240"/>
                        </a:lnTo>
                        <a:lnTo>
                          <a:pt x="29" y="229"/>
                        </a:lnTo>
                        <a:lnTo>
                          <a:pt x="40" y="218"/>
                        </a:lnTo>
                        <a:lnTo>
                          <a:pt x="53" y="205"/>
                        </a:lnTo>
                        <a:lnTo>
                          <a:pt x="62" y="190"/>
                        </a:lnTo>
                        <a:lnTo>
                          <a:pt x="71" y="176"/>
                        </a:lnTo>
                        <a:lnTo>
                          <a:pt x="78" y="159"/>
                        </a:lnTo>
                        <a:lnTo>
                          <a:pt x="83" y="142"/>
                        </a:lnTo>
                        <a:lnTo>
                          <a:pt x="83" y="142"/>
                        </a:lnTo>
                        <a:lnTo>
                          <a:pt x="86" y="125"/>
                        </a:lnTo>
                        <a:lnTo>
                          <a:pt x="89" y="109"/>
                        </a:lnTo>
                        <a:lnTo>
                          <a:pt x="89" y="90"/>
                        </a:lnTo>
                        <a:lnTo>
                          <a:pt x="87" y="74"/>
                        </a:lnTo>
                        <a:lnTo>
                          <a:pt x="85" y="57"/>
                        </a:lnTo>
                        <a:lnTo>
                          <a:pt x="81" y="40"/>
                        </a:lnTo>
                        <a:lnTo>
                          <a:pt x="74" y="23"/>
                        </a:lnTo>
                        <a:lnTo>
                          <a:pt x="65" y="8"/>
                        </a:lnTo>
                        <a:lnTo>
                          <a:pt x="81" y="0"/>
                        </a:lnTo>
                        <a:lnTo>
                          <a:pt x="81" y="0"/>
                        </a:lnTo>
                        <a:lnTo>
                          <a:pt x="89" y="16"/>
                        </a:lnTo>
                        <a:lnTo>
                          <a:pt x="96" y="34"/>
                        </a:lnTo>
                        <a:lnTo>
                          <a:pt x="101" y="53"/>
                        </a:lnTo>
                        <a:lnTo>
                          <a:pt x="104" y="71"/>
                        </a:lnTo>
                        <a:lnTo>
                          <a:pt x="106" y="90"/>
                        </a:lnTo>
                        <a:lnTo>
                          <a:pt x="106" y="109"/>
                        </a:lnTo>
                        <a:lnTo>
                          <a:pt x="103" y="128"/>
                        </a:lnTo>
                        <a:lnTo>
                          <a:pt x="99" y="146"/>
                        </a:lnTo>
                        <a:lnTo>
                          <a:pt x="99" y="146"/>
                        </a:lnTo>
                        <a:lnTo>
                          <a:pt x="93" y="165"/>
                        </a:lnTo>
                        <a:lnTo>
                          <a:pt x="85" y="183"/>
                        </a:lnTo>
                        <a:lnTo>
                          <a:pt x="76" y="199"/>
                        </a:lnTo>
                        <a:lnTo>
                          <a:pt x="65" y="215"/>
                        </a:lnTo>
                        <a:lnTo>
                          <a:pt x="53" y="229"/>
                        </a:lnTo>
                        <a:lnTo>
                          <a:pt x="39" y="241"/>
                        </a:lnTo>
                        <a:lnTo>
                          <a:pt x="25" y="254"/>
                        </a:lnTo>
                        <a:lnTo>
                          <a:pt x="8" y="264"/>
                        </a:lnTo>
                        <a:lnTo>
                          <a:pt x="8" y="264"/>
                        </a:lnTo>
                        <a:close/>
                      </a:path>
                    </a:pathLst>
                  </a:custGeom>
                  <a:solidFill>
                    <a:schemeClr val="tx2"/>
                  </a:solidFill>
                  <a:ln>
                    <a:noFill/>
                  </a:ln>
                  <a:extLst/>
                </p:spPr>
                <p:txBody>
                  <a:bodyPr vert="horz" wrap="square" lIns="93260" tIns="46630" rIns="93260" bIns="46630" numCol="1" anchor="t" anchorCtr="0" compatLnSpc="1">
                    <a:prstTxWarp prst="textNoShape">
                      <a:avLst/>
                    </a:prstTxWarp>
                  </a:bodyPr>
                  <a:lstStyle/>
                  <a:p>
                    <a:pPr algn="ctr" defTabSz="930582"/>
                    <a:endParaRPr lang="en-US" sz="816">
                      <a:solidFill>
                        <a:srgbClr val="002050"/>
                      </a:solidFill>
                      <a:latin typeface="Segoe UI" panose="020B0502040204020203" pitchFamily="34" charset="0"/>
                    </a:endParaRPr>
                  </a:p>
                </p:txBody>
              </p:sp>
            </p:grpSp>
            <p:grpSp>
              <p:nvGrpSpPr>
                <p:cNvPr id="224" name="Group 35">
                  <a:extLst>
                    <a:ext uri="{FF2B5EF4-FFF2-40B4-BE49-F238E27FC236}">
                      <a16:creationId xmlns:a16="http://schemas.microsoft.com/office/drawing/2014/main" id="{856770CE-633B-4D4F-956A-01CF41D21FB8}"/>
                    </a:ext>
                  </a:extLst>
                </p:cNvPr>
                <p:cNvGrpSpPr>
                  <a:grpSpLocks noChangeAspect="1"/>
                </p:cNvGrpSpPr>
                <p:nvPr/>
              </p:nvGrpSpPr>
              <p:grpSpPr bwMode="auto">
                <a:xfrm>
                  <a:off x="7414282" y="3200648"/>
                  <a:ext cx="552683" cy="446202"/>
                  <a:chOff x="3537" y="1895"/>
                  <a:chExt cx="763" cy="616"/>
                </a:xfrm>
                <a:solidFill>
                  <a:schemeClr val="tx2"/>
                </a:solidFill>
              </p:grpSpPr>
              <p:sp>
                <p:nvSpPr>
                  <p:cNvPr id="226" name="Freeform 36">
                    <a:extLst>
                      <a:ext uri="{FF2B5EF4-FFF2-40B4-BE49-F238E27FC236}">
                        <a16:creationId xmlns:a16="http://schemas.microsoft.com/office/drawing/2014/main" id="{1356DC0A-64AF-44DD-B7BD-69BCB7C5C493}"/>
                      </a:ext>
                    </a:extLst>
                  </p:cNvPr>
                  <p:cNvSpPr>
                    <a:spLocks/>
                  </p:cNvSpPr>
                  <p:nvPr/>
                </p:nvSpPr>
                <p:spPr bwMode="auto">
                  <a:xfrm>
                    <a:off x="3917" y="1895"/>
                    <a:ext cx="329" cy="115"/>
                  </a:xfrm>
                  <a:custGeom>
                    <a:avLst/>
                    <a:gdLst>
                      <a:gd name="T0" fmla="*/ 213 w 458"/>
                      <a:gd name="T1" fmla="*/ 54 h 160"/>
                      <a:gd name="T2" fmla="*/ 419 w 458"/>
                      <a:gd name="T3" fmla="*/ 139 h 160"/>
                      <a:gd name="T4" fmla="*/ 300 w 458"/>
                      <a:gd name="T5" fmla="*/ 138 h 160"/>
                      <a:gd name="T6" fmla="*/ 300 w 458"/>
                      <a:gd name="T7" fmla="*/ 159 h 160"/>
                      <a:gd name="T8" fmla="*/ 456 w 458"/>
                      <a:gd name="T9" fmla="*/ 160 h 160"/>
                      <a:gd name="T10" fmla="*/ 458 w 458"/>
                      <a:gd name="T11" fmla="*/ 0 h 160"/>
                      <a:gd name="T12" fmla="*/ 437 w 458"/>
                      <a:gd name="T13" fmla="*/ 0 h 160"/>
                      <a:gd name="T14" fmla="*/ 435 w 458"/>
                      <a:gd name="T15" fmla="*/ 125 h 160"/>
                      <a:gd name="T16" fmla="*/ 213 w 458"/>
                      <a:gd name="T17" fmla="*/ 33 h 160"/>
                      <a:gd name="T18" fmla="*/ 0 w 458"/>
                      <a:gd name="T19" fmla="*/ 117 h 160"/>
                      <a:gd name="T20" fmla="*/ 11 w 458"/>
                      <a:gd name="T21" fmla="*/ 136 h 160"/>
                      <a:gd name="T22" fmla="*/ 213 w 458"/>
                      <a:gd name="T23" fmla="*/ 5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58" h="160">
                        <a:moveTo>
                          <a:pt x="213" y="54"/>
                        </a:moveTo>
                        <a:cubicBezTo>
                          <a:pt x="293" y="54"/>
                          <a:pt x="362" y="82"/>
                          <a:pt x="419" y="139"/>
                        </a:cubicBezTo>
                        <a:cubicBezTo>
                          <a:pt x="300" y="138"/>
                          <a:pt x="300" y="138"/>
                          <a:pt x="300" y="138"/>
                        </a:cubicBezTo>
                        <a:cubicBezTo>
                          <a:pt x="300" y="159"/>
                          <a:pt x="300" y="159"/>
                          <a:pt x="300" y="159"/>
                        </a:cubicBezTo>
                        <a:cubicBezTo>
                          <a:pt x="456" y="160"/>
                          <a:pt x="456" y="160"/>
                          <a:pt x="456" y="160"/>
                        </a:cubicBezTo>
                        <a:cubicBezTo>
                          <a:pt x="458" y="0"/>
                          <a:pt x="458" y="0"/>
                          <a:pt x="458" y="0"/>
                        </a:cubicBezTo>
                        <a:cubicBezTo>
                          <a:pt x="437" y="0"/>
                          <a:pt x="437" y="0"/>
                          <a:pt x="437" y="0"/>
                        </a:cubicBezTo>
                        <a:cubicBezTo>
                          <a:pt x="435" y="125"/>
                          <a:pt x="435" y="125"/>
                          <a:pt x="435" y="125"/>
                        </a:cubicBezTo>
                        <a:cubicBezTo>
                          <a:pt x="373" y="64"/>
                          <a:pt x="299" y="33"/>
                          <a:pt x="213" y="33"/>
                        </a:cubicBezTo>
                        <a:cubicBezTo>
                          <a:pt x="131" y="33"/>
                          <a:pt x="60" y="61"/>
                          <a:pt x="0" y="117"/>
                        </a:cubicBezTo>
                        <a:cubicBezTo>
                          <a:pt x="4" y="124"/>
                          <a:pt x="8" y="130"/>
                          <a:pt x="11" y="136"/>
                        </a:cubicBezTo>
                        <a:cubicBezTo>
                          <a:pt x="67" y="82"/>
                          <a:pt x="134" y="54"/>
                          <a:pt x="213"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37">
                    <a:extLst>
                      <a:ext uri="{FF2B5EF4-FFF2-40B4-BE49-F238E27FC236}">
                        <a16:creationId xmlns:a16="http://schemas.microsoft.com/office/drawing/2014/main" id="{F1D0F915-EDE9-4FE6-824B-616DD5AA8A41}"/>
                      </a:ext>
                    </a:extLst>
                  </p:cNvPr>
                  <p:cNvSpPr>
                    <a:spLocks/>
                  </p:cNvSpPr>
                  <p:nvPr/>
                </p:nvSpPr>
                <p:spPr bwMode="auto">
                  <a:xfrm>
                    <a:off x="4244" y="2044"/>
                    <a:ext cx="56" cy="234"/>
                  </a:xfrm>
                  <a:custGeom>
                    <a:avLst/>
                    <a:gdLst>
                      <a:gd name="T0" fmla="*/ 39 w 78"/>
                      <a:gd name="T1" fmla="*/ 0 h 325"/>
                      <a:gd name="T2" fmla="*/ 21 w 78"/>
                      <a:gd name="T3" fmla="*/ 10 h 325"/>
                      <a:gd name="T4" fmla="*/ 48 w 78"/>
                      <a:gd name="T5" fmla="*/ 186 h 325"/>
                      <a:gd name="T6" fmla="*/ 0 w 78"/>
                      <a:gd name="T7" fmla="*/ 304 h 325"/>
                      <a:gd name="T8" fmla="*/ 11 w 78"/>
                      <a:gd name="T9" fmla="*/ 325 h 325"/>
                      <a:gd name="T10" fmla="*/ 68 w 78"/>
                      <a:gd name="T11" fmla="*/ 189 h 325"/>
                      <a:gd name="T12" fmla="*/ 39 w 78"/>
                      <a:gd name="T13" fmla="*/ 0 h 325"/>
                    </a:gdLst>
                    <a:ahLst/>
                    <a:cxnLst>
                      <a:cxn ang="0">
                        <a:pos x="T0" y="T1"/>
                      </a:cxn>
                      <a:cxn ang="0">
                        <a:pos x="T2" y="T3"/>
                      </a:cxn>
                      <a:cxn ang="0">
                        <a:pos x="T4" y="T5"/>
                      </a:cxn>
                      <a:cxn ang="0">
                        <a:pos x="T6" y="T7"/>
                      </a:cxn>
                      <a:cxn ang="0">
                        <a:pos x="T8" y="T9"/>
                      </a:cxn>
                      <a:cxn ang="0">
                        <a:pos x="T10" y="T11"/>
                      </a:cxn>
                      <a:cxn ang="0">
                        <a:pos x="T12" y="T13"/>
                      </a:cxn>
                    </a:cxnLst>
                    <a:rect l="0" t="0" r="r" b="b"/>
                    <a:pathLst>
                      <a:path w="78" h="325">
                        <a:moveTo>
                          <a:pt x="39" y="0"/>
                        </a:moveTo>
                        <a:cubicBezTo>
                          <a:pt x="21" y="10"/>
                          <a:pt x="21" y="10"/>
                          <a:pt x="21" y="10"/>
                        </a:cubicBezTo>
                        <a:cubicBezTo>
                          <a:pt x="49" y="66"/>
                          <a:pt x="58" y="124"/>
                          <a:pt x="48" y="186"/>
                        </a:cubicBezTo>
                        <a:cubicBezTo>
                          <a:pt x="41" y="229"/>
                          <a:pt x="25" y="269"/>
                          <a:pt x="0" y="304"/>
                        </a:cubicBezTo>
                        <a:cubicBezTo>
                          <a:pt x="4" y="311"/>
                          <a:pt x="8" y="318"/>
                          <a:pt x="11" y="325"/>
                        </a:cubicBezTo>
                        <a:cubicBezTo>
                          <a:pt x="41" y="285"/>
                          <a:pt x="60" y="240"/>
                          <a:pt x="68" y="189"/>
                        </a:cubicBezTo>
                        <a:cubicBezTo>
                          <a:pt x="78" y="123"/>
                          <a:pt x="68" y="60"/>
                          <a:pt x="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38">
                    <a:extLst>
                      <a:ext uri="{FF2B5EF4-FFF2-40B4-BE49-F238E27FC236}">
                        <a16:creationId xmlns:a16="http://schemas.microsoft.com/office/drawing/2014/main" id="{41946408-43F4-422C-A3D0-A357954E14C7}"/>
                      </a:ext>
                    </a:extLst>
                  </p:cNvPr>
                  <p:cNvSpPr>
                    <a:spLocks noEditPoints="1"/>
                  </p:cNvSpPr>
                  <p:nvPr/>
                </p:nvSpPr>
                <p:spPr bwMode="auto">
                  <a:xfrm>
                    <a:off x="3636" y="1960"/>
                    <a:ext cx="279" cy="280"/>
                  </a:xfrm>
                  <a:custGeom>
                    <a:avLst/>
                    <a:gdLst>
                      <a:gd name="T0" fmla="*/ 194 w 388"/>
                      <a:gd name="T1" fmla="*/ 388 h 388"/>
                      <a:gd name="T2" fmla="*/ 0 w 388"/>
                      <a:gd name="T3" fmla="*/ 194 h 388"/>
                      <a:gd name="T4" fmla="*/ 194 w 388"/>
                      <a:gd name="T5" fmla="*/ 0 h 388"/>
                      <a:gd name="T6" fmla="*/ 388 w 388"/>
                      <a:gd name="T7" fmla="*/ 194 h 388"/>
                      <a:gd name="T8" fmla="*/ 194 w 388"/>
                      <a:gd name="T9" fmla="*/ 388 h 388"/>
                      <a:gd name="T10" fmla="*/ 194 w 388"/>
                      <a:gd name="T11" fmla="*/ 28 h 388"/>
                      <a:gd name="T12" fmla="*/ 28 w 388"/>
                      <a:gd name="T13" fmla="*/ 194 h 388"/>
                      <a:gd name="T14" fmla="*/ 194 w 388"/>
                      <a:gd name="T15" fmla="*/ 360 h 388"/>
                      <a:gd name="T16" fmla="*/ 360 w 388"/>
                      <a:gd name="T17" fmla="*/ 194 h 388"/>
                      <a:gd name="T18" fmla="*/ 194 w 388"/>
                      <a:gd name="T19"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8" h="388">
                        <a:moveTo>
                          <a:pt x="194" y="388"/>
                        </a:moveTo>
                        <a:cubicBezTo>
                          <a:pt x="87" y="388"/>
                          <a:pt x="0" y="301"/>
                          <a:pt x="0" y="194"/>
                        </a:cubicBezTo>
                        <a:cubicBezTo>
                          <a:pt x="0" y="87"/>
                          <a:pt x="87" y="0"/>
                          <a:pt x="194" y="0"/>
                        </a:cubicBezTo>
                        <a:cubicBezTo>
                          <a:pt x="301" y="0"/>
                          <a:pt x="388" y="87"/>
                          <a:pt x="388" y="194"/>
                        </a:cubicBezTo>
                        <a:cubicBezTo>
                          <a:pt x="388" y="301"/>
                          <a:pt x="301" y="388"/>
                          <a:pt x="194" y="388"/>
                        </a:cubicBezTo>
                        <a:close/>
                        <a:moveTo>
                          <a:pt x="194" y="28"/>
                        </a:moveTo>
                        <a:cubicBezTo>
                          <a:pt x="102" y="28"/>
                          <a:pt x="28" y="102"/>
                          <a:pt x="28" y="194"/>
                        </a:cubicBezTo>
                        <a:cubicBezTo>
                          <a:pt x="28" y="285"/>
                          <a:pt x="102" y="360"/>
                          <a:pt x="194" y="360"/>
                        </a:cubicBezTo>
                        <a:cubicBezTo>
                          <a:pt x="285" y="360"/>
                          <a:pt x="360" y="285"/>
                          <a:pt x="360" y="194"/>
                        </a:cubicBezTo>
                        <a:cubicBezTo>
                          <a:pt x="360" y="102"/>
                          <a:pt x="285" y="28"/>
                          <a:pt x="194"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39">
                    <a:extLst>
                      <a:ext uri="{FF2B5EF4-FFF2-40B4-BE49-F238E27FC236}">
                        <a16:creationId xmlns:a16="http://schemas.microsoft.com/office/drawing/2014/main" id="{42FC0992-6336-4FAD-B700-959256065AB8}"/>
                      </a:ext>
                    </a:extLst>
                  </p:cNvPr>
                  <p:cNvSpPr>
                    <a:spLocks noEditPoints="1"/>
                  </p:cNvSpPr>
                  <p:nvPr/>
                </p:nvSpPr>
                <p:spPr bwMode="auto">
                  <a:xfrm>
                    <a:off x="3537" y="2276"/>
                    <a:ext cx="475" cy="235"/>
                  </a:xfrm>
                  <a:custGeom>
                    <a:avLst/>
                    <a:gdLst>
                      <a:gd name="T0" fmla="*/ 659 w 659"/>
                      <a:gd name="T1" fmla="*/ 327 h 327"/>
                      <a:gd name="T2" fmla="*/ 0 w 659"/>
                      <a:gd name="T3" fmla="*/ 327 h 327"/>
                      <a:gd name="T4" fmla="*/ 0 w 659"/>
                      <a:gd name="T5" fmla="*/ 118 h 327"/>
                      <a:gd name="T6" fmla="*/ 118 w 659"/>
                      <a:gd name="T7" fmla="*/ 0 h 327"/>
                      <a:gd name="T8" fmla="*/ 541 w 659"/>
                      <a:gd name="T9" fmla="*/ 0 h 327"/>
                      <a:gd name="T10" fmla="*/ 659 w 659"/>
                      <a:gd name="T11" fmla="*/ 118 h 327"/>
                      <a:gd name="T12" fmla="*/ 659 w 659"/>
                      <a:gd name="T13" fmla="*/ 327 h 327"/>
                      <a:gd name="T14" fmla="*/ 28 w 659"/>
                      <a:gd name="T15" fmla="*/ 299 h 327"/>
                      <a:gd name="T16" fmla="*/ 631 w 659"/>
                      <a:gd name="T17" fmla="*/ 299 h 327"/>
                      <a:gd name="T18" fmla="*/ 631 w 659"/>
                      <a:gd name="T19" fmla="*/ 118 h 327"/>
                      <a:gd name="T20" fmla="*/ 541 w 659"/>
                      <a:gd name="T21" fmla="*/ 28 h 327"/>
                      <a:gd name="T22" fmla="*/ 118 w 659"/>
                      <a:gd name="T23" fmla="*/ 28 h 327"/>
                      <a:gd name="T24" fmla="*/ 28 w 659"/>
                      <a:gd name="T25" fmla="*/ 118 h 327"/>
                      <a:gd name="T26" fmla="*/ 28 w 659"/>
                      <a:gd name="T27" fmla="*/ 299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9" h="327">
                        <a:moveTo>
                          <a:pt x="659" y="327"/>
                        </a:moveTo>
                        <a:cubicBezTo>
                          <a:pt x="0" y="327"/>
                          <a:pt x="0" y="327"/>
                          <a:pt x="0" y="327"/>
                        </a:cubicBezTo>
                        <a:cubicBezTo>
                          <a:pt x="0" y="118"/>
                          <a:pt x="0" y="118"/>
                          <a:pt x="0" y="118"/>
                        </a:cubicBezTo>
                        <a:cubicBezTo>
                          <a:pt x="0" y="53"/>
                          <a:pt x="53" y="0"/>
                          <a:pt x="118" y="0"/>
                        </a:cubicBezTo>
                        <a:cubicBezTo>
                          <a:pt x="541" y="0"/>
                          <a:pt x="541" y="0"/>
                          <a:pt x="541" y="0"/>
                        </a:cubicBezTo>
                        <a:cubicBezTo>
                          <a:pt x="606" y="0"/>
                          <a:pt x="659" y="53"/>
                          <a:pt x="659" y="118"/>
                        </a:cubicBezTo>
                        <a:lnTo>
                          <a:pt x="659" y="327"/>
                        </a:lnTo>
                        <a:close/>
                        <a:moveTo>
                          <a:pt x="28" y="299"/>
                        </a:moveTo>
                        <a:cubicBezTo>
                          <a:pt x="631" y="299"/>
                          <a:pt x="631" y="299"/>
                          <a:pt x="631" y="299"/>
                        </a:cubicBezTo>
                        <a:cubicBezTo>
                          <a:pt x="631" y="118"/>
                          <a:pt x="631" y="118"/>
                          <a:pt x="631" y="118"/>
                        </a:cubicBezTo>
                        <a:cubicBezTo>
                          <a:pt x="631" y="68"/>
                          <a:pt x="591" y="28"/>
                          <a:pt x="541" y="28"/>
                        </a:cubicBezTo>
                        <a:cubicBezTo>
                          <a:pt x="118" y="28"/>
                          <a:pt x="118" y="28"/>
                          <a:pt x="118" y="28"/>
                        </a:cubicBezTo>
                        <a:cubicBezTo>
                          <a:pt x="69" y="28"/>
                          <a:pt x="28" y="68"/>
                          <a:pt x="28" y="118"/>
                        </a:cubicBezTo>
                        <a:lnTo>
                          <a:pt x="28"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40">
                    <a:extLst>
                      <a:ext uri="{FF2B5EF4-FFF2-40B4-BE49-F238E27FC236}">
                        <a16:creationId xmlns:a16="http://schemas.microsoft.com/office/drawing/2014/main" id="{22B81489-7420-4CED-824C-65697B5968B3}"/>
                      </a:ext>
                    </a:extLst>
                  </p:cNvPr>
                  <p:cNvSpPr>
                    <a:spLocks noEditPoints="1"/>
                  </p:cNvSpPr>
                  <p:nvPr/>
                </p:nvSpPr>
                <p:spPr bwMode="auto">
                  <a:xfrm>
                    <a:off x="3966" y="2050"/>
                    <a:ext cx="190" cy="191"/>
                  </a:xfrm>
                  <a:custGeom>
                    <a:avLst/>
                    <a:gdLst>
                      <a:gd name="T0" fmla="*/ 0 w 265"/>
                      <a:gd name="T1" fmla="*/ 132 h 265"/>
                      <a:gd name="T2" fmla="*/ 133 w 265"/>
                      <a:gd name="T3" fmla="*/ 0 h 265"/>
                      <a:gd name="T4" fmla="*/ 265 w 265"/>
                      <a:gd name="T5" fmla="*/ 132 h 265"/>
                      <a:gd name="T6" fmla="*/ 133 w 265"/>
                      <a:gd name="T7" fmla="*/ 265 h 265"/>
                      <a:gd name="T8" fmla="*/ 0 w 265"/>
                      <a:gd name="T9" fmla="*/ 132 h 265"/>
                      <a:gd name="T10" fmla="*/ 14 w 265"/>
                      <a:gd name="T11" fmla="*/ 132 h 265"/>
                      <a:gd name="T12" fmla="*/ 133 w 265"/>
                      <a:gd name="T13" fmla="*/ 251 h 265"/>
                      <a:gd name="T14" fmla="*/ 252 w 265"/>
                      <a:gd name="T15" fmla="*/ 132 h 265"/>
                      <a:gd name="T16" fmla="*/ 133 w 265"/>
                      <a:gd name="T17" fmla="*/ 14 h 265"/>
                      <a:gd name="T18" fmla="*/ 14 w 265"/>
                      <a:gd name="T19" fmla="*/ 13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265">
                        <a:moveTo>
                          <a:pt x="0" y="132"/>
                        </a:moveTo>
                        <a:cubicBezTo>
                          <a:pt x="0" y="59"/>
                          <a:pt x="60" y="0"/>
                          <a:pt x="133" y="0"/>
                        </a:cubicBezTo>
                        <a:cubicBezTo>
                          <a:pt x="206" y="0"/>
                          <a:pt x="265" y="59"/>
                          <a:pt x="265" y="132"/>
                        </a:cubicBezTo>
                        <a:cubicBezTo>
                          <a:pt x="265" y="205"/>
                          <a:pt x="206" y="265"/>
                          <a:pt x="133" y="265"/>
                        </a:cubicBezTo>
                        <a:cubicBezTo>
                          <a:pt x="60" y="265"/>
                          <a:pt x="0" y="205"/>
                          <a:pt x="0" y="132"/>
                        </a:cubicBezTo>
                        <a:close/>
                        <a:moveTo>
                          <a:pt x="14" y="132"/>
                        </a:moveTo>
                        <a:cubicBezTo>
                          <a:pt x="14" y="198"/>
                          <a:pt x="67" y="251"/>
                          <a:pt x="133" y="251"/>
                        </a:cubicBezTo>
                        <a:cubicBezTo>
                          <a:pt x="198" y="251"/>
                          <a:pt x="252" y="198"/>
                          <a:pt x="252" y="132"/>
                        </a:cubicBezTo>
                        <a:cubicBezTo>
                          <a:pt x="252" y="67"/>
                          <a:pt x="198" y="14"/>
                          <a:pt x="133" y="14"/>
                        </a:cubicBezTo>
                        <a:cubicBezTo>
                          <a:pt x="67" y="14"/>
                          <a:pt x="14" y="67"/>
                          <a:pt x="1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41">
                    <a:extLst>
                      <a:ext uri="{FF2B5EF4-FFF2-40B4-BE49-F238E27FC236}">
                        <a16:creationId xmlns:a16="http://schemas.microsoft.com/office/drawing/2014/main" id="{C2CF4D71-2661-475B-A6B7-E07F82F9943C}"/>
                      </a:ext>
                    </a:extLst>
                  </p:cNvPr>
                  <p:cNvSpPr>
                    <a:spLocks noEditPoints="1"/>
                  </p:cNvSpPr>
                  <p:nvPr/>
                </p:nvSpPr>
                <p:spPr bwMode="auto">
                  <a:xfrm>
                    <a:off x="3963" y="2047"/>
                    <a:ext cx="196" cy="197"/>
                  </a:xfrm>
                  <a:custGeom>
                    <a:avLst/>
                    <a:gdLst>
                      <a:gd name="T0" fmla="*/ 137 w 273"/>
                      <a:gd name="T1" fmla="*/ 273 h 273"/>
                      <a:gd name="T2" fmla="*/ 0 w 273"/>
                      <a:gd name="T3" fmla="*/ 136 h 273"/>
                      <a:gd name="T4" fmla="*/ 137 w 273"/>
                      <a:gd name="T5" fmla="*/ 0 h 273"/>
                      <a:gd name="T6" fmla="*/ 273 w 273"/>
                      <a:gd name="T7" fmla="*/ 136 h 273"/>
                      <a:gd name="T8" fmla="*/ 137 w 273"/>
                      <a:gd name="T9" fmla="*/ 273 h 273"/>
                      <a:gd name="T10" fmla="*/ 137 w 273"/>
                      <a:gd name="T11" fmla="*/ 8 h 273"/>
                      <a:gd name="T12" fmla="*/ 8 w 273"/>
                      <a:gd name="T13" fmla="*/ 136 h 273"/>
                      <a:gd name="T14" fmla="*/ 137 w 273"/>
                      <a:gd name="T15" fmla="*/ 265 h 273"/>
                      <a:gd name="T16" fmla="*/ 265 w 273"/>
                      <a:gd name="T17" fmla="*/ 136 h 273"/>
                      <a:gd name="T18" fmla="*/ 137 w 273"/>
                      <a:gd name="T19" fmla="*/ 8 h 273"/>
                      <a:gd name="T20" fmla="*/ 137 w 273"/>
                      <a:gd name="T21" fmla="*/ 259 h 273"/>
                      <a:gd name="T22" fmla="*/ 14 w 273"/>
                      <a:gd name="T23" fmla="*/ 136 h 273"/>
                      <a:gd name="T24" fmla="*/ 137 w 273"/>
                      <a:gd name="T25" fmla="*/ 14 h 273"/>
                      <a:gd name="T26" fmla="*/ 260 w 273"/>
                      <a:gd name="T27" fmla="*/ 136 h 273"/>
                      <a:gd name="T28" fmla="*/ 137 w 273"/>
                      <a:gd name="T29" fmla="*/ 259 h 273"/>
                      <a:gd name="T30" fmla="*/ 137 w 273"/>
                      <a:gd name="T31" fmla="*/ 22 h 273"/>
                      <a:gd name="T32" fmla="*/ 22 w 273"/>
                      <a:gd name="T33" fmla="*/ 136 h 273"/>
                      <a:gd name="T34" fmla="*/ 137 w 273"/>
                      <a:gd name="T35" fmla="*/ 251 h 273"/>
                      <a:gd name="T36" fmla="*/ 252 w 273"/>
                      <a:gd name="T37" fmla="*/ 136 h 273"/>
                      <a:gd name="T38" fmla="*/ 137 w 273"/>
                      <a:gd name="T39" fmla="*/ 2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3" h="273">
                        <a:moveTo>
                          <a:pt x="137" y="273"/>
                        </a:moveTo>
                        <a:cubicBezTo>
                          <a:pt x="62" y="273"/>
                          <a:pt x="0" y="212"/>
                          <a:pt x="0" y="136"/>
                        </a:cubicBezTo>
                        <a:cubicBezTo>
                          <a:pt x="0" y="61"/>
                          <a:pt x="62" y="0"/>
                          <a:pt x="137" y="0"/>
                        </a:cubicBezTo>
                        <a:cubicBezTo>
                          <a:pt x="212" y="0"/>
                          <a:pt x="273" y="61"/>
                          <a:pt x="273" y="136"/>
                        </a:cubicBezTo>
                        <a:cubicBezTo>
                          <a:pt x="273" y="212"/>
                          <a:pt x="212" y="273"/>
                          <a:pt x="137" y="273"/>
                        </a:cubicBezTo>
                        <a:close/>
                        <a:moveTo>
                          <a:pt x="137" y="8"/>
                        </a:moveTo>
                        <a:cubicBezTo>
                          <a:pt x="66" y="8"/>
                          <a:pt x="8" y="66"/>
                          <a:pt x="8" y="136"/>
                        </a:cubicBezTo>
                        <a:cubicBezTo>
                          <a:pt x="8" y="207"/>
                          <a:pt x="66" y="265"/>
                          <a:pt x="137" y="265"/>
                        </a:cubicBezTo>
                        <a:cubicBezTo>
                          <a:pt x="208" y="265"/>
                          <a:pt x="265" y="207"/>
                          <a:pt x="265" y="136"/>
                        </a:cubicBezTo>
                        <a:cubicBezTo>
                          <a:pt x="265" y="66"/>
                          <a:pt x="208" y="8"/>
                          <a:pt x="137" y="8"/>
                        </a:cubicBezTo>
                        <a:close/>
                        <a:moveTo>
                          <a:pt x="137" y="259"/>
                        </a:moveTo>
                        <a:cubicBezTo>
                          <a:pt x="69" y="259"/>
                          <a:pt x="14" y="204"/>
                          <a:pt x="14" y="136"/>
                        </a:cubicBezTo>
                        <a:cubicBezTo>
                          <a:pt x="14" y="69"/>
                          <a:pt x="69" y="14"/>
                          <a:pt x="137" y="14"/>
                        </a:cubicBezTo>
                        <a:cubicBezTo>
                          <a:pt x="204" y="14"/>
                          <a:pt x="260" y="69"/>
                          <a:pt x="260" y="136"/>
                        </a:cubicBezTo>
                        <a:cubicBezTo>
                          <a:pt x="260" y="204"/>
                          <a:pt x="204" y="259"/>
                          <a:pt x="137" y="259"/>
                        </a:cubicBezTo>
                        <a:close/>
                        <a:moveTo>
                          <a:pt x="137" y="22"/>
                        </a:moveTo>
                        <a:cubicBezTo>
                          <a:pt x="73" y="22"/>
                          <a:pt x="22" y="73"/>
                          <a:pt x="22" y="136"/>
                        </a:cubicBezTo>
                        <a:cubicBezTo>
                          <a:pt x="22" y="200"/>
                          <a:pt x="73" y="251"/>
                          <a:pt x="137" y="251"/>
                        </a:cubicBezTo>
                        <a:cubicBezTo>
                          <a:pt x="200" y="251"/>
                          <a:pt x="252" y="200"/>
                          <a:pt x="252" y="136"/>
                        </a:cubicBezTo>
                        <a:cubicBezTo>
                          <a:pt x="252" y="73"/>
                          <a:pt x="200" y="22"/>
                          <a:pt x="137"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42">
                    <a:extLst>
                      <a:ext uri="{FF2B5EF4-FFF2-40B4-BE49-F238E27FC236}">
                        <a16:creationId xmlns:a16="http://schemas.microsoft.com/office/drawing/2014/main" id="{2B61CD32-8549-4078-889F-095A8F8C3790}"/>
                      </a:ext>
                    </a:extLst>
                  </p:cNvPr>
                  <p:cNvSpPr>
                    <a:spLocks/>
                  </p:cNvSpPr>
                  <p:nvPr/>
                </p:nvSpPr>
                <p:spPr bwMode="auto">
                  <a:xfrm>
                    <a:off x="4004" y="2271"/>
                    <a:ext cx="220" cy="160"/>
                  </a:xfrm>
                  <a:custGeom>
                    <a:avLst/>
                    <a:gdLst>
                      <a:gd name="T0" fmla="*/ 54 w 305"/>
                      <a:gd name="T1" fmla="*/ 209 h 222"/>
                      <a:gd name="T2" fmla="*/ 291 w 305"/>
                      <a:gd name="T3" fmla="*/ 209 h 222"/>
                      <a:gd name="T4" fmla="*/ 291 w 305"/>
                      <a:gd name="T5" fmla="*/ 79 h 222"/>
                      <a:gd name="T6" fmla="*/ 226 w 305"/>
                      <a:gd name="T7" fmla="*/ 13 h 222"/>
                      <a:gd name="T8" fmla="*/ 14 w 305"/>
                      <a:gd name="T9" fmla="*/ 13 h 222"/>
                      <a:gd name="T10" fmla="*/ 0 w 305"/>
                      <a:gd name="T11" fmla="*/ 0 h 222"/>
                      <a:gd name="T12" fmla="*/ 226 w 305"/>
                      <a:gd name="T13" fmla="*/ 0 h 222"/>
                      <a:gd name="T14" fmla="*/ 305 w 305"/>
                      <a:gd name="T15" fmla="*/ 79 h 222"/>
                      <a:gd name="T16" fmla="*/ 305 w 305"/>
                      <a:gd name="T17" fmla="*/ 222 h 222"/>
                      <a:gd name="T18" fmla="*/ 54 w 305"/>
                      <a:gd name="T19" fmla="*/ 222 h 222"/>
                      <a:gd name="T20" fmla="*/ 54 w 305"/>
                      <a:gd name="T21" fmla="*/ 20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222">
                        <a:moveTo>
                          <a:pt x="54" y="209"/>
                        </a:moveTo>
                        <a:cubicBezTo>
                          <a:pt x="291" y="209"/>
                          <a:pt x="291" y="209"/>
                          <a:pt x="291" y="209"/>
                        </a:cubicBezTo>
                        <a:cubicBezTo>
                          <a:pt x="291" y="79"/>
                          <a:pt x="291" y="79"/>
                          <a:pt x="291" y="79"/>
                        </a:cubicBezTo>
                        <a:cubicBezTo>
                          <a:pt x="291" y="43"/>
                          <a:pt x="262" y="13"/>
                          <a:pt x="226" y="13"/>
                        </a:cubicBezTo>
                        <a:cubicBezTo>
                          <a:pt x="14" y="13"/>
                          <a:pt x="14" y="13"/>
                          <a:pt x="14" y="13"/>
                        </a:cubicBezTo>
                        <a:cubicBezTo>
                          <a:pt x="10" y="9"/>
                          <a:pt x="5" y="4"/>
                          <a:pt x="0" y="0"/>
                        </a:cubicBezTo>
                        <a:cubicBezTo>
                          <a:pt x="226" y="0"/>
                          <a:pt x="226" y="0"/>
                          <a:pt x="226" y="0"/>
                        </a:cubicBezTo>
                        <a:cubicBezTo>
                          <a:pt x="269" y="0"/>
                          <a:pt x="305" y="35"/>
                          <a:pt x="305" y="79"/>
                        </a:cubicBezTo>
                        <a:cubicBezTo>
                          <a:pt x="305" y="222"/>
                          <a:pt x="305" y="222"/>
                          <a:pt x="305" y="222"/>
                        </a:cubicBezTo>
                        <a:cubicBezTo>
                          <a:pt x="54" y="222"/>
                          <a:pt x="54" y="222"/>
                          <a:pt x="54" y="222"/>
                        </a:cubicBezTo>
                        <a:lnTo>
                          <a:pt x="54" y="2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43">
                    <a:extLst>
                      <a:ext uri="{FF2B5EF4-FFF2-40B4-BE49-F238E27FC236}">
                        <a16:creationId xmlns:a16="http://schemas.microsoft.com/office/drawing/2014/main" id="{BD30B617-EDAB-4831-B70F-B27AF02F9D02}"/>
                      </a:ext>
                    </a:extLst>
                  </p:cNvPr>
                  <p:cNvSpPr>
                    <a:spLocks noEditPoints="1"/>
                  </p:cNvSpPr>
                  <p:nvPr/>
                </p:nvSpPr>
                <p:spPr bwMode="auto">
                  <a:xfrm>
                    <a:off x="3997" y="2268"/>
                    <a:ext cx="230" cy="165"/>
                  </a:xfrm>
                  <a:custGeom>
                    <a:avLst/>
                    <a:gdLst>
                      <a:gd name="T0" fmla="*/ 319 w 319"/>
                      <a:gd name="T1" fmla="*/ 230 h 230"/>
                      <a:gd name="T2" fmla="*/ 60 w 319"/>
                      <a:gd name="T3" fmla="*/ 230 h 230"/>
                      <a:gd name="T4" fmla="*/ 60 w 319"/>
                      <a:gd name="T5" fmla="*/ 209 h 230"/>
                      <a:gd name="T6" fmla="*/ 297 w 319"/>
                      <a:gd name="T7" fmla="*/ 209 h 230"/>
                      <a:gd name="T8" fmla="*/ 297 w 319"/>
                      <a:gd name="T9" fmla="*/ 83 h 230"/>
                      <a:gd name="T10" fmla="*/ 236 w 319"/>
                      <a:gd name="T11" fmla="*/ 21 h 230"/>
                      <a:gd name="T12" fmla="*/ 22 w 319"/>
                      <a:gd name="T13" fmla="*/ 21 h 230"/>
                      <a:gd name="T14" fmla="*/ 21 w 319"/>
                      <a:gd name="T15" fmla="*/ 20 h 230"/>
                      <a:gd name="T16" fmla="*/ 8 w 319"/>
                      <a:gd name="T17" fmla="*/ 7 h 230"/>
                      <a:gd name="T18" fmla="*/ 0 w 319"/>
                      <a:gd name="T19" fmla="*/ 0 h 230"/>
                      <a:gd name="T20" fmla="*/ 236 w 319"/>
                      <a:gd name="T21" fmla="*/ 0 h 230"/>
                      <a:gd name="T22" fmla="*/ 319 w 319"/>
                      <a:gd name="T23" fmla="*/ 83 h 230"/>
                      <a:gd name="T24" fmla="*/ 319 w 319"/>
                      <a:gd name="T25" fmla="*/ 230 h 230"/>
                      <a:gd name="T26" fmla="*/ 68 w 319"/>
                      <a:gd name="T27" fmla="*/ 222 h 230"/>
                      <a:gd name="T28" fmla="*/ 311 w 319"/>
                      <a:gd name="T29" fmla="*/ 222 h 230"/>
                      <a:gd name="T30" fmla="*/ 311 w 319"/>
                      <a:gd name="T31" fmla="*/ 83 h 230"/>
                      <a:gd name="T32" fmla="*/ 236 w 319"/>
                      <a:gd name="T33" fmla="*/ 8 h 230"/>
                      <a:gd name="T34" fmla="*/ 20 w 319"/>
                      <a:gd name="T35" fmla="*/ 8 h 230"/>
                      <a:gd name="T36" fmla="*/ 26 w 319"/>
                      <a:gd name="T37" fmla="*/ 13 h 230"/>
                      <a:gd name="T38" fmla="*/ 236 w 319"/>
                      <a:gd name="T39" fmla="*/ 13 h 230"/>
                      <a:gd name="T40" fmla="*/ 305 w 319"/>
                      <a:gd name="T41" fmla="*/ 83 h 230"/>
                      <a:gd name="T42" fmla="*/ 305 w 319"/>
                      <a:gd name="T43" fmla="*/ 217 h 230"/>
                      <a:gd name="T44" fmla="*/ 68 w 319"/>
                      <a:gd name="T45" fmla="*/ 217 h 230"/>
                      <a:gd name="T46" fmla="*/ 68 w 319"/>
                      <a:gd name="T47" fmla="*/ 22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9" h="230">
                        <a:moveTo>
                          <a:pt x="319" y="230"/>
                        </a:moveTo>
                        <a:cubicBezTo>
                          <a:pt x="60" y="230"/>
                          <a:pt x="60" y="230"/>
                          <a:pt x="60" y="230"/>
                        </a:cubicBezTo>
                        <a:cubicBezTo>
                          <a:pt x="60" y="209"/>
                          <a:pt x="60" y="209"/>
                          <a:pt x="60" y="209"/>
                        </a:cubicBezTo>
                        <a:cubicBezTo>
                          <a:pt x="297" y="209"/>
                          <a:pt x="297" y="209"/>
                          <a:pt x="297" y="209"/>
                        </a:cubicBezTo>
                        <a:cubicBezTo>
                          <a:pt x="297" y="83"/>
                          <a:pt x="297" y="83"/>
                          <a:pt x="297" y="83"/>
                        </a:cubicBezTo>
                        <a:cubicBezTo>
                          <a:pt x="297" y="49"/>
                          <a:pt x="270" y="21"/>
                          <a:pt x="236" y="21"/>
                        </a:cubicBezTo>
                        <a:cubicBezTo>
                          <a:pt x="22" y="21"/>
                          <a:pt x="22" y="21"/>
                          <a:pt x="22" y="21"/>
                        </a:cubicBezTo>
                        <a:cubicBezTo>
                          <a:pt x="21" y="20"/>
                          <a:pt x="21" y="20"/>
                          <a:pt x="21" y="20"/>
                        </a:cubicBezTo>
                        <a:cubicBezTo>
                          <a:pt x="17" y="15"/>
                          <a:pt x="12" y="11"/>
                          <a:pt x="8" y="7"/>
                        </a:cubicBezTo>
                        <a:cubicBezTo>
                          <a:pt x="0" y="0"/>
                          <a:pt x="0" y="0"/>
                          <a:pt x="0" y="0"/>
                        </a:cubicBezTo>
                        <a:cubicBezTo>
                          <a:pt x="236" y="0"/>
                          <a:pt x="236" y="0"/>
                          <a:pt x="236" y="0"/>
                        </a:cubicBezTo>
                        <a:cubicBezTo>
                          <a:pt x="282" y="0"/>
                          <a:pt x="319" y="37"/>
                          <a:pt x="319" y="83"/>
                        </a:cubicBezTo>
                        <a:lnTo>
                          <a:pt x="319" y="230"/>
                        </a:lnTo>
                        <a:close/>
                        <a:moveTo>
                          <a:pt x="68" y="222"/>
                        </a:moveTo>
                        <a:cubicBezTo>
                          <a:pt x="311" y="222"/>
                          <a:pt x="311" y="222"/>
                          <a:pt x="311" y="222"/>
                        </a:cubicBezTo>
                        <a:cubicBezTo>
                          <a:pt x="311" y="83"/>
                          <a:pt x="311" y="83"/>
                          <a:pt x="311" y="83"/>
                        </a:cubicBezTo>
                        <a:cubicBezTo>
                          <a:pt x="311" y="42"/>
                          <a:pt x="277" y="8"/>
                          <a:pt x="236" y="8"/>
                        </a:cubicBezTo>
                        <a:cubicBezTo>
                          <a:pt x="20" y="8"/>
                          <a:pt x="20" y="8"/>
                          <a:pt x="20" y="8"/>
                        </a:cubicBezTo>
                        <a:cubicBezTo>
                          <a:pt x="22" y="10"/>
                          <a:pt x="24" y="11"/>
                          <a:pt x="26" y="13"/>
                        </a:cubicBezTo>
                        <a:cubicBezTo>
                          <a:pt x="236" y="13"/>
                          <a:pt x="236" y="13"/>
                          <a:pt x="236" y="13"/>
                        </a:cubicBezTo>
                        <a:cubicBezTo>
                          <a:pt x="274" y="13"/>
                          <a:pt x="305" y="45"/>
                          <a:pt x="305" y="83"/>
                        </a:cubicBezTo>
                        <a:cubicBezTo>
                          <a:pt x="305" y="217"/>
                          <a:pt x="305" y="217"/>
                          <a:pt x="305" y="217"/>
                        </a:cubicBezTo>
                        <a:cubicBezTo>
                          <a:pt x="68" y="217"/>
                          <a:pt x="68" y="217"/>
                          <a:pt x="68" y="217"/>
                        </a:cubicBezTo>
                        <a:lnTo>
                          <a:pt x="68" y="2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spTree>
    <p:extLst>
      <p:ext uri="{BB962C8B-B14F-4D97-AF65-F5344CB8AC3E}">
        <p14:creationId xmlns:p14="http://schemas.microsoft.com/office/powerpoint/2010/main" val="23928113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Jabil pilots Azure and Project Brainwave in advanced manufacturing solutions">
            <a:hlinkClick r:id="" action="ppaction://media"/>
            <a:extLst>
              <a:ext uri="{FF2B5EF4-FFF2-40B4-BE49-F238E27FC236}">
                <a16:creationId xmlns:a16="http://schemas.microsoft.com/office/drawing/2014/main" id="{6292A5E7-5FDF-4109-BE96-DCC60497ECF9}"/>
              </a:ext>
            </a:extLst>
          </p:cNvPr>
          <p:cNvPicPr preferRelativeResize="0">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4" y="22373"/>
            <a:ext cx="12436447" cy="6995501"/>
          </a:xfrm>
          <a:prstGeom prst="rect">
            <a:avLst/>
          </a:prstGeom>
        </p:spPr>
      </p:pic>
    </p:spTree>
    <p:extLst>
      <p:ext uri="{BB962C8B-B14F-4D97-AF65-F5344CB8AC3E}">
        <p14:creationId xmlns:p14="http://schemas.microsoft.com/office/powerpoint/2010/main" val="13288876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707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Straight Connector 33">
            <a:extLst>
              <a:ext uri="{FF2B5EF4-FFF2-40B4-BE49-F238E27FC236}">
                <a16:creationId xmlns:a16="http://schemas.microsoft.com/office/drawing/2014/main" id="{C9B5EE4C-CF2C-4080-9DF9-21094814ACAE}"/>
              </a:ext>
            </a:extLst>
          </p:cNvPr>
          <p:cNvCxnSpPr/>
          <p:nvPr/>
        </p:nvCxnSpPr>
        <p:spPr>
          <a:xfrm>
            <a:off x="467183" y="1597064"/>
            <a:ext cx="0" cy="4989428"/>
          </a:xfrm>
          <a:prstGeom prst="line">
            <a:avLst/>
          </a:prstGeom>
          <a:ln>
            <a:solidFill>
              <a:schemeClr val="tx2"/>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4E45CCD-F7ED-401E-A55E-617E916BB6EF}"/>
              </a:ext>
            </a:extLst>
          </p:cNvPr>
          <p:cNvCxnSpPr/>
          <p:nvPr/>
        </p:nvCxnSpPr>
        <p:spPr>
          <a:xfrm>
            <a:off x="4342213" y="1597064"/>
            <a:ext cx="0" cy="4989428"/>
          </a:xfrm>
          <a:prstGeom prst="line">
            <a:avLst/>
          </a:prstGeom>
          <a:solidFill>
            <a:schemeClr val="bg1"/>
          </a:solidFill>
          <a:ln w="1905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36" name="Straight Connector 35">
            <a:extLst>
              <a:ext uri="{FF2B5EF4-FFF2-40B4-BE49-F238E27FC236}">
                <a16:creationId xmlns:a16="http://schemas.microsoft.com/office/drawing/2014/main" id="{EE0D3882-A265-4855-9A5E-9C29A5A5CFC5}"/>
              </a:ext>
            </a:extLst>
          </p:cNvPr>
          <p:cNvCxnSpPr/>
          <p:nvPr/>
        </p:nvCxnSpPr>
        <p:spPr>
          <a:xfrm>
            <a:off x="8214296" y="1597064"/>
            <a:ext cx="0" cy="4989428"/>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Freeform 50">
            <a:extLst>
              <a:ext uri="{FF2B5EF4-FFF2-40B4-BE49-F238E27FC236}">
                <a16:creationId xmlns:a16="http://schemas.microsoft.com/office/drawing/2014/main" id="{BA4D8089-19D9-45F6-B662-53AD7E7BE1DB}"/>
              </a:ext>
            </a:extLst>
          </p:cNvPr>
          <p:cNvSpPr/>
          <p:nvPr/>
        </p:nvSpPr>
        <p:spPr>
          <a:xfrm>
            <a:off x="4948405" y="1322172"/>
            <a:ext cx="3142873" cy="549785"/>
          </a:xfrm>
          <a:prstGeom prst="rect">
            <a:avLst/>
          </a:prstGeom>
          <a:solidFill>
            <a:schemeClr val="accent1"/>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66302" tIns="46630" rIns="93260" bIns="46630" numCol="1" spcCol="1270" anchor="ctr" anchorCtr="0">
            <a:noAutofit/>
          </a:bodyPr>
          <a:lstStyle/>
          <a:p>
            <a:pPr defTabSz="1106151" fontAlgn="base">
              <a:spcBef>
                <a:spcPct val="0"/>
              </a:spcBef>
              <a:spcAft>
                <a:spcPct val="0"/>
              </a:spcAft>
            </a:pPr>
            <a:r>
              <a:rPr lang="en-US" sz="2040">
                <a:solidFill>
                  <a:srgbClr val="FFFFFF"/>
                </a:solidFill>
                <a:latin typeface="Segoe UI Semibold" panose="020B0702040204020203" pitchFamily="34" charset="0"/>
                <a:cs typeface="Segoe UI Semibold" panose="020B0702040204020203" pitchFamily="34" charset="0"/>
              </a:rPr>
              <a:t>2 | Predictive</a:t>
            </a:r>
          </a:p>
        </p:txBody>
      </p:sp>
      <p:sp>
        <p:nvSpPr>
          <p:cNvPr id="10" name="Oval 9">
            <a:extLst>
              <a:ext uri="{FF2B5EF4-FFF2-40B4-BE49-F238E27FC236}">
                <a16:creationId xmlns:a16="http://schemas.microsoft.com/office/drawing/2014/main" id="{F2AFE0B6-94F0-4C95-9C8F-496C5D52379A}"/>
              </a:ext>
            </a:extLst>
          </p:cNvPr>
          <p:cNvSpPr/>
          <p:nvPr/>
        </p:nvSpPr>
        <p:spPr bwMode="auto">
          <a:xfrm>
            <a:off x="4342213" y="1139508"/>
            <a:ext cx="915112" cy="915112"/>
          </a:xfrm>
          <a:prstGeom prst="ellipse">
            <a:avLst/>
          </a:prstGeom>
          <a:solidFill>
            <a:schemeClr val="bg1"/>
          </a:solidFill>
          <a:ln w="1905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2448">
              <a:solidFill>
                <a:srgbClr val="505050"/>
              </a:solidFill>
              <a:latin typeface="Segoe UI Semibold" panose="020B0702040204020203" pitchFamily="34" charset="0"/>
              <a:cs typeface="Segoe UI Semibold" panose="020B0702040204020203" pitchFamily="34" charset="0"/>
            </a:endParaRPr>
          </a:p>
        </p:txBody>
      </p:sp>
      <p:sp>
        <p:nvSpPr>
          <p:cNvPr id="11" name="Freeform 50">
            <a:extLst>
              <a:ext uri="{FF2B5EF4-FFF2-40B4-BE49-F238E27FC236}">
                <a16:creationId xmlns:a16="http://schemas.microsoft.com/office/drawing/2014/main" id="{347286B1-483C-4170-824B-80CDC6508FC1}"/>
              </a:ext>
            </a:extLst>
          </p:cNvPr>
          <p:cNvSpPr/>
          <p:nvPr/>
        </p:nvSpPr>
        <p:spPr>
          <a:xfrm>
            <a:off x="8823436" y="1322172"/>
            <a:ext cx="3142873" cy="549785"/>
          </a:xfrm>
          <a:prstGeom prst="rect">
            <a:avLst/>
          </a:prstGeom>
          <a:ln>
            <a:noFill/>
          </a:ln>
        </p:spPr>
        <p:style>
          <a:lnRef idx="2">
            <a:schemeClr val="accent1">
              <a:alpha val="90000"/>
              <a:tint val="40000"/>
              <a:hueOff val="0"/>
              <a:satOff val="0"/>
              <a:lumOff val="0"/>
              <a:alphaOff val="0"/>
            </a:schemeClr>
          </a:lnRef>
          <a:fillRef idx="1001">
            <a:schemeClr val="lt2"/>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66302" tIns="46630" rIns="93260" bIns="46630" numCol="1" spcCol="1270" anchor="ctr" anchorCtr="0">
            <a:noAutofit/>
          </a:bodyPr>
          <a:lstStyle/>
          <a:p>
            <a:pPr defTabSz="1106151" fontAlgn="base">
              <a:spcBef>
                <a:spcPct val="0"/>
              </a:spcBef>
              <a:spcAft>
                <a:spcPct val="0"/>
              </a:spcAft>
            </a:pPr>
            <a:r>
              <a:rPr lang="en-US" sz="2040">
                <a:solidFill>
                  <a:srgbClr val="FFFFFF"/>
                </a:solidFill>
                <a:latin typeface="Segoe UI Semibold" panose="020B0702040204020203" pitchFamily="34" charset="0"/>
                <a:cs typeface="Segoe UI Semibold" panose="020B0702040204020203" pitchFamily="34" charset="0"/>
              </a:rPr>
              <a:t>3| Cognitive</a:t>
            </a:r>
          </a:p>
        </p:txBody>
      </p:sp>
      <p:sp>
        <p:nvSpPr>
          <p:cNvPr id="12" name="Oval 11">
            <a:extLst>
              <a:ext uri="{FF2B5EF4-FFF2-40B4-BE49-F238E27FC236}">
                <a16:creationId xmlns:a16="http://schemas.microsoft.com/office/drawing/2014/main" id="{AB01B152-83C7-4F61-8357-1FCB1F2DD33B}"/>
              </a:ext>
            </a:extLst>
          </p:cNvPr>
          <p:cNvSpPr/>
          <p:nvPr/>
        </p:nvSpPr>
        <p:spPr bwMode="auto">
          <a:xfrm>
            <a:off x="8217243" y="1139508"/>
            <a:ext cx="915112" cy="915112"/>
          </a:xfrm>
          <a:prstGeom prst="ellipse">
            <a:avLst/>
          </a:prstGeom>
          <a:solidFill>
            <a:schemeClr val="bg1"/>
          </a:solidFill>
          <a:ln w="19050">
            <a:solidFill>
              <a:schemeClr val="bg2"/>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2448">
              <a:solidFill>
                <a:srgbClr val="505050"/>
              </a:solidFill>
              <a:latin typeface="Segoe UI Semibold" panose="020B0702040204020203" pitchFamily="34" charset="0"/>
              <a:cs typeface="Segoe UI Semibold" panose="020B0702040204020203" pitchFamily="34" charset="0"/>
            </a:endParaRPr>
          </a:p>
        </p:txBody>
      </p:sp>
      <p:sp>
        <p:nvSpPr>
          <p:cNvPr id="17" name="TextBox 16">
            <a:extLst>
              <a:ext uri="{FF2B5EF4-FFF2-40B4-BE49-F238E27FC236}">
                <a16:creationId xmlns:a16="http://schemas.microsoft.com/office/drawing/2014/main" id="{639C9575-2DEE-4C35-8955-AEAFB2B38AF0}"/>
              </a:ext>
            </a:extLst>
          </p:cNvPr>
          <p:cNvSpPr txBox="1">
            <a:spLocks/>
          </p:cNvSpPr>
          <p:nvPr/>
        </p:nvSpPr>
        <p:spPr>
          <a:xfrm>
            <a:off x="514405" y="1593689"/>
            <a:ext cx="3698893" cy="5079334"/>
          </a:xfrm>
          <a:prstGeom prst="rect">
            <a:avLst/>
          </a:prstGeom>
          <a:noFill/>
          <a:ln>
            <a:noFill/>
            <a:headEnd/>
            <a:tailEnd/>
          </a:ln>
          <a:extLst/>
        </p:spPr>
        <p:style>
          <a:lnRef idx="2">
            <a:schemeClr val="accent1"/>
          </a:lnRef>
          <a:fillRef idx="1001">
            <a:schemeClr val="dk2"/>
          </a:fillRef>
          <a:effectRef idx="0">
            <a:schemeClr val="accent1"/>
          </a:effectRef>
          <a:fontRef idx="minor">
            <a:schemeClr val="dk1"/>
          </a:fontRef>
        </p:style>
        <p:txBody>
          <a:bodyPr vert="horz" wrap="square" lIns="93260" tIns="512932" rIns="93260" bIns="46630" numCol="1" anchor="t" anchorCtr="0" compatLnSpc="1">
            <a:prstTxWarp prst="textNoShape">
              <a:avLst/>
            </a:prstTxWarp>
            <a:no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82" lvl="1" indent="0" defTabSz="1083107" fontAlgn="base">
              <a:spcBef>
                <a:spcPts val="1224"/>
              </a:spcBef>
              <a:buClr>
                <a:srgbClr val="505050"/>
              </a:buClr>
              <a:buSzPct val="100000"/>
              <a:buNone/>
            </a:pPr>
            <a:r>
              <a:rPr lang="en-IN" sz="1632">
                <a:solidFill>
                  <a:srgbClr val="002060"/>
                </a:solidFill>
                <a:latin typeface="Segoe UI Semibold" panose="020B0702040204020203" pitchFamily="34" charset="0"/>
                <a:cs typeface="Segoe UI Semibold" panose="020B0702040204020203" pitchFamily="34" charset="0"/>
              </a:rPr>
              <a:t>Essentials</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i="1">
                <a:solidFill>
                  <a:srgbClr val="505050"/>
                </a:solidFill>
                <a:latin typeface="Segoe UI"/>
              </a:rPr>
              <a:t>IoT cloud infrastructure</a:t>
            </a:r>
            <a:r>
              <a:rPr lang="en-IN" sz="1428">
                <a:solidFill>
                  <a:srgbClr val="505050"/>
                </a:solidFill>
                <a:latin typeface="Segoe UI"/>
              </a:rPr>
              <a:t>: Components, protocols, gateways, ingestion, processing, storage</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i="1">
                <a:solidFill>
                  <a:srgbClr val="505050"/>
                </a:solidFill>
                <a:latin typeface="Segoe UI"/>
              </a:rPr>
              <a:t>Security</a:t>
            </a:r>
            <a:r>
              <a:rPr lang="en-IN" sz="1428">
                <a:solidFill>
                  <a:srgbClr val="505050"/>
                </a:solidFill>
                <a:latin typeface="Segoe UI"/>
              </a:rPr>
              <a:t>: Local and cloud architecture including encryption, and identity and authentication</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i="1">
                <a:solidFill>
                  <a:srgbClr val="505050"/>
                </a:solidFill>
                <a:latin typeface="Segoe UI"/>
              </a:rPr>
              <a:t>Digital transformation design</a:t>
            </a:r>
            <a:r>
              <a:rPr lang="en-IN" sz="1428">
                <a:solidFill>
                  <a:srgbClr val="505050"/>
                </a:solidFill>
                <a:latin typeface="Segoe UI"/>
              </a:rPr>
              <a:t>: Tech selection, piloting, capability building, and scalability</a:t>
            </a:r>
          </a:p>
          <a:p>
            <a:pPr marL="1882" lvl="1" indent="0" defTabSz="1083107" fontAlgn="base">
              <a:spcBef>
                <a:spcPts val="1224"/>
              </a:spcBef>
              <a:buClr>
                <a:srgbClr val="505050"/>
              </a:buClr>
              <a:buSzPct val="100000"/>
              <a:buNone/>
            </a:pPr>
            <a:r>
              <a:rPr lang="en-IN" sz="1632">
                <a:solidFill>
                  <a:srgbClr val="002060"/>
                </a:solidFill>
                <a:latin typeface="Segoe UI Semibold" panose="020B0702040204020203" pitchFamily="34" charset="0"/>
                <a:cs typeface="Segoe UI Semibold" panose="020B0702040204020203" pitchFamily="34" charset="0"/>
              </a:rPr>
              <a:t>Remote monitoring</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a:solidFill>
                  <a:srgbClr val="505050"/>
                </a:solidFill>
                <a:latin typeface="Segoe UI"/>
              </a:rPr>
              <a:t>Leverage IoT stack, data factory/mart, to consolidate data into real-time visuals</a:t>
            </a:r>
          </a:p>
          <a:p>
            <a:pPr marL="1882" lvl="1" indent="0" defTabSz="1083107" fontAlgn="base">
              <a:spcBef>
                <a:spcPts val="1224"/>
              </a:spcBef>
              <a:buClr>
                <a:srgbClr val="505050"/>
              </a:buClr>
              <a:buSzPct val="100000"/>
              <a:buNone/>
            </a:pPr>
            <a:r>
              <a:rPr lang="en-IN" sz="1632">
                <a:solidFill>
                  <a:srgbClr val="002060"/>
                </a:solidFill>
                <a:latin typeface="Segoe UI Semibold" panose="020B0702040204020203" pitchFamily="34" charset="0"/>
                <a:cs typeface="Segoe UI Semibold" panose="020B0702040204020203" pitchFamily="34" charset="0"/>
              </a:rPr>
              <a:t>Mobile Worker</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a:solidFill>
                  <a:srgbClr val="505050"/>
                </a:solidFill>
                <a:latin typeface="Segoe UI"/>
              </a:rPr>
              <a:t>Mobile access to information, training and communication.</a:t>
            </a:r>
          </a:p>
        </p:txBody>
      </p:sp>
      <p:sp>
        <p:nvSpPr>
          <p:cNvPr id="19" name="Freeform 97">
            <a:extLst>
              <a:ext uri="{FF2B5EF4-FFF2-40B4-BE49-F238E27FC236}">
                <a16:creationId xmlns:a16="http://schemas.microsoft.com/office/drawing/2014/main" id="{679CE918-EC10-4435-A210-CA9DD9C4CAAE}"/>
              </a:ext>
            </a:extLst>
          </p:cNvPr>
          <p:cNvSpPr/>
          <p:nvPr/>
        </p:nvSpPr>
        <p:spPr>
          <a:xfrm flipH="1">
            <a:off x="8457051" y="1295485"/>
            <a:ext cx="435496" cy="603159"/>
          </a:xfrm>
          <a:custGeom>
            <a:avLst/>
            <a:gdLst/>
            <a:ahLst/>
            <a:cxnLst/>
            <a:rect l="l" t="t" r="r" b="b"/>
            <a:pathLst>
              <a:path w="855889" h="1185398">
                <a:moveTo>
                  <a:pt x="448876" y="461269"/>
                </a:moveTo>
                <a:cubicBezTo>
                  <a:pt x="434572" y="461269"/>
                  <a:pt x="422976" y="472866"/>
                  <a:pt x="422976" y="487170"/>
                </a:cubicBezTo>
                <a:cubicBezTo>
                  <a:pt x="422976" y="501474"/>
                  <a:pt x="434572" y="513069"/>
                  <a:pt x="448876" y="513069"/>
                </a:cubicBezTo>
                <a:cubicBezTo>
                  <a:pt x="463179" y="513069"/>
                  <a:pt x="474775" y="501474"/>
                  <a:pt x="474775" y="487170"/>
                </a:cubicBezTo>
                <a:cubicBezTo>
                  <a:pt x="474775" y="472866"/>
                  <a:pt x="463179" y="461269"/>
                  <a:pt x="448876" y="461269"/>
                </a:cubicBezTo>
                <a:close/>
                <a:moveTo>
                  <a:pt x="448876" y="445785"/>
                </a:moveTo>
                <a:cubicBezTo>
                  <a:pt x="471732" y="445785"/>
                  <a:pt x="490261" y="464313"/>
                  <a:pt x="490261" y="487170"/>
                </a:cubicBezTo>
                <a:cubicBezTo>
                  <a:pt x="490261" y="510027"/>
                  <a:pt x="471732" y="528555"/>
                  <a:pt x="448876" y="528555"/>
                </a:cubicBezTo>
                <a:cubicBezTo>
                  <a:pt x="426019" y="528555"/>
                  <a:pt x="407491" y="510027"/>
                  <a:pt x="407491" y="487170"/>
                </a:cubicBezTo>
                <a:cubicBezTo>
                  <a:pt x="407491" y="464313"/>
                  <a:pt x="426019" y="445785"/>
                  <a:pt x="448876" y="445785"/>
                </a:cubicBezTo>
                <a:close/>
                <a:moveTo>
                  <a:pt x="448876" y="429988"/>
                </a:moveTo>
                <a:cubicBezTo>
                  <a:pt x="417295" y="429988"/>
                  <a:pt x="391695" y="455590"/>
                  <a:pt x="391695" y="487170"/>
                </a:cubicBezTo>
                <a:cubicBezTo>
                  <a:pt x="391695" y="518750"/>
                  <a:pt x="417295" y="544350"/>
                  <a:pt x="448876" y="544350"/>
                </a:cubicBezTo>
                <a:cubicBezTo>
                  <a:pt x="480455" y="544350"/>
                  <a:pt x="506057" y="518750"/>
                  <a:pt x="506057" y="487170"/>
                </a:cubicBezTo>
                <a:cubicBezTo>
                  <a:pt x="506057" y="455590"/>
                  <a:pt x="480455" y="429988"/>
                  <a:pt x="448876" y="429988"/>
                </a:cubicBezTo>
                <a:close/>
                <a:moveTo>
                  <a:pt x="423356" y="389024"/>
                </a:moveTo>
                <a:cubicBezTo>
                  <a:pt x="424590" y="401922"/>
                  <a:pt x="435576" y="411829"/>
                  <a:pt x="448876" y="411829"/>
                </a:cubicBezTo>
                <a:cubicBezTo>
                  <a:pt x="462097" y="411829"/>
                  <a:pt x="473033" y="402036"/>
                  <a:pt x="474351" y="389241"/>
                </a:cubicBezTo>
                <a:cubicBezTo>
                  <a:pt x="483950" y="391645"/>
                  <a:pt x="492994" y="395427"/>
                  <a:pt x="501136" y="400585"/>
                </a:cubicBezTo>
                <a:cubicBezTo>
                  <a:pt x="492933" y="410462"/>
                  <a:pt x="493573" y="425100"/>
                  <a:pt x="502796" y="434548"/>
                </a:cubicBezTo>
                <a:cubicBezTo>
                  <a:pt x="512088" y="444071"/>
                  <a:pt x="526859" y="445010"/>
                  <a:pt x="536952" y="436877"/>
                </a:cubicBezTo>
                <a:cubicBezTo>
                  <a:pt x="541418" y="444529"/>
                  <a:pt x="544874" y="452836"/>
                  <a:pt x="547047" y="461649"/>
                </a:cubicBezTo>
                <a:cubicBezTo>
                  <a:pt x="534139" y="462874"/>
                  <a:pt x="524219" y="473865"/>
                  <a:pt x="524219" y="487173"/>
                </a:cubicBezTo>
                <a:cubicBezTo>
                  <a:pt x="524219" y="500475"/>
                  <a:pt x="534129" y="511461"/>
                  <a:pt x="547029" y="512693"/>
                </a:cubicBezTo>
                <a:cubicBezTo>
                  <a:pt x="544830" y="521390"/>
                  <a:pt x="541350" y="529577"/>
                  <a:pt x="536807" y="537088"/>
                </a:cubicBezTo>
                <a:cubicBezTo>
                  <a:pt x="526716" y="529165"/>
                  <a:pt x="512116" y="530202"/>
                  <a:pt x="502921" y="539667"/>
                </a:cubicBezTo>
                <a:cubicBezTo>
                  <a:pt x="493704" y="549157"/>
                  <a:pt x="493114" y="563835"/>
                  <a:pt x="501386" y="573697"/>
                </a:cubicBezTo>
                <a:cubicBezTo>
                  <a:pt x="493156" y="578927"/>
                  <a:pt x="484086" y="582904"/>
                  <a:pt x="474394" y="585314"/>
                </a:cubicBezTo>
                <a:cubicBezTo>
                  <a:pt x="473158" y="572420"/>
                  <a:pt x="462173" y="562517"/>
                  <a:pt x="448876" y="562517"/>
                </a:cubicBezTo>
                <a:cubicBezTo>
                  <a:pt x="435653" y="562517"/>
                  <a:pt x="424717" y="572309"/>
                  <a:pt x="423400" y="585104"/>
                </a:cubicBezTo>
                <a:cubicBezTo>
                  <a:pt x="413801" y="582702"/>
                  <a:pt x="404758" y="578919"/>
                  <a:pt x="396614" y="573762"/>
                </a:cubicBezTo>
                <a:cubicBezTo>
                  <a:pt x="404818" y="563884"/>
                  <a:pt x="404178" y="549246"/>
                  <a:pt x="394956" y="539797"/>
                </a:cubicBezTo>
                <a:cubicBezTo>
                  <a:pt x="385663" y="530275"/>
                  <a:pt x="370893" y="529336"/>
                  <a:pt x="360799" y="537469"/>
                </a:cubicBezTo>
                <a:cubicBezTo>
                  <a:pt x="356333" y="529816"/>
                  <a:pt x="352877" y="521509"/>
                  <a:pt x="350704" y="512697"/>
                </a:cubicBezTo>
                <a:cubicBezTo>
                  <a:pt x="363612" y="511471"/>
                  <a:pt x="373532" y="500481"/>
                  <a:pt x="373532" y="487173"/>
                </a:cubicBezTo>
                <a:cubicBezTo>
                  <a:pt x="373532" y="473951"/>
                  <a:pt x="363739" y="463015"/>
                  <a:pt x="350944" y="461697"/>
                </a:cubicBezTo>
                <a:cubicBezTo>
                  <a:pt x="353121" y="452999"/>
                  <a:pt x="356432" y="444757"/>
                  <a:pt x="360997" y="437293"/>
                </a:cubicBezTo>
                <a:cubicBezTo>
                  <a:pt x="371084" y="445177"/>
                  <a:pt x="385651" y="444128"/>
                  <a:pt x="394830" y="434679"/>
                </a:cubicBezTo>
                <a:cubicBezTo>
                  <a:pt x="404064" y="425170"/>
                  <a:pt x="404640" y="410456"/>
                  <a:pt x="396324" y="400591"/>
                </a:cubicBezTo>
                <a:cubicBezTo>
                  <a:pt x="404571" y="395394"/>
                  <a:pt x="413655" y="391430"/>
                  <a:pt x="423356" y="389024"/>
                </a:cubicBezTo>
                <a:close/>
                <a:moveTo>
                  <a:pt x="613835" y="241886"/>
                </a:moveTo>
                <a:cubicBezTo>
                  <a:pt x="590684" y="241886"/>
                  <a:pt x="571916" y="260654"/>
                  <a:pt x="571916" y="283805"/>
                </a:cubicBezTo>
                <a:cubicBezTo>
                  <a:pt x="571916" y="306955"/>
                  <a:pt x="590684" y="325724"/>
                  <a:pt x="613835" y="325724"/>
                </a:cubicBezTo>
                <a:cubicBezTo>
                  <a:pt x="636986" y="325724"/>
                  <a:pt x="655754" y="306955"/>
                  <a:pt x="655754" y="283805"/>
                </a:cubicBezTo>
                <a:cubicBezTo>
                  <a:pt x="655754" y="260654"/>
                  <a:pt x="636986" y="241886"/>
                  <a:pt x="613835" y="241886"/>
                </a:cubicBezTo>
                <a:close/>
                <a:moveTo>
                  <a:pt x="613835" y="216822"/>
                </a:moveTo>
                <a:cubicBezTo>
                  <a:pt x="650830" y="216822"/>
                  <a:pt x="680818" y="246811"/>
                  <a:pt x="680818" y="283805"/>
                </a:cubicBezTo>
                <a:cubicBezTo>
                  <a:pt x="680818" y="320798"/>
                  <a:pt x="650830" y="350787"/>
                  <a:pt x="613835" y="350787"/>
                </a:cubicBezTo>
                <a:cubicBezTo>
                  <a:pt x="576842" y="350787"/>
                  <a:pt x="546853" y="320798"/>
                  <a:pt x="546853" y="283805"/>
                </a:cubicBezTo>
                <a:cubicBezTo>
                  <a:pt x="546853" y="246811"/>
                  <a:pt x="576842" y="216822"/>
                  <a:pt x="613835" y="216822"/>
                </a:cubicBezTo>
                <a:close/>
                <a:moveTo>
                  <a:pt x="613835" y="191257"/>
                </a:moveTo>
                <a:cubicBezTo>
                  <a:pt x="562723" y="191257"/>
                  <a:pt x="521288" y="232692"/>
                  <a:pt x="521288" y="283805"/>
                </a:cubicBezTo>
                <a:cubicBezTo>
                  <a:pt x="521288" y="334917"/>
                  <a:pt x="562723" y="376352"/>
                  <a:pt x="613835" y="376352"/>
                </a:cubicBezTo>
                <a:cubicBezTo>
                  <a:pt x="664948" y="376352"/>
                  <a:pt x="706384" y="334917"/>
                  <a:pt x="706384" y="283805"/>
                </a:cubicBezTo>
                <a:cubicBezTo>
                  <a:pt x="706384" y="232692"/>
                  <a:pt x="664948" y="191257"/>
                  <a:pt x="613835" y="191257"/>
                </a:cubicBezTo>
                <a:close/>
                <a:moveTo>
                  <a:pt x="330724" y="185664"/>
                </a:moveTo>
                <a:cubicBezTo>
                  <a:pt x="313549" y="185664"/>
                  <a:pt x="299625" y="199588"/>
                  <a:pt x="299625" y="216763"/>
                </a:cubicBezTo>
                <a:cubicBezTo>
                  <a:pt x="299625" y="233938"/>
                  <a:pt x="313549" y="247861"/>
                  <a:pt x="330724" y="247861"/>
                </a:cubicBezTo>
                <a:cubicBezTo>
                  <a:pt x="347900" y="247861"/>
                  <a:pt x="361823" y="233938"/>
                  <a:pt x="361823" y="216763"/>
                </a:cubicBezTo>
                <a:cubicBezTo>
                  <a:pt x="361823" y="199588"/>
                  <a:pt x="347900" y="185664"/>
                  <a:pt x="330724" y="185664"/>
                </a:cubicBezTo>
                <a:close/>
                <a:moveTo>
                  <a:pt x="330724" y="167070"/>
                </a:moveTo>
                <a:cubicBezTo>
                  <a:pt x="358168" y="167070"/>
                  <a:pt x="380416" y="189319"/>
                  <a:pt x="380416" y="216763"/>
                </a:cubicBezTo>
                <a:cubicBezTo>
                  <a:pt x="380416" y="244208"/>
                  <a:pt x="358168" y="266457"/>
                  <a:pt x="330724" y="266457"/>
                </a:cubicBezTo>
                <a:cubicBezTo>
                  <a:pt x="303279" y="266457"/>
                  <a:pt x="281031" y="244208"/>
                  <a:pt x="281031" y="216763"/>
                </a:cubicBezTo>
                <a:cubicBezTo>
                  <a:pt x="281031" y="189319"/>
                  <a:pt x="303279" y="167070"/>
                  <a:pt x="330724" y="167070"/>
                </a:cubicBezTo>
                <a:close/>
                <a:moveTo>
                  <a:pt x="330724" y="148103"/>
                </a:moveTo>
                <a:cubicBezTo>
                  <a:pt x="292804" y="148103"/>
                  <a:pt x="262065" y="178844"/>
                  <a:pt x="262065" y="216763"/>
                </a:cubicBezTo>
                <a:cubicBezTo>
                  <a:pt x="262065" y="254683"/>
                  <a:pt x="292804" y="285422"/>
                  <a:pt x="330724" y="285422"/>
                </a:cubicBezTo>
                <a:cubicBezTo>
                  <a:pt x="368643" y="285422"/>
                  <a:pt x="399384" y="254683"/>
                  <a:pt x="399384" y="216763"/>
                </a:cubicBezTo>
                <a:cubicBezTo>
                  <a:pt x="399384" y="178844"/>
                  <a:pt x="368643" y="148103"/>
                  <a:pt x="330724" y="148103"/>
                </a:cubicBezTo>
                <a:close/>
                <a:moveTo>
                  <a:pt x="572532" y="124957"/>
                </a:moveTo>
                <a:cubicBezTo>
                  <a:pt x="574530" y="145832"/>
                  <a:pt x="592309" y="161866"/>
                  <a:pt x="613835" y="161866"/>
                </a:cubicBezTo>
                <a:cubicBezTo>
                  <a:pt x="635237" y="161866"/>
                  <a:pt x="652936" y="146017"/>
                  <a:pt x="655069" y="125308"/>
                </a:cubicBezTo>
                <a:cubicBezTo>
                  <a:pt x="670604" y="129197"/>
                  <a:pt x="685242" y="135320"/>
                  <a:pt x="698419" y="143668"/>
                </a:cubicBezTo>
                <a:cubicBezTo>
                  <a:pt x="685142" y="159654"/>
                  <a:pt x="686180" y="183343"/>
                  <a:pt x="701106" y="198637"/>
                </a:cubicBezTo>
                <a:cubicBezTo>
                  <a:pt x="716146" y="214048"/>
                  <a:pt x="740052" y="215569"/>
                  <a:pt x="756388" y="202404"/>
                </a:cubicBezTo>
                <a:cubicBezTo>
                  <a:pt x="763616" y="214790"/>
                  <a:pt x="769210" y="228235"/>
                  <a:pt x="772726" y="242499"/>
                </a:cubicBezTo>
                <a:cubicBezTo>
                  <a:pt x="751834" y="244481"/>
                  <a:pt x="735779" y="262271"/>
                  <a:pt x="735779" y="283810"/>
                </a:cubicBezTo>
                <a:cubicBezTo>
                  <a:pt x="735779" y="305338"/>
                  <a:pt x="751819" y="323120"/>
                  <a:pt x="772698" y="325115"/>
                </a:cubicBezTo>
                <a:cubicBezTo>
                  <a:pt x="769137" y="339190"/>
                  <a:pt x="763507" y="352441"/>
                  <a:pt x="756155" y="364597"/>
                </a:cubicBezTo>
                <a:cubicBezTo>
                  <a:pt x="739821" y="351775"/>
                  <a:pt x="716190" y="353453"/>
                  <a:pt x="701309" y="368773"/>
                </a:cubicBezTo>
                <a:cubicBezTo>
                  <a:pt x="686391" y="384132"/>
                  <a:pt x="685436" y="407887"/>
                  <a:pt x="698824" y="423848"/>
                </a:cubicBezTo>
                <a:cubicBezTo>
                  <a:pt x="685503" y="432313"/>
                  <a:pt x="670823" y="438748"/>
                  <a:pt x="655137" y="442652"/>
                </a:cubicBezTo>
                <a:cubicBezTo>
                  <a:pt x="653135" y="421783"/>
                  <a:pt x="635358" y="405753"/>
                  <a:pt x="613835" y="405753"/>
                </a:cubicBezTo>
                <a:cubicBezTo>
                  <a:pt x="592434" y="405753"/>
                  <a:pt x="574735" y="421603"/>
                  <a:pt x="572603" y="442313"/>
                </a:cubicBezTo>
                <a:cubicBezTo>
                  <a:pt x="557068" y="438423"/>
                  <a:pt x="542430" y="432301"/>
                  <a:pt x="529251" y="423952"/>
                </a:cubicBezTo>
                <a:cubicBezTo>
                  <a:pt x="542530" y="407966"/>
                  <a:pt x="541492" y="384276"/>
                  <a:pt x="526566" y="368981"/>
                </a:cubicBezTo>
                <a:cubicBezTo>
                  <a:pt x="511526" y="353571"/>
                  <a:pt x="487618" y="352051"/>
                  <a:pt x="471283" y="365215"/>
                </a:cubicBezTo>
                <a:cubicBezTo>
                  <a:pt x="464055" y="352829"/>
                  <a:pt x="458461" y="339383"/>
                  <a:pt x="454944" y="325121"/>
                </a:cubicBezTo>
                <a:cubicBezTo>
                  <a:pt x="475836" y="323137"/>
                  <a:pt x="491891" y="305349"/>
                  <a:pt x="491891" y="283810"/>
                </a:cubicBezTo>
                <a:cubicBezTo>
                  <a:pt x="491891" y="262409"/>
                  <a:pt x="476042" y="244709"/>
                  <a:pt x="455333" y="242576"/>
                </a:cubicBezTo>
                <a:cubicBezTo>
                  <a:pt x="458856" y="228501"/>
                  <a:pt x="464215" y="215160"/>
                  <a:pt x="471605" y="203080"/>
                </a:cubicBezTo>
                <a:cubicBezTo>
                  <a:pt x="487931" y="215839"/>
                  <a:pt x="511508" y="214140"/>
                  <a:pt x="526362" y="198847"/>
                </a:cubicBezTo>
                <a:cubicBezTo>
                  <a:pt x="541308" y="183459"/>
                  <a:pt x="542239" y="159643"/>
                  <a:pt x="528782" y="143677"/>
                </a:cubicBezTo>
                <a:cubicBezTo>
                  <a:pt x="542129" y="135264"/>
                  <a:pt x="556830" y="128849"/>
                  <a:pt x="572532" y="124957"/>
                </a:cubicBezTo>
                <a:close/>
                <a:moveTo>
                  <a:pt x="300081" y="98917"/>
                </a:moveTo>
                <a:cubicBezTo>
                  <a:pt x="301563" y="114404"/>
                  <a:pt x="314754" y="126299"/>
                  <a:pt x="330724" y="126299"/>
                </a:cubicBezTo>
                <a:cubicBezTo>
                  <a:pt x="346601" y="126299"/>
                  <a:pt x="359731" y="114540"/>
                  <a:pt x="361313" y="99176"/>
                </a:cubicBezTo>
                <a:cubicBezTo>
                  <a:pt x="372838" y="102062"/>
                  <a:pt x="383698" y="106604"/>
                  <a:pt x="393474" y="112797"/>
                </a:cubicBezTo>
                <a:cubicBezTo>
                  <a:pt x="383624" y="124657"/>
                  <a:pt x="384394" y="142233"/>
                  <a:pt x="395467" y="153578"/>
                </a:cubicBezTo>
                <a:cubicBezTo>
                  <a:pt x="406625" y="165012"/>
                  <a:pt x="424362" y="166141"/>
                  <a:pt x="436481" y="156375"/>
                </a:cubicBezTo>
                <a:cubicBezTo>
                  <a:pt x="441843" y="165563"/>
                  <a:pt x="445994" y="175538"/>
                  <a:pt x="448602" y="186119"/>
                </a:cubicBezTo>
                <a:cubicBezTo>
                  <a:pt x="433102" y="187590"/>
                  <a:pt x="421192" y="200787"/>
                  <a:pt x="421192" y="216767"/>
                </a:cubicBezTo>
                <a:cubicBezTo>
                  <a:pt x="421192" y="232738"/>
                  <a:pt x="433091" y="245931"/>
                  <a:pt x="448580" y="247410"/>
                </a:cubicBezTo>
                <a:cubicBezTo>
                  <a:pt x="445939" y="257852"/>
                  <a:pt x="441763" y="267684"/>
                  <a:pt x="436307" y="276701"/>
                </a:cubicBezTo>
                <a:cubicBezTo>
                  <a:pt x="424190" y="267189"/>
                  <a:pt x="406659" y="268433"/>
                  <a:pt x="395619" y="279799"/>
                </a:cubicBezTo>
                <a:cubicBezTo>
                  <a:pt x="384551" y="291194"/>
                  <a:pt x="383842" y="308819"/>
                  <a:pt x="393775" y="320659"/>
                </a:cubicBezTo>
                <a:cubicBezTo>
                  <a:pt x="383893" y="326939"/>
                  <a:pt x="373001" y="331713"/>
                  <a:pt x="361365" y="334609"/>
                </a:cubicBezTo>
                <a:cubicBezTo>
                  <a:pt x="359880" y="319126"/>
                  <a:pt x="346691" y="307235"/>
                  <a:pt x="330724" y="307235"/>
                </a:cubicBezTo>
                <a:cubicBezTo>
                  <a:pt x="314846" y="307235"/>
                  <a:pt x="301716" y="318994"/>
                  <a:pt x="300134" y="334357"/>
                </a:cubicBezTo>
                <a:cubicBezTo>
                  <a:pt x="288610" y="331472"/>
                  <a:pt x="277749" y="326930"/>
                  <a:pt x="267973" y="320736"/>
                </a:cubicBezTo>
                <a:cubicBezTo>
                  <a:pt x="277823" y="308877"/>
                  <a:pt x="277053" y="291301"/>
                  <a:pt x="265980" y="279955"/>
                </a:cubicBezTo>
                <a:cubicBezTo>
                  <a:pt x="254822" y="268521"/>
                  <a:pt x="237086" y="267394"/>
                  <a:pt x="224967" y="277159"/>
                </a:cubicBezTo>
                <a:cubicBezTo>
                  <a:pt x="219604" y="267972"/>
                  <a:pt x="215454" y="257996"/>
                  <a:pt x="212845" y="247415"/>
                </a:cubicBezTo>
                <a:cubicBezTo>
                  <a:pt x="228345" y="245944"/>
                  <a:pt x="240255" y="232746"/>
                  <a:pt x="240255" y="216767"/>
                </a:cubicBezTo>
                <a:cubicBezTo>
                  <a:pt x="240255" y="200890"/>
                  <a:pt x="228497" y="187760"/>
                  <a:pt x="213134" y="186177"/>
                </a:cubicBezTo>
                <a:cubicBezTo>
                  <a:pt x="215748" y="175734"/>
                  <a:pt x="219724" y="165837"/>
                  <a:pt x="225206" y="156875"/>
                </a:cubicBezTo>
                <a:cubicBezTo>
                  <a:pt x="237318" y="166340"/>
                  <a:pt x="254808" y="165081"/>
                  <a:pt x="265828" y="153735"/>
                </a:cubicBezTo>
                <a:cubicBezTo>
                  <a:pt x="276917" y="142319"/>
                  <a:pt x="277608" y="124649"/>
                  <a:pt x="267624" y="112805"/>
                </a:cubicBezTo>
                <a:cubicBezTo>
                  <a:pt x="277526" y="106563"/>
                  <a:pt x="288432" y="101806"/>
                  <a:pt x="300081" y="98917"/>
                </a:cubicBezTo>
                <a:close/>
                <a:moveTo>
                  <a:pt x="481005" y="28"/>
                </a:moveTo>
                <a:cubicBezTo>
                  <a:pt x="297345" y="2670"/>
                  <a:pt x="151121" y="110135"/>
                  <a:pt x="116327" y="219362"/>
                </a:cubicBezTo>
                <a:cubicBezTo>
                  <a:pt x="81533" y="328589"/>
                  <a:pt x="117208" y="236539"/>
                  <a:pt x="66118" y="369989"/>
                </a:cubicBezTo>
                <a:cubicBezTo>
                  <a:pt x="59952" y="426805"/>
                  <a:pt x="100912" y="418877"/>
                  <a:pt x="89901" y="459837"/>
                </a:cubicBezTo>
                <a:cubicBezTo>
                  <a:pt x="78891" y="500797"/>
                  <a:pt x="2255" y="582717"/>
                  <a:pt x="53" y="615750"/>
                </a:cubicBezTo>
                <a:cubicBezTo>
                  <a:pt x="-2149" y="648782"/>
                  <a:pt x="64356" y="640414"/>
                  <a:pt x="76688" y="658031"/>
                </a:cubicBezTo>
                <a:cubicBezTo>
                  <a:pt x="89021" y="675648"/>
                  <a:pt x="71844" y="707800"/>
                  <a:pt x="74046" y="721453"/>
                </a:cubicBezTo>
                <a:cubicBezTo>
                  <a:pt x="76248" y="735107"/>
                  <a:pt x="88580" y="734666"/>
                  <a:pt x="89901" y="739951"/>
                </a:cubicBezTo>
                <a:cubicBezTo>
                  <a:pt x="91223" y="745236"/>
                  <a:pt x="76248" y="744356"/>
                  <a:pt x="81974" y="753164"/>
                </a:cubicBezTo>
                <a:cubicBezTo>
                  <a:pt x="87699" y="761973"/>
                  <a:pt x="115447" y="766377"/>
                  <a:pt x="124255" y="792803"/>
                </a:cubicBezTo>
                <a:cubicBezTo>
                  <a:pt x="133064" y="819229"/>
                  <a:pt x="61273" y="883972"/>
                  <a:pt x="134825" y="911719"/>
                </a:cubicBezTo>
                <a:cubicBezTo>
                  <a:pt x="208377" y="939466"/>
                  <a:pt x="304392" y="882651"/>
                  <a:pt x="327734" y="927575"/>
                </a:cubicBezTo>
                <a:cubicBezTo>
                  <a:pt x="351077" y="972499"/>
                  <a:pt x="380146" y="1050895"/>
                  <a:pt x="274883" y="1181263"/>
                </a:cubicBezTo>
                <a:cubicBezTo>
                  <a:pt x="425951" y="1179501"/>
                  <a:pt x="717957" y="1191393"/>
                  <a:pt x="845682" y="1181263"/>
                </a:cubicBezTo>
                <a:cubicBezTo>
                  <a:pt x="814852" y="1086570"/>
                  <a:pt x="714874" y="995401"/>
                  <a:pt x="716195" y="866795"/>
                </a:cubicBezTo>
                <a:cubicBezTo>
                  <a:pt x="717516" y="738189"/>
                  <a:pt x="826743" y="630724"/>
                  <a:pt x="853610" y="409628"/>
                </a:cubicBezTo>
                <a:cubicBezTo>
                  <a:pt x="880476" y="188532"/>
                  <a:pt x="664665" y="-2616"/>
                  <a:pt x="481005" y="28"/>
                </a:cubicBezTo>
                <a:close/>
              </a:path>
            </a:pathLst>
          </a:custGeom>
          <a:solidFill>
            <a:schemeClr val="bg2"/>
          </a:solidFill>
          <a:ln w="9525">
            <a:noFill/>
            <a:round/>
            <a:headEnd/>
            <a:tailEnd/>
          </a:ln>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559"/>
            <a:endParaRPr lang="en-US" sz="1836" err="1">
              <a:ln>
                <a:solidFill>
                  <a:srgbClr val="505050">
                    <a:alpha val="0"/>
                  </a:srgbClr>
                </a:solidFill>
              </a:ln>
              <a:solidFill>
                <a:srgbClr val="505050"/>
              </a:solidFill>
              <a:latin typeface="Segoe UI"/>
            </a:endParaRPr>
          </a:p>
        </p:txBody>
      </p:sp>
      <p:grpSp>
        <p:nvGrpSpPr>
          <p:cNvPr id="20" name="Group 8">
            <a:extLst>
              <a:ext uri="{FF2B5EF4-FFF2-40B4-BE49-F238E27FC236}">
                <a16:creationId xmlns:a16="http://schemas.microsoft.com/office/drawing/2014/main" id="{70A2517C-0E5D-4679-B05C-FCD3063CBA1F}"/>
              </a:ext>
            </a:extLst>
          </p:cNvPr>
          <p:cNvGrpSpPr>
            <a:grpSpLocks noChangeAspect="1"/>
          </p:cNvGrpSpPr>
          <p:nvPr/>
        </p:nvGrpSpPr>
        <p:grpSpPr bwMode="auto">
          <a:xfrm>
            <a:off x="4520324" y="1299802"/>
            <a:ext cx="558891" cy="594524"/>
            <a:chOff x="3691" y="2002"/>
            <a:chExt cx="298" cy="317"/>
          </a:xfrm>
          <a:solidFill>
            <a:schemeClr val="accent1"/>
          </a:solidFill>
        </p:grpSpPr>
        <p:sp>
          <p:nvSpPr>
            <p:cNvPr id="21" name="Freeform 9">
              <a:extLst>
                <a:ext uri="{FF2B5EF4-FFF2-40B4-BE49-F238E27FC236}">
                  <a16:creationId xmlns:a16="http://schemas.microsoft.com/office/drawing/2014/main" id="{A876646D-1B9E-44A9-86C0-3EFFA48DC17F}"/>
                </a:ext>
              </a:extLst>
            </p:cNvPr>
            <p:cNvSpPr>
              <a:spLocks noEditPoints="1"/>
            </p:cNvSpPr>
            <p:nvPr/>
          </p:nvSpPr>
          <p:spPr bwMode="auto">
            <a:xfrm>
              <a:off x="3691" y="2002"/>
              <a:ext cx="298" cy="317"/>
            </a:xfrm>
            <a:custGeom>
              <a:avLst/>
              <a:gdLst>
                <a:gd name="T0" fmla="*/ 390 w 920"/>
                <a:gd name="T1" fmla="*/ 0 h 987"/>
                <a:gd name="T2" fmla="*/ 0 w 920"/>
                <a:gd name="T3" fmla="*/ 388 h 987"/>
                <a:gd name="T4" fmla="*/ 388 w 920"/>
                <a:gd name="T5" fmla="*/ 777 h 987"/>
                <a:gd name="T6" fmla="*/ 590 w 920"/>
                <a:gd name="T7" fmla="*/ 721 h 987"/>
                <a:gd name="T8" fmla="*/ 596 w 920"/>
                <a:gd name="T9" fmla="*/ 718 h 987"/>
                <a:gd name="T10" fmla="*/ 606 w 920"/>
                <a:gd name="T11" fmla="*/ 731 h 987"/>
                <a:gd name="T12" fmla="*/ 718 w 920"/>
                <a:gd name="T13" fmla="*/ 875 h 987"/>
                <a:gd name="T14" fmla="*/ 726 w 920"/>
                <a:gd name="T15" fmla="*/ 884 h 987"/>
                <a:gd name="T16" fmla="*/ 788 w 920"/>
                <a:gd name="T17" fmla="*/ 964 h 987"/>
                <a:gd name="T18" fmla="*/ 832 w 920"/>
                <a:gd name="T19" fmla="*/ 987 h 987"/>
                <a:gd name="T20" fmla="*/ 835 w 920"/>
                <a:gd name="T21" fmla="*/ 987 h 987"/>
                <a:gd name="T22" fmla="*/ 867 w 920"/>
                <a:gd name="T23" fmla="*/ 974 h 987"/>
                <a:gd name="T24" fmla="*/ 891 w 920"/>
                <a:gd name="T25" fmla="*/ 953 h 987"/>
                <a:gd name="T26" fmla="*/ 899 w 920"/>
                <a:gd name="T27" fmla="*/ 947 h 987"/>
                <a:gd name="T28" fmla="*/ 920 w 920"/>
                <a:gd name="T29" fmla="*/ 907 h 987"/>
                <a:gd name="T30" fmla="*/ 902 w 920"/>
                <a:gd name="T31" fmla="*/ 864 h 987"/>
                <a:gd name="T32" fmla="*/ 812 w 920"/>
                <a:gd name="T33" fmla="*/ 772 h 987"/>
                <a:gd name="T34" fmla="*/ 763 w 920"/>
                <a:gd name="T35" fmla="*/ 723 h 987"/>
                <a:gd name="T36" fmla="*/ 737 w 920"/>
                <a:gd name="T37" fmla="*/ 697 h 987"/>
                <a:gd name="T38" fmla="*/ 726 w 920"/>
                <a:gd name="T39" fmla="*/ 686 h 987"/>
                <a:gd name="T40" fmla="*/ 696 w 920"/>
                <a:gd name="T41" fmla="*/ 656 h 987"/>
                <a:gd name="T42" fmla="*/ 684 w 920"/>
                <a:gd name="T43" fmla="*/ 644 h 987"/>
                <a:gd name="T44" fmla="*/ 689 w 920"/>
                <a:gd name="T45" fmla="*/ 640 h 987"/>
                <a:gd name="T46" fmla="*/ 779 w 920"/>
                <a:gd name="T47" fmla="*/ 392 h 987"/>
                <a:gd name="T48" fmla="*/ 390 w 920"/>
                <a:gd name="T49" fmla="*/ 0 h 987"/>
                <a:gd name="T50" fmla="*/ 390 w 920"/>
                <a:gd name="T51" fmla="*/ 702 h 987"/>
                <a:gd name="T52" fmla="*/ 76 w 920"/>
                <a:gd name="T53" fmla="*/ 388 h 987"/>
                <a:gd name="T54" fmla="*/ 390 w 920"/>
                <a:gd name="T55" fmla="*/ 75 h 987"/>
                <a:gd name="T56" fmla="*/ 704 w 920"/>
                <a:gd name="T57" fmla="*/ 388 h 987"/>
                <a:gd name="T58" fmla="*/ 390 w 920"/>
                <a:gd name="T59" fmla="*/ 702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20" h="987">
                  <a:moveTo>
                    <a:pt x="390" y="0"/>
                  </a:moveTo>
                  <a:cubicBezTo>
                    <a:pt x="176" y="0"/>
                    <a:pt x="0" y="174"/>
                    <a:pt x="0" y="388"/>
                  </a:cubicBezTo>
                  <a:cubicBezTo>
                    <a:pt x="0" y="603"/>
                    <a:pt x="174" y="777"/>
                    <a:pt x="388" y="777"/>
                  </a:cubicBezTo>
                  <a:cubicBezTo>
                    <a:pt x="459" y="777"/>
                    <a:pt x="529" y="758"/>
                    <a:pt x="590" y="721"/>
                  </a:cubicBezTo>
                  <a:lnTo>
                    <a:pt x="596" y="718"/>
                  </a:lnTo>
                  <a:lnTo>
                    <a:pt x="606" y="731"/>
                  </a:lnTo>
                  <a:cubicBezTo>
                    <a:pt x="643" y="779"/>
                    <a:pt x="681" y="827"/>
                    <a:pt x="718" y="875"/>
                  </a:cubicBezTo>
                  <a:lnTo>
                    <a:pt x="726" y="884"/>
                  </a:lnTo>
                  <a:cubicBezTo>
                    <a:pt x="747" y="912"/>
                    <a:pt x="768" y="937"/>
                    <a:pt x="788" y="964"/>
                  </a:cubicBezTo>
                  <a:cubicBezTo>
                    <a:pt x="800" y="979"/>
                    <a:pt x="812" y="985"/>
                    <a:pt x="832" y="987"/>
                  </a:cubicBezTo>
                  <a:cubicBezTo>
                    <a:pt x="833" y="987"/>
                    <a:pt x="835" y="987"/>
                    <a:pt x="835" y="987"/>
                  </a:cubicBezTo>
                  <a:cubicBezTo>
                    <a:pt x="846" y="987"/>
                    <a:pt x="857" y="982"/>
                    <a:pt x="867" y="974"/>
                  </a:cubicBezTo>
                  <a:cubicBezTo>
                    <a:pt x="875" y="968"/>
                    <a:pt x="883" y="961"/>
                    <a:pt x="891" y="953"/>
                  </a:cubicBezTo>
                  <a:lnTo>
                    <a:pt x="899" y="947"/>
                  </a:lnTo>
                  <a:cubicBezTo>
                    <a:pt x="912" y="936"/>
                    <a:pt x="918" y="921"/>
                    <a:pt x="920" y="907"/>
                  </a:cubicBezTo>
                  <a:cubicBezTo>
                    <a:pt x="920" y="892"/>
                    <a:pt x="913" y="876"/>
                    <a:pt x="902" y="864"/>
                  </a:cubicBezTo>
                  <a:cubicBezTo>
                    <a:pt x="873" y="833"/>
                    <a:pt x="843" y="803"/>
                    <a:pt x="812" y="772"/>
                  </a:cubicBezTo>
                  <a:lnTo>
                    <a:pt x="763" y="723"/>
                  </a:lnTo>
                  <a:cubicBezTo>
                    <a:pt x="755" y="715"/>
                    <a:pt x="745" y="705"/>
                    <a:pt x="737" y="697"/>
                  </a:cubicBezTo>
                  <a:lnTo>
                    <a:pt x="726" y="686"/>
                  </a:lnTo>
                  <a:cubicBezTo>
                    <a:pt x="716" y="676"/>
                    <a:pt x="705" y="665"/>
                    <a:pt x="696" y="656"/>
                  </a:cubicBezTo>
                  <a:lnTo>
                    <a:pt x="684" y="644"/>
                  </a:lnTo>
                  <a:lnTo>
                    <a:pt x="689" y="640"/>
                  </a:lnTo>
                  <a:cubicBezTo>
                    <a:pt x="747" y="571"/>
                    <a:pt x="779" y="483"/>
                    <a:pt x="779" y="392"/>
                  </a:cubicBezTo>
                  <a:cubicBezTo>
                    <a:pt x="779" y="174"/>
                    <a:pt x="604" y="0"/>
                    <a:pt x="390" y="0"/>
                  </a:cubicBezTo>
                  <a:close/>
                  <a:moveTo>
                    <a:pt x="390" y="702"/>
                  </a:moveTo>
                  <a:cubicBezTo>
                    <a:pt x="217" y="702"/>
                    <a:pt x="76" y="561"/>
                    <a:pt x="76" y="388"/>
                  </a:cubicBezTo>
                  <a:cubicBezTo>
                    <a:pt x="76" y="216"/>
                    <a:pt x="217" y="75"/>
                    <a:pt x="390" y="75"/>
                  </a:cubicBezTo>
                  <a:cubicBezTo>
                    <a:pt x="563" y="75"/>
                    <a:pt x="704" y="216"/>
                    <a:pt x="704" y="388"/>
                  </a:cubicBezTo>
                  <a:cubicBezTo>
                    <a:pt x="704" y="561"/>
                    <a:pt x="563" y="702"/>
                    <a:pt x="390" y="702"/>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22" name="Freeform 10">
              <a:extLst>
                <a:ext uri="{FF2B5EF4-FFF2-40B4-BE49-F238E27FC236}">
                  <a16:creationId xmlns:a16="http://schemas.microsoft.com/office/drawing/2014/main" id="{E34AF41E-73F3-4165-A5BE-9E878C86FE79}"/>
                </a:ext>
              </a:extLst>
            </p:cNvPr>
            <p:cNvSpPr>
              <a:spLocks noEditPoints="1"/>
            </p:cNvSpPr>
            <p:nvPr/>
          </p:nvSpPr>
          <p:spPr bwMode="auto">
            <a:xfrm>
              <a:off x="3756" y="2117"/>
              <a:ext cx="34" cy="63"/>
            </a:xfrm>
            <a:custGeom>
              <a:avLst/>
              <a:gdLst>
                <a:gd name="T0" fmla="*/ 105 w 105"/>
                <a:gd name="T1" fmla="*/ 46 h 195"/>
                <a:gd name="T2" fmla="*/ 105 w 105"/>
                <a:gd name="T3" fmla="*/ 179 h 195"/>
                <a:gd name="T4" fmla="*/ 89 w 105"/>
                <a:gd name="T5" fmla="*/ 195 h 195"/>
                <a:gd name="T6" fmla="*/ 16 w 105"/>
                <a:gd name="T7" fmla="*/ 195 h 195"/>
                <a:gd name="T8" fmla="*/ 0 w 105"/>
                <a:gd name="T9" fmla="*/ 179 h 195"/>
                <a:gd name="T10" fmla="*/ 0 w 105"/>
                <a:gd name="T11" fmla="*/ 16 h 195"/>
                <a:gd name="T12" fmla="*/ 16 w 105"/>
                <a:gd name="T13" fmla="*/ 0 h 195"/>
                <a:gd name="T14" fmla="*/ 89 w 105"/>
                <a:gd name="T15" fmla="*/ 0 h 195"/>
                <a:gd name="T16" fmla="*/ 105 w 105"/>
                <a:gd name="T17" fmla="*/ 16 h 195"/>
                <a:gd name="T18" fmla="*/ 105 w 105"/>
                <a:gd name="T19" fmla="*/ 46 h 195"/>
                <a:gd name="T20" fmla="*/ 78 w 105"/>
                <a:gd name="T21" fmla="*/ 27 h 195"/>
                <a:gd name="T22" fmla="*/ 25 w 105"/>
                <a:gd name="T23" fmla="*/ 27 h 195"/>
                <a:gd name="T24" fmla="*/ 25 w 105"/>
                <a:gd name="T25" fmla="*/ 170 h 195"/>
                <a:gd name="T26" fmla="*/ 78 w 105"/>
                <a:gd name="T27" fmla="*/ 170 h 195"/>
                <a:gd name="T28" fmla="*/ 78 w 105"/>
                <a:gd name="T29" fmla="*/ 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5" h="195">
                  <a:moveTo>
                    <a:pt x="105" y="46"/>
                  </a:moveTo>
                  <a:cubicBezTo>
                    <a:pt x="105" y="80"/>
                    <a:pt x="105" y="146"/>
                    <a:pt x="105" y="179"/>
                  </a:cubicBezTo>
                  <a:cubicBezTo>
                    <a:pt x="105" y="190"/>
                    <a:pt x="100" y="195"/>
                    <a:pt x="89" y="195"/>
                  </a:cubicBezTo>
                  <a:cubicBezTo>
                    <a:pt x="65" y="195"/>
                    <a:pt x="41" y="195"/>
                    <a:pt x="16" y="195"/>
                  </a:cubicBezTo>
                  <a:cubicBezTo>
                    <a:pt x="6" y="195"/>
                    <a:pt x="0" y="190"/>
                    <a:pt x="0" y="179"/>
                  </a:cubicBezTo>
                  <a:cubicBezTo>
                    <a:pt x="0" y="110"/>
                    <a:pt x="0" y="85"/>
                    <a:pt x="0" y="16"/>
                  </a:cubicBezTo>
                  <a:cubicBezTo>
                    <a:pt x="0" y="6"/>
                    <a:pt x="4" y="0"/>
                    <a:pt x="16" y="0"/>
                  </a:cubicBezTo>
                  <a:cubicBezTo>
                    <a:pt x="40" y="0"/>
                    <a:pt x="65" y="0"/>
                    <a:pt x="89" y="0"/>
                  </a:cubicBezTo>
                  <a:cubicBezTo>
                    <a:pt x="99" y="0"/>
                    <a:pt x="105" y="6"/>
                    <a:pt x="105" y="16"/>
                  </a:cubicBezTo>
                  <a:cubicBezTo>
                    <a:pt x="105" y="51"/>
                    <a:pt x="105" y="11"/>
                    <a:pt x="105" y="46"/>
                  </a:cubicBezTo>
                  <a:close/>
                  <a:moveTo>
                    <a:pt x="78" y="27"/>
                  </a:moveTo>
                  <a:cubicBezTo>
                    <a:pt x="60" y="27"/>
                    <a:pt x="43" y="27"/>
                    <a:pt x="25" y="27"/>
                  </a:cubicBezTo>
                  <a:cubicBezTo>
                    <a:pt x="25" y="88"/>
                    <a:pt x="25" y="107"/>
                    <a:pt x="25" y="170"/>
                  </a:cubicBezTo>
                  <a:cubicBezTo>
                    <a:pt x="43" y="170"/>
                    <a:pt x="60" y="170"/>
                    <a:pt x="78" y="170"/>
                  </a:cubicBezTo>
                  <a:cubicBezTo>
                    <a:pt x="78" y="107"/>
                    <a:pt x="78" y="88"/>
                    <a:pt x="78" y="27"/>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23" name="Freeform 11">
              <a:extLst>
                <a:ext uri="{FF2B5EF4-FFF2-40B4-BE49-F238E27FC236}">
                  <a16:creationId xmlns:a16="http://schemas.microsoft.com/office/drawing/2014/main" id="{3129EC69-555F-4E55-94AE-0104BC0ACEBB}"/>
                </a:ext>
              </a:extLst>
            </p:cNvPr>
            <p:cNvSpPr>
              <a:spLocks/>
            </p:cNvSpPr>
            <p:nvPr/>
          </p:nvSpPr>
          <p:spPr bwMode="auto">
            <a:xfrm>
              <a:off x="3847" y="2094"/>
              <a:ext cx="34" cy="85"/>
            </a:xfrm>
            <a:custGeom>
              <a:avLst/>
              <a:gdLst>
                <a:gd name="T0" fmla="*/ 105 w 105"/>
                <a:gd name="T1" fmla="*/ 201 h 264"/>
                <a:gd name="T2" fmla="*/ 105 w 105"/>
                <a:gd name="T3" fmla="*/ 174 h 264"/>
                <a:gd name="T4" fmla="*/ 105 w 105"/>
                <a:gd name="T5" fmla="*/ 158 h 264"/>
                <a:gd name="T6" fmla="*/ 105 w 105"/>
                <a:gd name="T7" fmla="*/ 131 h 264"/>
                <a:gd name="T8" fmla="*/ 105 w 105"/>
                <a:gd name="T9" fmla="*/ 115 h 264"/>
                <a:gd name="T10" fmla="*/ 105 w 105"/>
                <a:gd name="T11" fmla="*/ 88 h 264"/>
                <a:gd name="T12" fmla="*/ 105 w 105"/>
                <a:gd name="T13" fmla="*/ 72 h 264"/>
                <a:gd name="T14" fmla="*/ 105 w 105"/>
                <a:gd name="T15" fmla="*/ 44 h 264"/>
                <a:gd name="T16" fmla="*/ 105 w 105"/>
                <a:gd name="T17" fmla="*/ 44 h 264"/>
                <a:gd name="T18" fmla="*/ 105 w 105"/>
                <a:gd name="T19" fmla="*/ 30 h 264"/>
                <a:gd name="T20" fmla="*/ 105 w 105"/>
                <a:gd name="T21" fmla="*/ 30 h 264"/>
                <a:gd name="T22" fmla="*/ 105 w 105"/>
                <a:gd name="T23" fmla="*/ 30 h 264"/>
                <a:gd name="T24" fmla="*/ 105 w 105"/>
                <a:gd name="T25" fmla="*/ 28 h 264"/>
                <a:gd name="T26" fmla="*/ 105 w 105"/>
                <a:gd name="T27" fmla="*/ 16 h 264"/>
                <a:gd name="T28" fmla="*/ 89 w 105"/>
                <a:gd name="T29" fmla="*/ 0 h 264"/>
                <a:gd name="T30" fmla="*/ 65 w 105"/>
                <a:gd name="T31" fmla="*/ 0 h 264"/>
                <a:gd name="T32" fmla="*/ 43 w 105"/>
                <a:gd name="T33" fmla="*/ 0 h 264"/>
                <a:gd name="T34" fmla="*/ 16 w 105"/>
                <a:gd name="T35" fmla="*/ 0 h 264"/>
                <a:gd name="T36" fmla="*/ 6 w 105"/>
                <a:gd name="T37" fmla="*/ 1 h 264"/>
                <a:gd name="T38" fmla="*/ 0 w 105"/>
                <a:gd name="T39" fmla="*/ 12 h 264"/>
                <a:gd name="T40" fmla="*/ 0 w 105"/>
                <a:gd name="T41" fmla="*/ 14 h 264"/>
                <a:gd name="T42" fmla="*/ 0 w 105"/>
                <a:gd name="T43" fmla="*/ 41 h 264"/>
                <a:gd name="T44" fmla="*/ 0 w 105"/>
                <a:gd name="T45" fmla="*/ 57 h 264"/>
                <a:gd name="T46" fmla="*/ 0 w 105"/>
                <a:gd name="T47" fmla="*/ 84 h 264"/>
                <a:gd name="T48" fmla="*/ 0 w 105"/>
                <a:gd name="T49" fmla="*/ 100 h 264"/>
                <a:gd name="T50" fmla="*/ 0 w 105"/>
                <a:gd name="T51" fmla="*/ 128 h 264"/>
                <a:gd name="T52" fmla="*/ 0 w 105"/>
                <a:gd name="T53" fmla="*/ 128 h 264"/>
                <a:gd name="T54" fmla="*/ 0 w 105"/>
                <a:gd name="T55" fmla="*/ 144 h 264"/>
                <a:gd name="T56" fmla="*/ 0 w 105"/>
                <a:gd name="T57" fmla="*/ 171 h 264"/>
                <a:gd name="T58" fmla="*/ 0 w 105"/>
                <a:gd name="T59" fmla="*/ 187 h 264"/>
                <a:gd name="T60" fmla="*/ 0 w 105"/>
                <a:gd name="T61" fmla="*/ 214 h 264"/>
                <a:gd name="T62" fmla="*/ 0 w 105"/>
                <a:gd name="T63" fmla="*/ 230 h 264"/>
                <a:gd name="T64" fmla="*/ 0 w 105"/>
                <a:gd name="T65" fmla="*/ 248 h 264"/>
                <a:gd name="T66" fmla="*/ 16 w 105"/>
                <a:gd name="T67" fmla="*/ 264 h 264"/>
                <a:gd name="T68" fmla="*/ 46 w 105"/>
                <a:gd name="T69" fmla="*/ 264 h 264"/>
                <a:gd name="T70" fmla="*/ 69 w 105"/>
                <a:gd name="T71" fmla="*/ 264 h 264"/>
                <a:gd name="T72" fmla="*/ 89 w 105"/>
                <a:gd name="T73" fmla="*/ 264 h 264"/>
                <a:gd name="T74" fmla="*/ 105 w 105"/>
                <a:gd name="T75" fmla="*/ 248 h 264"/>
                <a:gd name="T76" fmla="*/ 105 w 105"/>
                <a:gd name="T77" fmla="*/ 201 h 264"/>
                <a:gd name="T78" fmla="*/ 105 w 105"/>
                <a:gd name="T79" fmla="*/ 201 h 264"/>
                <a:gd name="T80" fmla="*/ 105 w 105"/>
                <a:gd name="T81" fmla="*/ 201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5" h="264">
                  <a:moveTo>
                    <a:pt x="105" y="201"/>
                  </a:moveTo>
                  <a:lnTo>
                    <a:pt x="105" y="174"/>
                  </a:lnTo>
                  <a:lnTo>
                    <a:pt x="105" y="158"/>
                  </a:lnTo>
                  <a:lnTo>
                    <a:pt x="105" y="131"/>
                  </a:lnTo>
                  <a:lnTo>
                    <a:pt x="105" y="115"/>
                  </a:lnTo>
                  <a:lnTo>
                    <a:pt x="105" y="88"/>
                  </a:lnTo>
                  <a:lnTo>
                    <a:pt x="105" y="72"/>
                  </a:lnTo>
                  <a:lnTo>
                    <a:pt x="105" y="44"/>
                  </a:lnTo>
                  <a:lnTo>
                    <a:pt x="105" y="44"/>
                  </a:lnTo>
                  <a:cubicBezTo>
                    <a:pt x="105" y="35"/>
                    <a:pt x="105" y="32"/>
                    <a:pt x="105" y="30"/>
                  </a:cubicBezTo>
                  <a:lnTo>
                    <a:pt x="105" y="30"/>
                  </a:lnTo>
                  <a:cubicBezTo>
                    <a:pt x="105" y="30"/>
                    <a:pt x="105" y="30"/>
                    <a:pt x="105" y="30"/>
                  </a:cubicBezTo>
                  <a:cubicBezTo>
                    <a:pt x="105" y="30"/>
                    <a:pt x="105" y="30"/>
                    <a:pt x="105" y="28"/>
                  </a:cubicBezTo>
                  <a:cubicBezTo>
                    <a:pt x="105" y="27"/>
                    <a:pt x="105" y="22"/>
                    <a:pt x="105" y="16"/>
                  </a:cubicBezTo>
                  <a:cubicBezTo>
                    <a:pt x="105" y="6"/>
                    <a:pt x="101" y="0"/>
                    <a:pt x="89" y="0"/>
                  </a:cubicBezTo>
                  <a:cubicBezTo>
                    <a:pt x="81" y="0"/>
                    <a:pt x="73" y="0"/>
                    <a:pt x="65" y="0"/>
                  </a:cubicBezTo>
                  <a:cubicBezTo>
                    <a:pt x="57" y="0"/>
                    <a:pt x="49" y="0"/>
                    <a:pt x="43" y="0"/>
                  </a:cubicBezTo>
                  <a:cubicBezTo>
                    <a:pt x="33" y="0"/>
                    <a:pt x="25" y="0"/>
                    <a:pt x="16" y="0"/>
                  </a:cubicBezTo>
                  <a:cubicBezTo>
                    <a:pt x="13" y="0"/>
                    <a:pt x="9" y="0"/>
                    <a:pt x="6" y="1"/>
                  </a:cubicBezTo>
                  <a:cubicBezTo>
                    <a:pt x="3" y="4"/>
                    <a:pt x="0" y="8"/>
                    <a:pt x="0" y="12"/>
                  </a:cubicBezTo>
                  <a:cubicBezTo>
                    <a:pt x="0" y="12"/>
                    <a:pt x="0" y="14"/>
                    <a:pt x="0" y="14"/>
                  </a:cubicBezTo>
                  <a:cubicBezTo>
                    <a:pt x="0" y="22"/>
                    <a:pt x="0" y="32"/>
                    <a:pt x="0" y="41"/>
                  </a:cubicBezTo>
                  <a:cubicBezTo>
                    <a:pt x="0" y="46"/>
                    <a:pt x="0" y="52"/>
                    <a:pt x="0" y="57"/>
                  </a:cubicBezTo>
                  <a:cubicBezTo>
                    <a:pt x="0" y="67"/>
                    <a:pt x="0" y="76"/>
                    <a:pt x="0" y="84"/>
                  </a:cubicBezTo>
                  <a:cubicBezTo>
                    <a:pt x="0" y="89"/>
                    <a:pt x="0" y="96"/>
                    <a:pt x="0" y="100"/>
                  </a:cubicBezTo>
                  <a:cubicBezTo>
                    <a:pt x="0" y="110"/>
                    <a:pt x="0" y="120"/>
                    <a:pt x="0" y="128"/>
                  </a:cubicBezTo>
                  <a:lnTo>
                    <a:pt x="0" y="128"/>
                  </a:lnTo>
                  <a:lnTo>
                    <a:pt x="0" y="144"/>
                  </a:lnTo>
                  <a:lnTo>
                    <a:pt x="0" y="171"/>
                  </a:lnTo>
                  <a:cubicBezTo>
                    <a:pt x="0" y="176"/>
                    <a:pt x="0" y="182"/>
                    <a:pt x="0" y="187"/>
                  </a:cubicBezTo>
                  <a:lnTo>
                    <a:pt x="0" y="214"/>
                  </a:lnTo>
                  <a:lnTo>
                    <a:pt x="0" y="230"/>
                  </a:lnTo>
                  <a:lnTo>
                    <a:pt x="0" y="248"/>
                  </a:lnTo>
                  <a:cubicBezTo>
                    <a:pt x="0" y="259"/>
                    <a:pt x="5" y="264"/>
                    <a:pt x="16" y="264"/>
                  </a:cubicBezTo>
                  <a:cubicBezTo>
                    <a:pt x="25" y="264"/>
                    <a:pt x="37" y="264"/>
                    <a:pt x="46" y="264"/>
                  </a:cubicBezTo>
                  <a:cubicBezTo>
                    <a:pt x="54" y="264"/>
                    <a:pt x="62" y="264"/>
                    <a:pt x="69" y="264"/>
                  </a:cubicBezTo>
                  <a:lnTo>
                    <a:pt x="89" y="264"/>
                  </a:lnTo>
                  <a:cubicBezTo>
                    <a:pt x="101" y="264"/>
                    <a:pt x="105" y="259"/>
                    <a:pt x="105" y="248"/>
                  </a:cubicBezTo>
                  <a:lnTo>
                    <a:pt x="105" y="201"/>
                  </a:lnTo>
                  <a:lnTo>
                    <a:pt x="105" y="201"/>
                  </a:lnTo>
                  <a:lnTo>
                    <a:pt x="105" y="201"/>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24" name="Freeform 12">
              <a:extLst>
                <a:ext uri="{FF2B5EF4-FFF2-40B4-BE49-F238E27FC236}">
                  <a16:creationId xmlns:a16="http://schemas.microsoft.com/office/drawing/2014/main" id="{2221565F-3A66-4818-AE16-510404DA73BA}"/>
                </a:ext>
              </a:extLst>
            </p:cNvPr>
            <p:cNvSpPr>
              <a:spLocks/>
            </p:cNvSpPr>
            <p:nvPr/>
          </p:nvSpPr>
          <p:spPr bwMode="auto">
            <a:xfrm>
              <a:off x="3803" y="2065"/>
              <a:ext cx="33" cy="40"/>
            </a:xfrm>
            <a:custGeom>
              <a:avLst/>
              <a:gdLst>
                <a:gd name="T0" fmla="*/ 104 w 104"/>
                <a:gd name="T1" fmla="*/ 33 h 126"/>
                <a:gd name="T2" fmla="*/ 104 w 104"/>
                <a:gd name="T3" fmla="*/ 0 h 126"/>
                <a:gd name="T4" fmla="*/ 0 w 104"/>
                <a:gd name="T5" fmla="*/ 93 h 126"/>
                <a:gd name="T6" fmla="*/ 0 w 104"/>
                <a:gd name="T7" fmla="*/ 126 h 126"/>
                <a:gd name="T8" fmla="*/ 104 w 104"/>
                <a:gd name="T9" fmla="*/ 33 h 126"/>
              </a:gdLst>
              <a:ahLst/>
              <a:cxnLst>
                <a:cxn ang="0">
                  <a:pos x="T0" y="T1"/>
                </a:cxn>
                <a:cxn ang="0">
                  <a:pos x="T2" y="T3"/>
                </a:cxn>
                <a:cxn ang="0">
                  <a:pos x="T4" y="T5"/>
                </a:cxn>
                <a:cxn ang="0">
                  <a:pos x="T6" y="T7"/>
                </a:cxn>
                <a:cxn ang="0">
                  <a:pos x="T8" y="T9"/>
                </a:cxn>
              </a:cxnLst>
              <a:rect l="0" t="0" r="r" b="b"/>
              <a:pathLst>
                <a:path w="104" h="126">
                  <a:moveTo>
                    <a:pt x="104" y="33"/>
                  </a:moveTo>
                  <a:cubicBezTo>
                    <a:pt x="104" y="22"/>
                    <a:pt x="104" y="11"/>
                    <a:pt x="104" y="0"/>
                  </a:cubicBezTo>
                  <a:lnTo>
                    <a:pt x="0" y="93"/>
                  </a:lnTo>
                  <a:cubicBezTo>
                    <a:pt x="0" y="104"/>
                    <a:pt x="0" y="115"/>
                    <a:pt x="0" y="126"/>
                  </a:cubicBezTo>
                  <a:lnTo>
                    <a:pt x="104" y="33"/>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25" name="Freeform 13">
              <a:extLst>
                <a:ext uri="{FF2B5EF4-FFF2-40B4-BE49-F238E27FC236}">
                  <a16:creationId xmlns:a16="http://schemas.microsoft.com/office/drawing/2014/main" id="{F235C6E1-C0CD-442A-82D1-ADE37EFDD4CA}"/>
                </a:ext>
              </a:extLst>
            </p:cNvPr>
            <p:cNvSpPr>
              <a:spLocks/>
            </p:cNvSpPr>
            <p:nvPr/>
          </p:nvSpPr>
          <p:spPr bwMode="auto">
            <a:xfrm>
              <a:off x="3803" y="2145"/>
              <a:ext cx="33" cy="35"/>
            </a:xfrm>
            <a:custGeom>
              <a:avLst/>
              <a:gdLst>
                <a:gd name="T0" fmla="*/ 104 w 104"/>
                <a:gd name="T1" fmla="*/ 0 h 107"/>
                <a:gd name="T2" fmla="*/ 0 w 104"/>
                <a:gd name="T3" fmla="*/ 93 h 107"/>
                <a:gd name="T4" fmla="*/ 16 w 104"/>
                <a:gd name="T5" fmla="*/ 107 h 107"/>
                <a:gd name="T6" fmla="*/ 22 w 104"/>
                <a:gd name="T7" fmla="*/ 107 h 107"/>
                <a:gd name="T8" fmla="*/ 104 w 104"/>
                <a:gd name="T9" fmla="*/ 34 h 107"/>
                <a:gd name="T10" fmla="*/ 104 w 104"/>
                <a:gd name="T11" fmla="*/ 0 h 107"/>
              </a:gdLst>
              <a:ahLst/>
              <a:cxnLst>
                <a:cxn ang="0">
                  <a:pos x="T0" y="T1"/>
                </a:cxn>
                <a:cxn ang="0">
                  <a:pos x="T2" y="T3"/>
                </a:cxn>
                <a:cxn ang="0">
                  <a:pos x="T4" y="T5"/>
                </a:cxn>
                <a:cxn ang="0">
                  <a:pos x="T6" y="T7"/>
                </a:cxn>
                <a:cxn ang="0">
                  <a:pos x="T8" y="T9"/>
                </a:cxn>
                <a:cxn ang="0">
                  <a:pos x="T10" y="T11"/>
                </a:cxn>
              </a:cxnLst>
              <a:rect l="0" t="0" r="r" b="b"/>
              <a:pathLst>
                <a:path w="104" h="107">
                  <a:moveTo>
                    <a:pt x="104" y="0"/>
                  </a:moveTo>
                  <a:lnTo>
                    <a:pt x="0" y="93"/>
                  </a:lnTo>
                  <a:cubicBezTo>
                    <a:pt x="0" y="102"/>
                    <a:pt x="4" y="107"/>
                    <a:pt x="16" y="107"/>
                  </a:cubicBezTo>
                  <a:cubicBezTo>
                    <a:pt x="17" y="107"/>
                    <a:pt x="20" y="107"/>
                    <a:pt x="22" y="107"/>
                  </a:cubicBezTo>
                  <a:lnTo>
                    <a:pt x="104" y="34"/>
                  </a:lnTo>
                  <a:cubicBezTo>
                    <a:pt x="104" y="24"/>
                    <a:pt x="104" y="13"/>
                    <a:pt x="10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26" name="Freeform 14">
              <a:extLst>
                <a:ext uri="{FF2B5EF4-FFF2-40B4-BE49-F238E27FC236}">
                  <a16:creationId xmlns:a16="http://schemas.microsoft.com/office/drawing/2014/main" id="{0C733A93-3BEF-412B-AF8D-5B42AE763848}"/>
                </a:ext>
              </a:extLst>
            </p:cNvPr>
            <p:cNvSpPr>
              <a:spLocks/>
            </p:cNvSpPr>
            <p:nvPr/>
          </p:nvSpPr>
          <p:spPr bwMode="auto">
            <a:xfrm>
              <a:off x="3803" y="2084"/>
              <a:ext cx="33" cy="41"/>
            </a:xfrm>
            <a:custGeom>
              <a:avLst/>
              <a:gdLst>
                <a:gd name="T0" fmla="*/ 104 w 104"/>
                <a:gd name="T1" fmla="*/ 0 h 127"/>
                <a:gd name="T2" fmla="*/ 0 w 104"/>
                <a:gd name="T3" fmla="*/ 93 h 127"/>
                <a:gd name="T4" fmla="*/ 0 w 104"/>
                <a:gd name="T5" fmla="*/ 125 h 127"/>
                <a:gd name="T6" fmla="*/ 0 w 104"/>
                <a:gd name="T7" fmla="*/ 127 h 127"/>
                <a:gd name="T8" fmla="*/ 104 w 104"/>
                <a:gd name="T9" fmla="*/ 34 h 127"/>
                <a:gd name="T10" fmla="*/ 104 w 104"/>
                <a:gd name="T11" fmla="*/ 0 h 127"/>
              </a:gdLst>
              <a:ahLst/>
              <a:cxnLst>
                <a:cxn ang="0">
                  <a:pos x="T0" y="T1"/>
                </a:cxn>
                <a:cxn ang="0">
                  <a:pos x="T2" y="T3"/>
                </a:cxn>
                <a:cxn ang="0">
                  <a:pos x="T4" y="T5"/>
                </a:cxn>
                <a:cxn ang="0">
                  <a:pos x="T6" y="T7"/>
                </a:cxn>
                <a:cxn ang="0">
                  <a:pos x="T8" y="T9"/>
                </a:cxn>
                <a:cxn ang="0">
                  <a:pos x="T10" y="T11"/>
                </a:cxn>
              </a:cxnLst>
              <a:rect l="0" t="0" r="r" b="b"/>
              <a:pathLst>
                <a:path w="104" h="127">
                  <a:moveTo>
                    <a:pt x="104" y="0"/>
                  </a:moveTo>
                  <a:lnTo>
                    <a:pt x="0" y="93"/>
                  </a:lnTo>
                  <a:cubicBezTo>
                    <a:pt x="0" y="106"/>
                    <a:pt x="0" y="115"/>
                    <a:pt x="0" y="125"/>
                  </a:cubicBezTo>
                  <a:cubicBezTo>
                    <a:pt x="0" y="125"/>
                    <a:pt x="0" y="125"/>
                    <a:pt x="0" y="127"/>
                  </a:cubicBezTo>
                  <a:lnTo>
                    <a:pt x="104" y="34"/>
                  </a:lnTo>
                  <a:cubicBezTo>
                    <a:pt x="104" y="23"/>
                    <a:pt x="104" y="11"/>
                    <a:pt x="104" y="0"/>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27" name="Freeform 15">
              <a:extLst>
                <a:ext uri="{FF2B5EF4-FFF2-40B4-BE49-F238E27FC236}">
                  <a16:creationId xmlns:a16="http://schemas.microsoft.com/office/drawing/2014/main" id="{D668CAF7-2E88-4EB0-9A4C-991CA596F559}"/>
                </a:ext>
              </a:extLst>
            </p:cNvPr>
            <p:cNvSpPr>
              <a:spLocks/>
            </p:cNvSpPr>
            <p:nvPr/>
          </p:nvSpPr>
          <p:spPr bwMode="auto">
            <a:xfrm>
              <a:off x="3801" y="2053"/>
              <a:ext cx="35" cy="32"/>
            </a:xfrm>
            <a:custGeom>
              <a:avLst/>
              <a:gdLst>
                <a:gd name="T0" fmla="*/ 2 w 106"/>
                <a:gd name="T1" fmla="*/ 101 h 101"/>
                <a:gd name="T2" fmla="*/ 106 w 106"/>
                <a:gd name="T3" fmla="*/ 10 h 101"/>
                <a:gd name="T4" fmla="*/ 93 w 106"/>
                <a:gd name="T5" fmla="*/ 0 h 101"/>
                <a:gd name="T6" fmla="*/ 77 w 106"/>
                <a:gd name="T7" fmla="*/ 0 h 101"/>
                <a:gd name="T8" fmla="*/ 0 w 106"/>
                <a:gd name="T9" fmla="*/ 67 h 101"/>
                <a:gd name="T10" fmla="*/ 2 w 106"/>
                <a:gd name="T11" fmla="*/ 101 h 101"/>
              </a:gdLst>
              <a:ahLst/>
              <a:cxnLst>
                <a:cxn ang="0">
                  <a:pos x="T0" y="T1"/>
                </a:cxn>
                <a:cxn ang="0">
                  <a:pos x="T2" y="T3"/>
                </a:cxn>
                <a:cxn ang="0">
                  <a:pos x="T4" y="T5"/>
                </a:cxn>
                <a:cxn ang="0">
                  <a:pos x="T6" y="T7"/>
                </a:cxn>
                <a:cxn ang="0">
                  <a:pos x="T8" y="T9"/>
                </a:cxn>
                <a:cxn ang="0">
                  <a:pos x="T10" y="T11"/>
                </a:cxn>
              </a:cxnLst>
              <a:rect l="0" t="0" r="r" b="b"/>
              <a:pathLst>
                <a:path w="106" h="101">
                  <a:moveTo>
                    <a:pt x="2" y="101"/>
                  </a:moveTo>
                  <a:lnTo>
                    <a:pt x="106" y="10"/>
                  </a:lnTo>
                  <a:cubicBezTo>
                    <a:pt x="104" y="5"/>
                    <a:pt x="100" y="0"/>
                    <a:pt x="93" y="0"/>
                  </a:cubicBezTo>
                  <a:cubicBezTo>
                    <a:pt x="88" y="0"/>
                    <a:pt x="84" y="0"/>
                    <a:pt x="77" y="0"/>
                  </a:cubicBezTo>
                  <a:lnTo>
                    <a:pt x="0" y="67"/>
                  </a:lnTo>
                  <a:cubicBezTo>
                    <a:pt x="2" y="77"/>
                    <a:pt x="2" y="88"/>
                    <a:pt x="2" y="101"/>
                  </a:cubicBez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28" name="Freeform 16">
              <a:extLst>
                <a:ext uri="{FF2B5EF4-FFF2-40B4-BE49-F238E27FC236}">
                  <a16:creationId xmlns:a16="http://schemas.microsoft.com/office/drawing/2014/main" id="{99F04A2B-7BFF-4F09-8B84-7784A46AEC42}"/>
                </a:ext>
              </a:extLst>
            </p:cNvPr>
            <p:cNvSpPr>
              <a:spLocks/>
            </p:cNvSpPr>
            <p:nvPr/>
          </p:nvSpPr>
          <p:spPr bwMode="auto">
            <a:xfrm>
              <a:off x="3803" y="2105"/>
              <a:ext cx="33" cy="41"/>
            </a:xfrm>
            <a:custGeom>
              <a:avLst/>
              <a:gdLst>
                <a:gd name="T0" fmla="*/ 104 w 104"/>
                <a:gd name="T1" fmla="*/ 34 h 127"/>
                <a:gd name="T2" fmla="*/ 104 w 104"/>
                <a:gd name="T3" fmla="*/ 0 h 127"/>
                <a:gd name="T4" fmla="*/ 0 w 104"/>
                <a:gd name="T5" fmla="*/ 93 h 127"/>
                <a:gd name="T6" fmla="*/ 0 w 104"/>
                <a:gd name="T7" fmla="*/ 127 h 127"/>
                <a:gd name="T8" fmla="*/ 104 w 104"/>
                <a:gd name="T9" fmla="*/ 34 h 127"/>
              </a:gdLst>
              <a:ahLst/>
              <a:cxnLst>
                <a:cxn ang="0">
                  <a:pos x="T0" y="T1"/>
                </a:cxn>
                <a:cxn ang="0">
                  <a:pos x="T2" y="T3"/>
                </a:cxn>
                <a:cxn ang="0">
                  <a:pos x="T4" y="T5"/>
                </a:cxn>
                <a:cxn ang="0">
                  <a:pos x="T6" y="T7"/>
                </a:cxn>
                <a:cxn ang="0">
                  <a:pos x="T8" y="T9"/>
                </a:cxn>
              </a:cxnLst>
              <a:rect l="0" t="0" r="r" b="b"/>
              <a:pathLst>
                <a:path w="104" h="127">
                  <a:moveTo>
                    <a:pt x="104" y="34"/>
                  </a:moveTo>
                  <a:cubicBezTo>
                    <a:pt x="104" y="23"/>
                    <a:pt x="104" y="11"/>
                    <a:pt x="104" y="0"/>
                  </a:cubicBezTo>
                  <a:lnTo>
                    <a:pt x="0" y="93"/>
                  </a:lnTo>
                  <a:cubicBezTo>
                    <a:pt x="0" y="104"/>
                    <a:pt x="0" y="115"/>
                    <a:pt x="0" y="127"/>
                  </a:cubicBezTo>
                  <a:lnTo>
                    <a:pt x="104" y="34"/>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29" name="Freeform 17">
              <a:extLst>
                <a:ext uri="{FF2B5EF4-FFF2-40B4-BE49-F238E27FC236}">
                  <a16:creationId xmlns:a16="http://schemas.microsoft.com/office/drawing/2014/main" id="{C77CB455-EDB0-49E8-B549-9621C40F8467}"/>
                </a:ext>
              </a:extLst>
            </p:cNvPr>
            <p:cNvSpPr>
              <a:spLocks/>
            </p:cNvSpPr>
            <p:nvPr/>
          </p:nvSpPr>
          <p:spPr bwMode="auto">
            <a:xfrm>
              <a:off x="3802" y="2053"/>
              <a:ext cx="14" cy="12"/>
            </a:xfrm>
            <a:custGeom>
              <a:avLst/>
              <a:gdLst>
                <a:gd name="T0" fmla="*/ 43 w 43"/>
                <a:gd name="T1" fmla="*/ 0 h 38"/>
                <a:gd name="T2" fmla="*/ 13 w 43"/>
                <a:gd name="T3" fmla="*/ 0 h 38"/>
                <a:gd name="T4" fmla="*/ 0 w 43"/>
                <a:gd name="T5" fmla="*/ 10 h 38"/>
                <a:gd name="T6" fmla="*/ 0 w 43"/>
                <a:gd name="T7" fmla="*/ 16 h 38"/>
                <a:gd name="T8" fmla="*/ 0 w 43"/>
                <a:gd name="T9" fmla="*/ 38 h 38"/>
                <a:gd name="T10" fmla="*/ 43 w 43"/>
                <a:gd name="T11" fmla="*/ 0 h 38"/>
              </a:gdLst>
              <a:ahLst/>
              <a:cxnLst>
                <a:cxn ang="0">
                  <a:pos x="T0" y="T1"/>
                </a:cxn>
                <a:cxn ang="0">
                  <a:pos x="T2" y="T3"/>
                </a:cxn>
                <a:cxn ang="0">
                  <a:pos x="T4" y="T5"/>
                </a:cxn>
                <a:cxn ang="0">
                  <a:pos x="T6" y="T7"/>
                </a:cxn>
                <a:cxn ang="0">
                  <a:pos x="T8" y="T9"/>
                </a:cxn>
                <a:cxn ang="0">
                  <a:pos x="T10" y="T11"/>
                </a:cxn>
              </a:cxnLst>
              <a:rect l="0" t="0" r="r" b="b"/>
              <a:pathLst>
                <a:path w="43" h="38">
                  <a:moveTo>
                    <a:pt x="43" y="0"/>
                  </a:moveTo>
                  <a:cubicBezTo>
                    <a:pt x="34" y="0"/>
                    <a:pt x="24" y="0"/>
                    <a:pt x="13" y="0"/>
                  </a:cubicBezTo>
                  <a:cubicBezTo>
                    <a:pt x="6" y="0"/>
                    <a:pt x="2" y="3"/>
                    <a:pt x="0" y="10"/>
                  </a:cubicBezTo>
                  <a:cubicBezTo>
                    <a:pt x="0" y="11"/>
                    <a:pt x="0" y="14"/>
                    <a:pt x="0" y="16"/>
                  </a:cubicBezTo>
                  <a:cubicBezTo>
                    <a:pt x="0" y="22"/>
                    <a:pt x="0" y="30"/>
                    <a:pt x="0" y="38"/>
                  </a:cubicBezTo>
                  <a:lnTo>
                    <a:pt x="43" y="0"/>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30" name="Freeform 18">
              <a:extLst>
                <a:ext uri="{FF2B5EF4-FFF2-40B4-BE49-F238E27FC236}">
                  <a16:creationId xmlns:a16="http://schemas.microsoft.com/office/drawing/2014/main" id="{59359FA4-AA0E-4512-A439-093864A8EAA6}"/>
                </a:ext>
              </a:extLst>
            </p:cNvPr>
            <p:cNvSpPr>
              <a:spLocks/>
            </p:cNvSpPr>
            <p:nvPr/>
          </p:nvSpPr>
          <p:spPr bwMode="auto">
            <a:xfrm>
              <a:off x="3820" y="2166"/>
              <a:ext cx="16" cy="14"/>
            </a:xfrm>
            <a:custGeom>
              <a:avLst/>
              <a:gdLst>
                <a:gd name="T0" fmla="*/ 0 w 50"/>
                <a:gd name="T1" fmla="*/ 43 h 43"/>
                <a:gd name="T2" fmla="*/ 34 w 50"/>
                <a:gd name="T3" fmla="*/ 43 h 43"/>
                <a:gd name="T4" fmla="*/ 50 w 50"/>
                <a:gd name="T5" fmla="*/ 27 h 43"/>
                <a:gd name="T6" fmla="*/ 50 w 50"/>
                <a:gd name="T7" fmla="*/ 0 h 43"/>
                <a:gd name="T8" fmla="*/ 0 w 50"/>
                <a:gd name="T9" fmla="*/ 43 h 43"/>
              </a:gdLst>
              <a:ahLst/>
              <a:cxnLst>
                <a:cxn ang="0">
                  <a:pos x="T0" y="T1"/>
                </a:cxn>
                <a:cxn ang="0">
                  <a:pos x="T2" y="T3"/>
                </a:cxn>
                <a:cxn ang="0">
                  <a:pos x="T4" y="T5"/>
                </a:cxn>
                <a:cxn ang="0">
                  <a:pos x="T6" y="T7"/>
                </a:cxn>
                <a:cxn ang="0">
                  <a:pos x="T8" y="T9"/>
                </a:cxn>
              </a:cxnLst>
              <a:rect l="0" t="0" r="r" b="b"/>
              <a:pathLst>
                <a:path w="50" h="43">
                  <a:moveTo>
                    <a:pt x="0" y="43"/>
                  </a:moveTo>
                  <a:cubicBezTo>
                    <a:pt x="11" y="43"/>
                    <a:pt x="22" y="43"/>
                    <a:pt x="34" y="43"/>
                  </a:cubicBezTo>
                  <a:cubicBezTo>
                    <a:pt x="45" y="43"/>
                    <a:pt x="50" y="38"/>
                    <a:pt x="50" y="27"/>
                  </a:cubicBezTo>
                  <a:cubicBezTo>
                    <a:pt x="50" y="19"/>
                    <a:pt x="50" y="10"/>
                    <a:pt x="50" y="0"/>
                  </a:cubicBezTo>
                  <a:lnTo>
                    <a:pt x="0" y="43"/>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
          <p:nvSpPr>
            <p:cNvPr id="31" name="Freeform 19">
              <a:extLst>
                <a:ext uri="{FF2B5EF4-FFF2-40B4-BE49-F238E27FC236}">
                  <a16:creationId xmlns:a16="http://schemas.microsoft.com/office/drawing/2014/main" id="{29BA5D45-CBCE-417D-8033-EC42927EDA57}"/>
                </a:ext>
              </a:extLst>
            </p:cNvPr>
            <p:cNvSpPr>
              <a:spLocks/>
            </p:cNvSpPr>
            <p:nvPr/>
          </p:nvSpPr>
          <p:spPr bwMode="auto">
            <a:xfrm>
              <a:off x="3802" y="2125"/>
              <a:ext cx="34" cy="41"/>
            </a:xfrm>
            <a:custGeom>
              <a:avLst/>
              <a:gdLst>
                <a:gd name="T0" fmla="*/ 106 w 106"/>
                <a:gd name="T1" fmla="*/ 33 h 126"/>
                <a:gd name="T2" fmla="*/ 106 w 106"/>
                <a:gd name="T3" fmla="*/ 0 h 126"/>
                <a:gd name="T4" fmla="*/ 0 w 106"/>
                <a:gd name="T5" fmla="*/ 92 h 126"/>
                <a:gd name="T6" fmla="*/ 0 w 106"/>
                <a:gd name="T7" fmla="*/ 126 h 126"/>
                <a:gd name="T8" fmla="*/ 106 w 106"/>
                <a:gd name="T9" fmla="*/ 33 h 126"/>
              </a:gdLst>
              <a:ahLst/>
              <a:cxnLst>
                <a:cxn ang="0">
                  <a:pos x="T0" y="T1"/>
                </a:cxn>
                <a:cxn ang="0">
                  <a:pos x="T2" y="T3"/>
                </a:cxn>
                <a:cxn ang="0">
                  <a:pos x="T4" y="T5"/>
                </a:cxn>
                <a:cxn ang="0">
                  <a:pos x="T6" y="T7"/>
                </a:cxn>
                <a:cxn ang="0">
                  <a:pos x="T8" y="T9"/>
                </a:cxn>
              </a:cxnLst>
              <a:rect l="0" t="0" r="r" b="b"/>
              <a:pathLst>
                <a:path w="106" h="126">
                  <a:moveTo>
                    <a:pt x="106" y="33"/>
                  </a:moveTo>
                  <a:cubicBezTo>
                    <a:pt x="106" y="22"/>
                    <a:pt x="106" y="11"/>
                    <a:pt x="106" y="0"/>
                  </a:cubicBezTo>
                  <a:lnTo>
                    <a:pt x="0" y="92"/>
                  </a:lnTo>
                  <a:cubicBezTo>
                    <a:pt x="0" y="104"/>
                    <a:pt x="0" y="115"/>
                    <a:pt x="0" y="126"/>
                  </a:cubicBezTo>
                  <a:lnTo>
                    <a:pt x="106" y="33"/>
                  </a:lnTo>
                  <a:close/>
                </a:path>
              </a:pathLst>
            </a:custGeom>
            <a:grpFill/>
            <a:ln w="0">
              <a:noFill/>
              <a:prstDash val="solid"/>
              <a:round/>
              <a:headEnd/>
              <a:tailEnd/>
            </a:ln>
          </p:spPr>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grpSp>
      <p:sp>
        <p:nvSpPr>
          <p:cNvPr id="32" name="TextBox 31">
            <a:extLst>
              <a:ext uri="{FF2B5EF4-FFF2-40B4-BE49-F238E27FC236}">
                <a16:creationId xmlns:a16="http://schemas.microsoft.com/office/drawing/2014/main" id="{B004A9D7-7B8F-41A2-A172-4D31F39E72F6}"/>
              </a:ext>
            </a:extLst>
          </p:cNvPr>
          <p:cNvSpPr txBox="1">
            <a:spLocks/>
          </p:cNvSpPr>
          <p:nvPr/>
        </p:nvSpPr>
        <p:spPr>
          <a:xfrm>
            <a:off x="4392386" y="1530485"/>
            <a:ext cx="3698893" cy="5079334"/>
          </a:xfrm>
          <a:prstGeom prst="rect">
            <a:avLst/>
          </a:prstGeom>
          <a:noFill/>
          <a:ln w="9525">
            <a:noFill/>
            <a:miter lim="800000"/>
            <a:headEnd/>
            <a:tailEnd/>
          </a:ln>
          <a:effectLst/>
          <a:extLst/>
        </p:spPr>
        <p:txBody>
          <a:bodyPr vert="horz" wrap="square" lIns="93260" tIns="512932" rIns="93260" bIns="46630" numCol="1" anchor="t" anchorCtr="0" compatLnSpc="1">
            <a:prstTxWarp prst="textNoShape">
              <a:avLst/>
            </a:prstTxWarp>
            <a:no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82" lvl="1" indent="0" defTabSz="1083107" fontAlgn="base">
              <a:spcBef>
                <a:spcPts val="1224"/>
              </a:spcBef>
              <a:buClr>
                <a:srgbClr val="505050"/>
              </a:buClr>
              <a:buSzPct val="100000"/>
              <a:buNone/>
            </a:pPr>
            <a:r>
              <a:rPr lang="en-IN" sz="1632">
                <a:solidFill>
                  <a:srgbClr val="0078D7"/>
                </a:solidFill>
                <a:latin typeface="Segoe UI Semibold" panose="020B0702040204020203" pitchFamily="34" charset="0"/>
                <a:cs typeface="Segoe UI Semibold" panose="020B0702040204020203" pitchFamily="34" charset="0"/>
              </a:rPr>
              <a:t>Connected Field Service</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i="1">
                <a:solidFill>
                  <a:srgbClr val="505050"/>
                </a:solidFill>
                <a:latin typeface="Segoe UI"/>
              </a:rPr>
              <a:t>Augmented reality</a:t>
            </a:r>
            <a:r>
              <a:rPr lang="en-IN" sz="1428">
                <a:solidFill>
                  <a:srgbClr val="505050"/>
                </a:solidFill>
                <a:latin typeface="Segoe UI"/>
              </a:rPr>
              <a:t>: Enhanced and remote maintenance using HoloLens</a:t>
            </a:r>
          </a:p>
          <a:p>
            <a:pPr marL="1882" lvl="1" indent="0" defTabSz="1083107" fontAlgn="base">
              <a:spcBef>
                <a:spcPts val="1224"/>
              </a:spcBef>
              <a:buClr>
                <a:srgbClr val="505050"/>
              </a:buClr>
              <a:buSzPct val="100000"/>
              <a:buNone/>
            </a:pPr>
            <a:r>
              <a:rPr lang="en-IN" sz="1632">
                <a:solidFill>
                  <a:srgbClr val="0078D7"/>
                </a:solidFill>
                <a:latin typeface="Segoe UI Semibold" panose="020B0702040204020203" pitchFamily="34" charset="0"/>
                <a:cs typeface="Segoe UI Semibold" panose="020B0702040204020203" pitchFamily="34" charset="0"/>
              </a:rPr>
              <a:t>Predictive Maintenance</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a:solidFill>
                  <a:srgbClr val="505050"/>
                </a:solidFill>
                <a:latin typeface="Segoe UI"/>
              </a:rPr>
              <a:t>Data requirements, model design and training, ongoing analytics, outputs</a:t>
            </a:r>
          </a:p>
          <a:p>
            <a:pPr marL="1882" lvl="1" indent="0" defTabSz="1083107" fontAlgn="base">
              <a:spcBef>
                <a:spcPts val="1224"/>
              </a:spcBef>
              <a:buClr>
                <a:srgbClr val="505050"/>
              </a:buClr>
              <a:buSzPct val="100000"/>
              <a:buNone/>
            </a:pPr>
            <a:r>
              <a:rPr lang="en-IN" sz="1632">
                <a:solidFill>
                  <a:srgbClr val="0078D7"/>
                </a:solidFill>
                <a:latin typeface="Segoe UI Semibold" panose="020B0702040204020203" pitchFamily="34" charset="0"/>
                <a:cs typeface="Segoe UI Semibold" panose="020B0702040204020203" pitchFamily="34" charset="0"/>
              </a:rPr>
              <a:t>Asset Performance Management</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i="1">
                <a:solidFill>
                  <a:srgbClr val="505050"/>
                </a:solidFill>
                <a:latin typeface="Segoe UI"/>
              </a:rPr>
              <a:t>Predictive quality</a:t>
            </a:r>
            <a:r>
              <a:rPr lang="en-IN" sz="1428">
                <a:solidFill>
                  <a:srgbClr val="505050"/>
                </a:solidFill>
                <a:latin typeface="Segoe UI"/>
              </a:rPr>
              <a:t>: track incoming material specs, operations performance, and other factors to predict yield and quality. </a:t>
            </a:r>
          </a:p>
        </p:txBody>
      </p:sp>
      <p:sp>
        <p:nvSpPr>
          <p:cNvPr id="33" name="TextBox 32">
            <a:extLst>
              <a:ext uri="{FF2B5EF4-FFF2-40B4-BE49-F238E27FC236}">
                <a16:creationId xmlns:a16="http://schemas.microsoft.com/office/drawing/2014/main" id="{44029264-E333-4EF1-B8F2-5C33D30130D3}"/>
              </a:ext>
            </a:extLst>
          </p:cNvPr>
          <p:cNvSpPr txBox="1">
            <a:spLocks/>
          </p:cNvSpPr>
          <p:nvPr/>
        </p:nvSpPr>
        <p:spPr>
          <a:xfrm>
            <a:off x="8269390" y="1593689"/>
            <a:ext cx="3822884" cy="5079334"/>
          </a:xfrm>
          <a:prstGeom prst="rect">
            <a:avLst/>
          </a:prstGeom>
          <a:noFill/>
          <a:ln w="9525">
            <a:noFill/>
            <a:miter lim="800000"/>
            <a:headEnd/>
            <a:tailEnd/>
          </a:ln>
          <a:effectLst/>
          <a:extLst/>
        </p:spPr>
        <p:txBody>
          <a:bodyPr vert="horz" wrap="square" lIns="93260" tIns="512932" rIns="93260" bIns="46630" numCol="1" anchor="t" anchorCtr="0" compatLnSpc="1">
            <a:prstTxWarp prst="textNoShape">
              <a:avLst/>
            </a:prstTxWarp>
            <a:noAutofit/>
          </a:bodyPr>
          <a:lstStyle>
            <a:lvl1pPr marL="0" lvl="0" indent="0" defTabSz="895350" eaLnBrk="1" hangingPunct="1">
              <a:buClr>
                <a:schemeClr val="tx2"/>
              </a:buClr>
              <a:defRPr>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882" lvl="1" indent="0" defTabSz="1083107" fontAlgn="base">
              <a:spcBef>
                <a:spcPts val="1224"/>
              </a:spcBef>
              <a:buClr>
                <a:srgbClr val="505050"/>
              </a:buClr>
              <a:buSzPct val="100000"/>
              <a:buNone/>
            </a:pPr>
            <a:r>
              <a:rPr lang="en-IN" sz="1632">
                <a:solidFill>
                  <a:srgbClr val="70C7FF"/>
                </a:solidFill>
                <a:latin typeface="Segoe UI Semibold" panose="020B0702040204020203" pitchFamily="34" charset="0"/>
                <a:cs typeface="Segoe UI Semibold" panose="020B0702040204020203" pitchFamily="34" charset="0"/>
              </a:rPr>
              <a:t>Supply Chain Visibility</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a:solidFill>
                  <a:srgbClr val="505050"/>
                </a:solidFill>
                <a:latin typeface="Segoe UI"/>
              </a:rPr>
              <a:t>Real-time supply chain network that links siloed business application, customer &amp; supplier data; Rapid identification of operational bottlenecks </a:t>
            </a:r>
          </a:p>
          <a:p>
            <a:pPr marL="1882" lvl="1" indent="0" defTabSz="1083107" fontAlgn="base">
              <a:spcBef>
                <a:spcPts val="1224"/>
              </a:spcBef>
              <a:buClr>
                <a:srgbClr val="505050"/>
              </a:buClr>
              <a:buSzPct val="100000"/>
              <a:buNone/>
            </a:pPr>
            <a:r>
              <a:rPr lang="en-IN" sz="1632">
                <a:solidFill>
                  <a:srgbClr val="70C7FF"/>
                </a:solidFill>
                <a:latin typeface="Segoe UI Semibold" panose="020B0702040204020203" pitchFamily="34" charset="0"/>
                <a:cs typeface="Segoe UI Semibold" panose="020B0702040204020203" pitchFamily="34" charset="0"/>
              </a:rPr>
              <a:t>Big Compute</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err="1">
                <a:solidFill>
                  <a:srgbClr val="505050"/>
                </a:solidFill>
                <a:latin typeface="Segoe UI"/>
              </a:rPr>
              <a:t>Analyze</a:t>
            </a:r>
            <a:r>
              <a:rPr lang="en-IN" sz="1428">
                <a:solidFill>
                  <a:srgbClr val="505050"/>
                </a:solidFill>
                <a:latin typeface="Segoe UI"/>
              </a:rPr>
              <a:t> and simulate complex high-fidelity models </a:t>
            </a:r>
          </a:p>
          <a:p>
            <a:pPr marL="1882" lvl="1" indent="0" defTabSz="1083107" fontAlgn="base">
              <a:spcBef>
                <a:spcPts val="1224"/>
              </a:spcBef>
              <a:buClr>
                <a:srgbClr val="505050"/>
              </a:buClr>
              <a:buSzPct val="100000"/>
              <a:buNone/>
            </a:pPr>
            <a:r>
              <a:rPr lang="en-IN" sz="1632">
                <a:solidFill>
                  <a:srgbClr val="70C7FF"/>
                </a:solidFill>
                <a:latin typeface="Segoe UI Semibold" panose="020B0702040204020203" pitchFamily="34" charset="0"/>
                <a:cs typeface="Segoe UI Semibold" panose="020B0702040204020203" pitchFamily="34" charset="0"/>
              </a:rPr>
              <a:t>Digital Twin</a:t>
            </a:r>
          </a:p>
          <a:p>
            <a:pPr marL="197529" lvl="1" indent="-195911" defTabSz="1083107" fontAlgn="base">
              <a:spcBef>
                <a:spcPts val="204"/>
              </a:spcBef>
              <a:spcAft>
                <a:spcPts val="408"/>
              </a:spcAft>
              <a:buClr>
                <a:srgbClr val="505050"/>
              </a:buClr>
              <a:buSzPct val="100000"/>
              <a:buFont typeface="Arial" panose="020B0604020202020204" pitchFamily="34" charset="0"/>
              <a:buChar char="•"/>
            </a:pPr>
            <a:r>
              <a:rPr lang="en-IN" sz="1428">
                <a:solidFill>
                  <a:srgbClr val="505050"/>
                </a:solidFill>
                <a:latin typeface="Segoe UI"/>
              </a:rPr>
              <a:t>Data collected from the asset and its environment under multiple performance conditions, you can model the replica into 3D virtualizations to maintain, troubleshoot, and repair equipment; validate design or process innovation; or audit product quality </a:t>
            </a:r>
          </a:p>
        </p:txBody>
      </p:sp>
      <p:sp>
        <p:nvSpPr>
          <p:cNvPr id="37" name="Title 36">
            <a:extLst>
              <a:ext uri="{FF2B5EF4-FFF2-40B4-BE49-F238E27FC236}">
                <a16:creationId xmlns:a16="http://schemas.microsoft.com/office/drawing/2014/main" id="{F6E0392E-2558-4C53-AD5F-84BCF6502C81}"/>
              </a:ext>
            </a:extLst>
          </p:cNvPr>
          <p:cNvSpPr>
            <a:spLocks noGrp="1"/>
          </p:cNvSpPr>
          <p:nvPr>
            <p:ph type="title"/>
          </p:nvPr>
        </p:nvSpPr>
        <p:spPr/>
        <p:txBody>
          <a:bodyPr/>
          <a:lstStyle/>
          <a:p>
            <a:r>
              <a:rPr lang="en-IN"/>
              <a:t>Journey Map</a:t>
            </a:r>
          </a:p>
        </p:txBody>
      </p:sp>
      <p:sp>
        <p:nvSpPr>
          <p:cNvPr id="7" name="Freeform 50">
            <a:extLst>
              <a:ext uri="{FF2B5EF4-FFF2-40B4-BE49-F238E27FC236}">
                <a16:creationId xmlns:a16="http://schemas.microsoft.com/office/drawing/2014/main" id="{A4037192-481F-4249-8436-91D415CB50AA}"/>
              </a:ext>
            </a:extLst>
          </p:cNvPr>
          <p:cNvSpPr/>
          <p:nvPr/>
        </p:nvSpPr>
        <p:spPr>
          <a:xfrm>
            <a:off x="1073375" y="1322172"/>
            <a:ext cx="3142873" cy="549785"/>
          </a:xfrm>
          <a:prstGeom prst="rect">
            <a:avLst/>
          </a:prstGeom>
          <a:solidFill>
            <a:schemeClr val="tx2"/>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466302" tIns="46630" rIns="93260" bIns="46630" numCol="1" spcCol="1270" anchor="ctr" anchorCtr="0">
            <a:noAutofit/>
          </a:bodyPr>
          <a:lstStyle/>
          <a:p>
            <a:pPr defTabSz="1106151" fontAlgn="base">
              <a:spcBef>
                <a:spcPct val="0"/>
              </a:spcBef>
              <a:spcAft>
                <a:spcPct val="0"/>
              </a:spcAft>
            </a:pPr>
            <a:r>
              <a:rPr lang="en-US" sz="2040">
                <a:solidFill>
                  <a:srgbClr val="FFFFFF"/>
                </a:solidFill>
                <a:latin typeface="Segoe UI Semibold" panose="020B0702040204020203" pitchFamily="34" charset="0"/>
                <a:cs typeface="Segoe UI Semibold" panose="020B0702040204020203" pitchFamily="34" charset="0"/>
              </a:rPr>
              <a:t>1 | Connected</a:t>
            </a:r>
          </a:p>
        </p:txBody>
      </p:sp>
      <p:sp>
        <p:nvSpPr>
          <p:cNvPr id="8" name="Oval 7">
            <a:extLst>
              <a:ext uri="{FF2B5EF4-FFF2-40B4-BE49-F238E27FC236}">
                <a16:creationId xmlns:a16="http://schemas.microsoft.com/office/drawing/2014/main" id="{D27F2209-DBD3-433C-A60E-3D1696668101}"/>
              </a:ext>
            </a:extLst>
          </p:cNvPr>
          <p:cNvSpPr/>
          <p:nvPr/>
        </p:nvSpPr>
        <p:spPr bwMode="auto">
          <a:xfrm>
            <a:off x="467183" y="1139508"/>
            <a:ext cx="915112" cy="915112"/>
          </a:xfrm>
          <a:prstGeom prst="ellipse">
            <a:avLst/>
          </a:prstGeom>
          <a:ln>
            <a:solidFill>
              <a:srgbClr val="002060"/>
            </a:solidFill>
            <a:prstDash val="sysDot"/>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spcBef>
                <a:spcPct val="0"/>
              </a:spcBef>
              <a:spcAft>
                <a:spcPct val="0"/>
              </a:spcAft>
            </a:pPr>
            <a:endParaRPr lang="en-IN" sz="2448">
              <a:solidFill>
                <a:srgbClr val="505050"/>
              </a:solidFill>
              <a:latin typeface="Segoe UI Semibold" panose="020B0702040204020203" pitchFamily="34" charset="0"/>
              <a:ea typeface="Segoe UI" pitchFamily="34" charset="0"/>
              <a:cs typeface="Segoe UI Semibold" panose="020B0702040204020203" pitchFamily="34" charset="0"/>
            </a:endParaRPr>
          </a:p>
        </p:txBody>
      </p:sp>
      <p:sp>
        <p:nvSpPr>
          <p:cNvPr id="18" name="Freeform 5">
            <a:extLst>
              <a:ext uri="{FF2B5EF4-FFF2-40B4-BE49-F238E27FC236}">
                <a16:creationId xmlns:a16="http://schemas.microsoft.com/office/drawing/2014/main" id="{C4160768-8935-4B5F-B6E4-2811D6DC2EC5}"/>
              </a:ext>
            </a:extLst>
          </p:cNvPr>
          <p:cNvSpPr>
            <a:spLocks noEditPoints="1"/>
          </p:cNvSpPr>
          <p:nvPr/>
        </p:nvSpPr>
        <p:spPr bwMode="auto">
          <a:xfrm>
            <a:off x="585231" y="1290132"/>
            <a:ext cx="679016" cy="613864"/>
          </a:xfrm>
          <a:custGeom>
            <a:avLst/>
            <a:gdLst>
              <a:gd name="T0" fmla="*/ 1098 w 1456"/>
              <a:gd name="T1" fmla="*/ 218 h 1311"/>
              <a:gd name="T2" fmla="*/ 1456 w 1456"/>
              <a:gd name="T3" fmla="*/ 647 h 1311"/>
              <a:gd name="T4" fmla="*/ 1136 w 1456"/>
              <a:gd name="T5" fmla="*/ 1114 h 1311"/>
              <a:gd name="T6" fmla="*/ 542 w 1456"/>
              <a:gd name="T7" fmla="*/ 1182 h 1311"/>
              <a:gd name="T8" fmla="*/ 321 w 1456"/>
              <a:gd name="T9" fmla="*/ 1114 h 1311"/>
              <a:gd name="T10" fmla="*/ 0 w 1456"/>
              <a:gd name="T11" fmla="*/ 647 h 1311"/>
              <a:gd name="T12" fmla="*/ 359 w 1456"/>
              <a:gd name="T13" fmla="*/ 218 h 1311"/>
              <a:gd name="T14" fmla="*/ 528 w 1456"/>
              <a:gd name="T15" fmla="*/ 61 h 1311"/>
              <a:gd name="T16" fmla="*/ 929 w 1456"/>
              <a:gd name="T17" fmla="*/ 61 h 1311"/>
              <a:gd name="T18" fmla="*/ 684 w 1456"/>
              <a:gd name="T19" fmla="*/ 1033 h 1311"/>
              <a:gd name="T20" fmla="*/ 927 w 1456"/>
              <a:gd name="T21" fmla="*/ 1122 h 1311"/>
              <a:gd name="T22" fmla="*/ 784 w 1456"/>
              <a:gd name="T23" fmla="*/ 999 h 1311"/>
              <a:gd name="T24" fmla="*/ 878 w 1456"/>
              <a:gd name="T25" fmla="*/ 922 h 1311"/>
              <a:gd name="T26" fmla="*/ 677 w 1456"/>
              <a:gd name="T27" fmla="*/ 1019 h 1311"/>
              <a:gd name="T28" fmla="*/ 219 w 1456"/>
              <a:gd name="T29" fmla="*/ 713 h 1311"/>
              <a:gd name="T30" fmla="*/ 416 w 1456"/>
              <a:gd name="T31" fmla="*/ 1054 h 1311"/>
              <a:gd name="T32" fmla="*/ 219 w 1456"/>
              <a:gd name="T33" fmla="*/ 713 h 1311"/>
              <a:gd name="T34" fmla="*/ 1040 w 1456"/>
              <a:gd name="T35" fmla="*/ 879 h 1311"/>
              <a:gd name="T36" fmla="*/ 1270 w 1456"/>
              <a:gd name="T37" fmla="*/ 747 h 1311"/>
              <a:gd name="T38" fmla="*/ 980 w 1456"/>
              <a:gd name="T39" fmla="*/ 1067 h 1311"/>
              <a:gd name="T40" fmla="*/ 468 w 1456"/>
              <a:gd name="T41" fmla="*/ 857 h 1311"/>
              <a:gd name="T42" fmla="*/ 477 w 1456"/>
              <a:gd name="T43" fmla="*/ 1067 h 1311"/>
              <a:gd name="T44" fmla="*/ 728 w 1456"/>
              <a:gd name="T45" fmla="*/ 767 h 1311"/>
              <a:gd name="T46" fmla="*/ 728 w 1456"/>
              <a:gd name="T47" fmla="*/ 943 h 1311"/>
              <a:gd name="T48" fmla="*/ 609 w 1456"/>
              <a:gd name="T49" fmla="*/ 655 h 1311"/>
              <a:gd name="T50" fmla="*/ 476 w 1456"/>
              <a:gd name="T51" fmla="*/ 843 h 1311"/>
              <a:gd name="T52" fmla="*/ 1024 w 1456"/>
              <a:gd name="T53" fmla="*/ 655 h 1311"/>
              <a:gd name="T54" fmla="*/ 981 w 1456"/>
              <a:gd name="T55" fmla="*/ 843 h 1311"/>
              <a:gd name="T56" fmla="*/ 1217 w 1456"/>
              <a:gd name="T57" fmla="*/ 655 h 1311"/>
              <a:gd name="T58" fmla="*/ 1231 w 1456"/>
              <a:gd name="T59" fmla="*/ 699 h 1311"/>
              <a:gd name="T60" fmla="*/ 228 w 1456"/>
              <a:gd name="T61" fmla="*/ 700 h 1311"/>
              <a:gd name="T62" fmla="*/ 883 w 1456"/>
              <a:gd name="T63" fmla="*/ 395 h 1311"/>
              <a:gd name="T64" fmla="*/ 1024 w 1456"/>
              <a:gd name="T65" fmla="*/ 527 h 1311"/>
              <a:gd name="T66" fmla="*/ 381 w 1456"/>
              <a:gd name="T67" fmla="*/ 506 h 1311"/>
              <a:gd name="T68" fmla="*/ 416 w 1456"/>
              <a:gd name="T69" fmla="*/ 527 h 1311"/>
              <a:gd name="T70" fmla="*/ 1040 w 1456"/>
              <a:gd name="T71" fmla="*/ 639 h 1311"/>
              <a:gd name="T72" fmla="*/ 574 w 1456"/>
              <a:gd name="T73" fmla="*/ 395 h 1311"/>
              <a:gd name="T74" fmla="*/ 432 w 1456"/>
              <a:gd name="T75" fmla="*/ 639 h 1311"/>
              <a:gd name="T76" fmla="*/ 372 w 1456"/>
              <a:gd name="T77" fmla="*/ 228 h 1311"/>
              <a:gd name="T78" fmla="*/ 368 w 1456"/>
              <a:gd name="T79" fmla="*/ 471 h 1311"/>
              <a:gd name="T80" fmla="*/ 372 w 1456"/>
              <a:gd name="T81" fmla="*/ 228 h 1311"/>
              <a:gd name="T82" fmla="*/ 1088 w 1456"/>
              <a:gd name="T83" fmla="*/ 471 h 1311"/>
              <a:gd name="T84" fmla="*/ 1178 w 1456"/>
              <a:gd name="T85" fmla="*/ 388 h 1311"/>
              <a:gd name="T86" fmla="*/ 587 w 1456"/>
              <a:gd name="T87" fmla="*/ 387 h 1311"/>
              <a:gd name="T88" fmla="*/ 870 w 1456"/>
              <a:gd name="T89" fmla="*/ 387 h 1311"/>
              <a:gd name="T90" fmla="*/ 980 w 1456"/>
              <a:gd name="T91" fmla="*/ 228 h 1311"/>
              <a:gd name="T92" fmla="*/ 1024 w 1456"/>
              <a:gd name="T93" fmla="*/ 239 h 1311"/>
              <a:gd name="T94" fmla="*/ 432 w 1456"/>
              <a:gd name="T95" fmla="*/ 416 h 1311"/>
              <a:gd name="T96" fmla="*/ 934 w 1456"/>
              <a:gd name="T97" fmla="*/ 187 h 1311"/>
              <a:gd name="T98" fmla="*/ 878 w 1456"/>
              <a:gd name="T99" fmla="*/ 373 h 1311"/>
              <a:gd name="T100" fmla="*/ 491 w 1456"/>
              <a:gd name="T101" fmla="*/ 220 h 1311"/>
              <a:gd name="T102" fmla="*/ 677 w 1456"/>
              <a:gd name="T103" fmla="*/ 276 h 1311"/>
              <a:gd name="T104" fmla="*/ 530 w 1456"/>
              <a:gd name="T105" fmla="*/ 172 h 1311"/>
              <a:gd name="T106" fmla="*/ 926 w 1456"/>
              <a:gd name="T107" fmla="*/ 173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6" h="1311">
                <a:moveTo>
                  <a:pt x="1024" y="1"/>
                </a:moveTo>
                <a:cubicBezTo>
                  <a:pt x="1078" y="8"/>
                  <a:pt x="1056" y="0"/>
                  <a:pt x="1092" y="17"/>
                </a:cubicBezTo>
                <a:cubicBezTo>
                  <a:pt x="1150" y="50"/>
                  <a:pt x="1170" y="123"/>
                  <a:pt x="1136" y="181"/>
                </a:cubicBezTo>
                <a:cubicBezTo>
                  <a:pt x="1116" y="208"/>
                  <a:pt x="1128" y="195"/>
                  <a:pt x="1098" y="218"/>
                </a:cubicBezTo>
                <a:cubicBezTo>
                  <a:pt x="1129" y="272"/>
                  <a:pt x="1160" y="326"/>
                  <a:pt x="1191" y="380"/>
                </a:cubicBezTo>
                <a:cubicBezTo>
                  <a:pt x="1222" y="434"/>
                  <a:pt x="1254" y="488"/>
                  <a:pt x="1285" y="541"/>
                </a:cubicBezTo>
                <a:cubicBezTo>
                  <a:pt x="1320" y="527"/>
                  <a:pt x="1302" y="531"/>
                  <a:pt x="1336" y="527"/>
                </a:cubicBezTo>
                <a:cubicBezTo>
                  <a:pt x="1403" y="527"/>
                  <a:pt x="1456" y="581"/>
                  <a:pt x="1456" y="647"/>
                </a:cubicBezTo>
                <a:cubicBezTo>
                  <a:pt x="1456" y="714"/>
                  <a:pt x="1403" y="767"/>
                  <a:pt x="1336" y="767"/>
                </a:cubicBezTo>
                <a:cubicBezTo>
                  <a:pt x="1302" y="764"/>
                  <a:pt x="1320" y="768"/>
                  <a:pt x="1285" y="753"/>
                </a:cubicBezTo>
                <a:lnTo>
                  <a:pt x="1098" y="1076"/>
                </a:lnTo>
                <a:cubicBezTo>
                  <a:pt x="1114" y="1085"/>
                  <a:pt x="1125" y="1100"/>
                  <a:pt x="1136" y="1114"/>
                </a:cubicBezTo>
                <a:cubicBezTo>
                  <a:pt x="1170" y="1171"/>
                  <a:pt x="1150" y="1245"/>
                  <a:pt x="1092" y="1278"/>
                </a:cubicBezTo>
                <a:cubicBezTo>
                  <a:pt x="1035" y="1311"/>
                  <a:pt x="962" y="1291"/>
                  <a:pt x="929" y="1234"/>
                </a:cubicBezTo>
                <a:cubicBezTo>
                  <a:pt x="915" y="1203"/>
                  <a:pt x="921" y="1220"/>
                  <a:pt x="915" y="1182"/>
                </a:cubicBezTo>
                <a:lnTo>
                  <a:pt x="542" y="1182"/>
                </a:lnTo>
                <a:cubicBezTo>
                  <a:pt x="542" y="1198"/>
                  <a:pt x="543" y="1188"/>
                  <a:pt x="538" y="1212"/>
                </a:cubicBezTo>
                <a:cubicBezTo>
                  <a:pt x="537" y="1220"/>
                  <a:pt x="532" y="1226"/>
                  <a:pt x="528" y="1234"/>
                </a:cubicBezTo>
                <a:cubicBezTo>
                  <a:pt x="495" y="1291"/>
                  <a:pt x="422" y="1311"/>
                  <a:pt x="364" y="1278"/>
                </a:cubicBezTo>
                <a:cubicBezTo>
                  <a:pt x="307" y="1245"/>
                  <a:pt x="287" y="1171"/>
                  <a:pt x="321" y="1114"/>
                </a:cubicBezTo>
                <a:cubicBezTo>
                  <a:pt x="330" y="1098"/>
                  <a:pt x="342" y="1084"/>
                  <a:pt x="358" y="1075"/>
                </a:cubicBezTo>
                <a:lnTo>
                  <a:pt x="172" y="752"/>
                </a:lnTo>
                <a:cubicBezTo>
                  <a:pt x="136" y="766"/>
                  <a:pt x="153" y="762"/>
                  <a:pt x="120" y="767"/>
                </a:cubicBezTo>
                <a:cubicBezTo>
                  <a:pt x="54" y="767"/>
                  <a:pt x="0" y="714"/>
                  <a:pt x="0" y="647"/>
                </a:cubicBezTo>
                <a:cubicBezTo>
                  <a:pt x="0" y="581"/>
                  <a:pt x="54" y="527"/>
                  <a:pt x="120" y="527"/>
                </a:cubicBezTo>
                <a:lnTo>
                  <a:pt x="120" y="527"/>
                </a:lnTo>
                <a:cubicBezTo>
                  <a:pt x="154" y="532"/>
                  <a:pt x="137" y="527"/>
                  <a:pt x="172" y="542"/>
                </a:cubicBezTo>
                <a:lnTo>
                  <a:pt x="359" y="218"/>
                </a:lnTo>
                <a:cubicBezTo>
                  <a:pt x="330" y="195"/>
                  <a:pt x="342" y="207"/>
                  <a:pt x="321" y="181"/>
                </a:cubicBezTo>
                <a:cubicBezTo>
                  <a:pt x="287" y="123"/>
                  <a:pt x="307" y="50"/>
                  <a:pt x="364" y="17"/>
                </a:cubicBezTo>
                <a:cubicBezTo>
                  <a:pt x="401" y="0"/>
                  <a:pt x="379" y="8"/>
                  <a:pt x="433" y="1"/>
                </a:cubicBezTo>
                <a:cubicBezTo>
                  <a:pt x="476" y="6"/>
                  <a:pt x="504" y="27"/>
                  <a:pt x="528" y="61"/>
                </a:cubicBezTo>
                <a:cubicBezTo>
                  <a:pt x="541" y="92"/>
                  <a:pt x="536" y="75"/>
                  <a:pt x="542" y="113"/>
                </a:cubicBezTo>
                <a:lnTo>
                  <a:pt x="915" y="113"/>
                </a:lnTo>
                <a:cubicBezTo>
                  <a:pt x="915" y="96"/>
                  <a:pt x="914" y="106"/>
                  <a:pt x="919" y="83"/>
                </a:cubicBezTo>
                <a:cubicBezTo>
                  <a:pt x="920" y="75"/>
                  <a:pt x="925" y="68"/>
                  <a:pt x="929" y="61"/>
                </a:cubicBezTo>
                <a:cubicBezTo>
                  <a:pt x="956" y="17"/>
                  <a:pt x="978" y="14"/>
                  <a:pt x="1024" y="1"/>
                </a:cubicBezTo>
                <a:close/>
                <a:moveTo>
                  <a:pt x="773" y="1033"/>
                </a:moveTo>
                <a:cubicBezTo>
                  <a:pt x="762" y="1048"/>
                  <a:pt x="746" y="1054"/>
                  <a:pt x="728" y="1055"/>
                </a:cubicBezTo>
                <a:cubicBezTo>
                  <a:pt x="707" y="1055"/>
                  <a:pt x="698" y="1047"/>
                  <a:pt x="684" y="1033"/>
                </a:cubicBezTo>
                <a:lnTo>
                  <a:pt x="531" y="1121"/>
                </a:lnTo>
                <a:cubicBezTo>
                  <a:pt x="540" y="1134"/>
                  <a:pt x="541" y="1151"/>
                  <a:pt x="542" y="1166"/>
                </a:cubicBezTo>
                <a:lnTo>
                  <a:pt x="914" y="1166"/>
                </a:lnTo>
                <a:cubicBezTo>
                  <a:pt x="916" y="1151"/>
                  <a:pt x="918" y="1135"/>
                  <a:pt x="927" y="1122"/>
                </a:cubicBezTo>
                <a:lnTo>
                  <a:pt x="773" y="1033"/>
                </a:lnTo>
                <a:close/>
                <a:moveTo>
                  <a:pt x="878" y="922"/>
                </a:moveTo>
                <a:lnTo>
                  <a:pt x="779" y="978"/>
                </a:lnTo>
                <a:cubicBezTo>
                  <a:pt x="785" y="992"/>
                  <a:pt x="783" y="985"/>
                  <a:pt x="784" y="999"/>
                </a:cubicBezTo>
                <a:cubicBezTo>
                  <a:pt x="783" y="1014"/>
                  <a:pt x="785" y="1007"/>
                  <a:pt x="780" y="1019"/>
                </a:cubicBezTo>
                <a:lnTo>
                  <a:pt x="936" y="1109"/>
                </a:lnTo>
                <a:cubicBezTo>
                  <a:pt x="951" y="1086"/>
                  <a:pt x="942" y="1098"/>
                  <a:pt x="966" y="1075"/>
                </a:cubicBezTo>
                <a:lnTo>
                  <a:pt x="878" y="922"/>
                </a:lnTo>
                <a:close/>
                <a:moveTo>
                  <a:pt x="579" y="922"/>
                </a:moveTo>
                <a:lnTo>
                  <a:pt x="491" y="1075"/>
                </a:lnTo>
                <a:cubicBezTo>
                  <a:pt x="504" y="1084"/>
                  <a:pt x="516" y="1094"/>
                  <a:pt x="523" y="1108"/>
                </a:cubicBezTo>
                <a:lnTo>
                  <a:pt x="677" y="1019"/>
                </a:lnTo>
                <a:cubicBezTo>
                  <a:pt x="672" y="1007"/>
                  <a:pt x="674" y="1014"/>
                  <a:pt x="672" y="999"/>
                </a:cubicBezTo>
                <a:cubicBezTo>
                  <a:pt x="674" y="985"/>
                  <a:pt x="672" y="992"/>
                  <a:pt x="678" y="978"/>
                </a:cubicBezTo>
                <a:lnTo>
                  <a:pt x="579" y="922"/>
                </a:lnTo>
                <a:close/>
                <a:moveTo>
                  <a:pt x="219" y="713"/>
                </a:moveTo>
                <a:cubicBezTo>
                  <a:pt x="210" y="726"/>
                  <a:pt x="197" y="735"/>
                  <a:pt x="186" y="745"/>
                </a:cubicBezTo>
                <a:lnTo>
                  <a:pt x="372" y="1067"/>
                </a:lnTo>
                <a:cubicBezTo>
                  <a:pt x="387" y="1062"/>
                  <a:pt x="401" y="1058"/>
                  <a:pt x="416" y="1054"/>
                </a:cubicBezTo>
                <a:lnTo>
                  <a:pt x="416" y="1054"/>
                </a:lnTo>
                <a:lnTo>
                  <a:pt x="416" y="879"/>
                </a:lnTo>
                <a:cubicBezTo>
                  <a:pt x="387" y="876"/>
                  <a:pt x="371" y="850"/>
                  <a:pt x="368" y="823"/>
                </a:cubicBezTo>
                <a:cubicBezTo>
                  <a:pt x="370" y="809"/>
                  <a:pt x="368" y="816"/>
                  <a:pt x="374" y="803"/>
                </a:cubicBezTo>
                <a:lnTo>
                  <a:pt x="219" y="713"/>
                </a:lnTo>
                <a:close/>
                <a:moveTo>
                  <a:pt x="1237" y="714"/>
                </a:moveTo>
                <a:lnTo>
                  <a:pt x="1083" y="803"/>
                </a:lnTo>
                <a:cubicBezTo>
                  <a:pt x="1089" y="816"/>
                  <a:pt x="1087" y="809"/>
                  <a:pt x="1088" y="823"/>
                </a:cubicBezTo>
                <a:cubicBezTo>
                  <a:pt x="1087" y="850"/>
                  <a:pt x="1069" y="876"/>
                  <a:pt x="1040" y="879"/>
                </a:cubicBezTo>
                <a:lnTo>
                  <a:pt x="1040" y="1054"/>
                </a:lnTo>
                <a:lnTo>
                  <a:pt x="1041" y="1054"/>
                </a:lnTo>
                <a:cubicBezTo>
                  <a:pt x="1056" y="1056"/>
                  <a:pt x="1072" y="1059"/>
                  <a:pt x="1085" y="1067"/>
                </a:cubicBezTo>
                <a:lnTo>
                  <a:pt x="1270" y="747"/>
                </a:lnTo>
                <a:cubicBezTo>
                  <a:pt x="1255" y="741"/>
                  <a:pt x="1247" y="724"/>
                  <a:pt x="1237" y="714"/>
                </a:cubicBezTo>
                <a:close/>
                <a:moveTo>
                  <a:pt x="989" y="857"/>
                </a:moveTo>
                <a:lnTo>
                  <a:pt x="891" y="914"/>
                </a:lnTo>
                <a:lnTo>
                  <a:pt x="980" y="1067"/>
                </a:lnTo>
                <a:cubicBezTo>
                  <a:pt x="1004" y="1056"/>
                  <a:pt x="989" y="1061"/>
                  <a:pt x="1024" y="1056"/>
                </a:cubicBezTo>
                <a:lnTo>
                  <a:pt x="1024" y="879"/>
                </a:lnTo>
                <a:cubicBezTo>
                  <a:pt x="1008" y="878"/>
                  <a:pt x="999" y="868"/>
                  <a:pt x="989" y="857"/>
                </a:cubicBezTo>
                <a:close/>
                <a:moveTo>
                  <a:pt x="468" y="857"/>
                </a:moveTo>
                <a:cubicBezTo>
                  <a:pt x="458" y="869"/>
                  <a:pt x="448" y="877"/>
                  <a:pt x="432" y="879"/>
                </a:cubicBezTo>
                <a:lnTo>
                  <a:pt x="432" y="1056"/>
                </a:lnTo>
                <a:cubicBezTo>
                  <a:pt x="454" y="1057"/>
                  <a:pt x="444" y="1056"/>
                  <a:pt x="461" y="1060"/>
                </a:cubicBezTo>
                <a:cubicBezTo>
                  <a:pt x="463" y="1060"/>
                  <a:pt x="473" y="1065"/>
                  <a:pt x="477" y="1067"/>
                </a:cubicBezTo>
                <a:lnTo>
                  <a:pt x="566" y="914"/>
                </a:lnTo>
                <a:lnTo>
                  <a:pt x="468" y="857"/>
                </a:lnTo>
                <a:close/>
                <a:moveTo>
                  <a:pt x="780" y="753"/>
                </a:moveTo>
                <a:cubicBezTo>
                  <a:pt x="745" y="768"/>
                  <a:pt x="763" y="764"/>
                  <a:pt x="728" y="767"/>
                </a:cubicBezTo>
                <a:cubicBezTo>
                  <a:pt x="694" y="764"/>
                  <a:pt x="712" y="768"/>
                  <a:pt x="677" y="753"/>
                </a:cubicBezTo>
                <a:lnTo>
                  <a:pt x="587" y="908"/>
                </a:lnTo>
                <a:lnTo>
                  <a:pt x="686" y="964"/>
                </a:lnTo>
                <a:cubicBezTo>
                  <a:pt x="696" y="950"/>
                  <a:pt x="711" y="945"/>
                  <a:pt x="728" y="943"/>
                </a:cubicBezTo>
                <a:cubicBezTo>
                  <a:pt x="749" y="943"/>
                  <a:pt x="758" y="951"/>
                  <a:pt x="771" y="964"/>
                </a:cubicBezTo>
                <a:lnTo>
                  <a:pt x="870" y="908"/>
                </a:lnTo>
                <a:lnTo>
                  <a:pt x="780" y="753"/>
                </a:lnTo>
                <a:close/>
                <a:moveTo>
                  <a:pt x="609" y="655"/>
                </a:moveTo>
                <a:lnTo>
                  <a:pt x="432" y="655"/>
                </a:lnTo>
                <a:lnTo>
                  <a:pt x="432" y="768"/>
                </a:lnTo>
                <a:cubicBezTo>
                  <a:pt x="462" y="771"/>
                  <a:pt x="478" y="797"/>
                  <a:pt x="480" y="823"/>
                </a:cubicBezTo>
                <a:cubicBezTo>
                  <a:pt x="479" y="838"/>
                  <a:pt x="481" y="831"/>
                  <a:pt x="476" y="843"/>
                </a:cubicBezTo>
                <a:lnTo>
                  <a:pt x="574" y="900"/>
                </a:lnTo>
                <a:lnTo>
                  <a:pt x="662" y="747"/>
                </a:lnTo>
                <a:cubicBezTo>
                  <a:pt x="630" y="723"/>
                  <a:pt x="613" y="694"/>
                  <a:pt x="609" y="655"/>
                </a:cubicBezTo>
                <a:close/>
                <a:moveTo>
                  <a:pt x="1024" y="655"/>
                </a:moveTo>
                <a:lnTo>
                  <a:pt x="848" y="655"/>
                </a:lnTo>
                <a:cubicBezTo>
                  <a:pt x="847" y="700"/>
                  <a:pt x="824" y="718"/>
                  <a:pt x="795" y="747"/>
                </a:cubicBezTo>
                <a:lnTo>
                  <a:pt x="883" y="900"/>
                </a:lnTo>
                <a:lnTo>
                  <a:pt x="981" y="843"/>
                </a:lnTo>
                <a:cubicBezTo>
                  <a:pt x="976" y="831"/>
                  <a:pt x="978" y="838"/>
                  <a:pt x="976" y="823"/>
                </a:cubicBezTo>
                <a:cubicBezTo>
                  <a:pt x="978" y="797"/>
                  <a:pt x="996" y="771"/>
                  <a:pt x="1024" y="768"/>
                </a:cubicBezTo>
                <a:lnTo>
                  <a:pt x="1024" y="655"/>
                </a:lnTo>
                <a:close/>
                <a:moveTo>
                  <a:pt x="1217" y="655"/>
                </a:moveTo>
                <a:lnTo>
                  <a:pt x="1040" y="655"/>
                </a:lnTo>
                <a:lnTo>
                  <a:pt x="1040" y="768"/>
                </a:lnTo>
                <a:cubicBezTo>
                  <a:pt x="1057" y="769"/>
                  <a:pt x="1065" y="778"/>
                  <a:pt x="1076" y="789"/>
                </a:cubicBezTo>
                <a:lnTo>
                  <a:pt x="1231" y="699"/>
                </a:lnTo>
                <a:cubicBezTo>
                  <a:pt x="1217" y="667"/>
                  <a:pt x="1220" y="681"/>
                  <a:pt x="1217" y="655"/>
                </a:cubicBezTo>
                <a:close/>
                <a:moveTo>
                  <a:pt x="416" y="655"/>
                </a:moveTo>
                <a:lnTo>
                  <a:pt x="240" y="655"/>
                </a:lnTo>
                <a:cubicBezTo>
                  <a:pt x="238" y="670"/>
                  <a:pt x="237" y="687"/>
                  <a:pt x="228" y="700"/>
                </a:cubicBezTo>
                <a:lnTo>
                  <a:pt x="381" y="789"/>
                </a:lnTo>
                <a:cubicBezTo>
                  <a:pt x="391" y="777"/>
                  <a:pt x="401" y="770"/>
                  <a:pt x="416" y="768"/>
                </a:cubicBezTo>
                <a:lnTo>
                  <a:pt x="416" y="655"/>
                </a:lnTo>
                <a:close/>
                <a:moveTo>
                  <a:pt x="883" y="395"/>
                </a:moveTo>
                <a:lnTo>
                  <a:pt x="795" y="548"/>
                </a:lnTo>
                <a:cubicBezTo>
                  <a:pt x="827" y="572"/>
                  <a:pt x="844" y="600"/>
                  <a:pt x="848" y="639"/>
                </a:cubicBezTo>
                <a:lnTo>
                  <a:pt x="1024" y="639"/>
                </a:lnTo>
                <a:lnTo>
                  <a:pt x="1024" y="527"/>
                </a:lnTo>
                <a:cubicBezTo>
                  <a:pt x="995" y="524"/>
                  <a:pt x="979" y="498"/>
                  <a:pt x="976" y="471"/>
                </a:cubicBezTo>
                <a:cubicBezTo>
                  <a:pt x="978" y="457"/>
                  <a:pt x="976" y="464"/>
                  <a:pt x="981" y="451"/>
                </a:cubicBezTo>
                <a:lnTo>
                  <a:pt x="883" y="395"/>
                </a:lnTo>
                <a:close/>
                <a:moveTo>
                  <a:pt x="381" y="506"/>
                </a:moveTo>
                <a:lnTo>
                  <a:pt x="225" y="596"/>
                </a:lnTo>
                <a:cubicBezTo>
                  <a:pt x="237" y="621"/>
                  <a:pt x="232" y="607"/>
                  <a:pt x="240" y="639"/>
                </a:cubicBezTo>
                <a:lnTo>
                  <a:pt x="416" y="639"/>
                </a:lnTo>
                <a:lnTo>
                  <a:pt x="416" y="527"/>
                </a:lnTo>
                <a:cubicBezTo>
                  <a:pt x="400" y="526"/>
                  <a:pt x="392" y="516"/>
                  <a:pt x="381" y="506"/>
                </a:cubicBezTo>
                <a:close/>
                <a:moveTo>
                  <a:pt x="1076" y="506"/>
                </a:moveTo>
                <a:cubicBezTo>
                  <a:pt x="1066" y="517"/>
                  <a:pt x="1056" y="525"/>
                  <a:pt x="1040" y="527"/>
                </a:cubicBezTo>
                <a:lnTo>
                  <a:pt x="1040" y="639"/>
                </a:lnTo>
                <a:lnTo>
                  <a:pt x="1217" y="639"/>
                </a:lnTo>
                <a:cubicBezTo>
                  <a:pt x="1220" y="613"/>
                  <a:pt x="1217" y="628"/>
                  <a:pt x="1231" y="595"/>
                </a:cubicBezTo>
                <a:lnTo>
                  <a:pt x="1076" y="506"/>
                </a:lnTo>
                <a:close/>
                <a:moveTo>
                  <a:pt x="574" y="395"/>
                </a:moveTo>
                <a:lnTo>
                  <a:pt x="476" y="451"/>
                </a:lnTo>
                <a:cubicBezTo>
                  <a:pt x="481" y="464"/>
                  <a:pt x="479" y="457"/>
                  <a:pt x="480" y="471"/>
                </a:cubicBezTo>
                <a:cubicBezTo>
                  <a:pt x="479" y="498"/>
                  <a:pt x="461" y="524"/>
                  <a:pt x="432" y="527"/>
                </a:cubicBezTo>
                <a:lnTo>
                  <a:pt x="432" y="639"/>
                </a:lnTo>
                <a:lnTo>
                  <a:pt x="609" y="639"/>
                </a:lnTo>
                <a:cubicBezTo>
                  <a:pt x="610" y="595"/>
                  <a:pt x="633" y="576"/>
                  <a:pt x="662" y="548"/>
                </a:cubicBezTo>
                <a:lnTo>
                  <a:pt x="574" y="395"/>
                </a:lnTo>
                <a:close/>
                <a:moveTo>
                  <a:pt x="372" y="228"/>
                </a:moveTo>
                <a:lnTo>
                  <a:pt x="187" y="549"/>
                </a:lnTo>
                <a:cubicBezTo>
                  <a:pt x="199" y="558"/>
                  <a:pt x="211" y="568"/>
                  <a:pt x="218" y="582"/>
                </a:cubicBezTo>
                <a:lnTo>
                  <a:pt x="374" y="492"/>
                </a:lnTo>
                <a:cubicBezTo>
                  <a:pt x="368" y="479"/>
                  <a:pt x="370" y="486"/>
                  <a:pt x="368" y="471"/>
                </a:cubicBezTo>
                <a:cubicBezTo>
                  <a:pt x="370" y="445"/>
                  <a:pt x="388" y="419"/>
                  <a:pt x="416" y="416"/>
                </a:cubicBezTo>
                <a:lnTo>
                  <a:pt x="416" y="241"/>
                </a:lnTo>
                <a:lnTo>
                  <a:pt x="410" y="240"/>
                </a:lnTo>
                <a:cubicBezTo>
                  <a:pt x="396" y="239"/>
                  <a:pt x="384" y="232"/>
                  <a:pt x="372" y="228"/>
                </a:cubicBezTo>
                <a:close/>
                <a:moveTo>
                  <a:pt x="1085" y="227"/>
                </a:moveTo>
                <a:cubicBezTo>
                  <a:pt x="1070" y="232"/>
                  <a:pt x="1056" y="239"/>
                  <a:pt x="1040" y="239"/>
                </a:cubicBezTo>
                <a:lnTo>
                  <a:pt x="1040" y="416"/>
                </a:lnTo>
                <a:cubicBezTo>
                  <a:pt x="1070" y="419"/>
                  <a:pt x="1086" y="445"/>
                  <a:pt x="1088" y="471"/>
                </a:cubicBezTo>
                <a:cubicBezTo>
                  <a:pt x="1087" y="486"/>
                  <a:pt x="1089" y="479"/>
                  <a:pt x="1083" y="492"/>
                </a:cubicBezTo>
                <a:lnTo>
                  <a:pt x="1237" y="581"/>
                </a:lnTo>
                <a:cubicBezTo>
                  <a:pt x="1243" y="566"/>
                  <a:pt x="1260" y="558"/>
                  <a:pt x="1270" y="548"/>
                </a:cubicBezTo>
                <a:cubicBezTo>
                  <a:pt x="1239" y="494"/>
                  <a:pt x="1208" y="441"/>
                  <a:pt x="1178" y="388"/>
                </a:cubicBezTo>
                <a:lnTo>
                  <a:pt x="1095" y="246"/>
                </a:lnTo>
                <a:lnTo>
                  <a:pt x="1085" y="227"/>
                </a:lnTo>
                <a:close/>
                <a:moveTo>
                  <a:pt x="686" y="330"/>
                </a:moveTo>
                <a:lnTo>
                  <a:pt x="587" y="387"/>
                </a:lnTo>
                <a:lnTo>
                  <a:pt x="677" y="541"/>
                </a:lnTo>
                <a:cubicBezTo>
                  <a:pt x="712" y="527"/>
                  <a:pt x="694" y="531"/>
                  <a:pt x="728" y="527"/>
                </a:cubicBezTo>
                <a:cubicBezTo>
                  <a:pt x="763" y="531"/>
                  <a:pt x="745" y="527"/>
                  <a:pt x="780" y="541"/>
                </a:cubicBezTo>
                <a:lnTo>
                  <a:pt x="870" y="387"/>
                </a:lnTo>
                <a:lnTo>
                  <a:pt x="771" y="330"/>
                </a:lnTo>
                <a:cubicBezTo>
                  <a:pt x="761" y="345"/>
                  <a:pt x="745" y="350"/>
                  <a:pt x="728" y="351"/>
                </a:cubicBezTo>
                <a:cubicBezTo>
                  <a:pt x="708" y="351"/>
                  <a:pt x="699" y="344"/>
                  <a:pt x="686" y="330"/>
                </a:cubicBezTo>
                <a:close/>
                <a:moveTo>
                  <a:pt x="980" y="228"/>
                </a:moveTo>
                <a:lnTo>
                  <a:pt x="891" y="381"/>
                </a:lnTo>
                <a:lnTo>
                  <a:pt x="989" y="437"/>
                </a:lnTo>
                <a:cubicBezTo>
                  <a:pt x="998" y="426"/>
                  <a:pt x="1009" y="418"/>
                  <a:pt x="1024" y="416"/>
                </a:cubicBezTo>
                <a:lnTo>
                  <a:pt x="1024" y="239"/>
                </a:lnTo>
                <a:cubicBezTo>
                  <a:pt x="1009" y="239"/>
                  <a:pt x="994" y="233"/>
                  <a:pt x="980" y="228"/>
                </a:cubicBezTo>
                <a:close/>
                <a:moveTo>
                  <a:pt x="477" y="228"/>
                </a:moveTo>
                <a:cubicBezTo>
                  <a:pt x="451" y="238"/>
                  <a:pt x="466" y="233"/>
                  <a:pt x="432" y="241"/>
                </a:cubicBezTo>
                <a:lnTo>
                  <a:pt x="432" y="416"/>
                </a:lnTo>
                <a:cubicBezTo>
                  <a:pt x="449" y="417"/>
                  <a:pt x="458" y="427"/>
                  <a:pt x="468" y="437"/>
                </a:cubicBezTo>
                <a:lnTo>
                  <a:pt x="566" y="381"/>
                </a:lnTo>
                <a:lnTo>
                  <a:pt x="477" y="228"/>
                </a:lnTo>
                <a:close/>
                <a:moveTo>
                  <a:pt x="934" y="187"/>
                </a:moveTo>
                <a:lnTo>
                  <a:pt x="780" y="276"/>
                </a:lnTo>
                <a:cubicBezTo>
                  <a:pt x="785" y="288"/>
                  <a:pt x="783" y="281"/>
                  <a:pt x="784" y="295"/>
                </a:cubicBezTo>
                <a:cubicBezTo>
                  <a:pt x="783" y="310"/>
                  <a:pt x="785" y="303"/>
                  <a:pt x="779" y="316"/>
                </a:cubicBezTo>
                <a:lnTo>
                  <a:pt x="878" y="373"/>
                </a:lnTo>
                <a:lnTo>
                  <a:pt x="966" y="220"/>
                </a:lnTo>
                <a:cubicBezTo>
                  <a:pt x="953" y="211"/>
                  <a:pt x="941" y="201"/>
                  <a:pt x="934" y="187"/>
                </a:cubicBezTo>
                <a:close/>
                <a:moveTo>
                  <a:pt x="521" y="186"/>
                </a:moveTo>
                <a:cubicBezTo>
                  <a:pt x="506" y="208"/>
                  <a:pt x="515" y="197"/>
                  <a:pt x="491" y="220"/>
                </a:cubicBezTo>
                <a:lnTo>
                  <a:pt x="579" y="373"/>
                </a:lnTo>
                <a:lnTo>
                  <a:pt x="678" y="316"/>
                </a:lnTo>
                <a:cubicBezTo>
                  <a:pt x="672" y="303"/>
                  <a:pt x="674" y="310"/>
                  <a:pt x="672" y="295"/>
                </a:cubicBezTo>
                <a:cubicBezTo>
                  <a:pt x="674" y="281"/>
                  <a:pt x="672" y="288"/>
                  <a:pt x="677" y="276"/>
                </a:cubicBezTo>
                <a:lnTo>
                  <a:pt x="521" y="186"/>
                </a:lnTo>
                <a:close/>
                <a:moveTo>
                  <a:pt x="915" y="129"/>
                </a:moveTo>
                <a:lnTo>
                  <a:pt x="543" y="129"/>
                </a:lnTo>
                <a:cubicBezTo>
                  <a:pt x="541" y="144"/>
                  <a:pt x="539" y="160"/>
                  <a:pt x="530" y="172"/>
                </a:cubicBezTo>
                <a:lnTo>
                  <a:pt x="684" y="262"/>
                </a:lnTo>
                <a:cubicBezTo>
                  <a:pt x="695" y="246"/>
                  <a:pt x="711" y="241"/>
                  <a:pt x="728" y="239"/>
                </a:cubicBezTo>
                <a:cubicBezTo>
                  <a:pt x="750" y="240"/>
                  <a:pt x="759" y="248"/>
                  <a:pt x="773" y="262"/>
                </a:cubicBezTo>
                <a:lnTo>
                  <a:pt x="926" y="173"/>
                </a:lnTo>
                <a:cubicBezTo>
                  <a:pt x="917" y="160"/>
                  <a:pt x="916" y="144"/>
                  <a:pt x="915" y="129"/>
                </a:cubicBezTo>
                <a:close/>
              </a:path>
            </a:pathLst>
          </a:custGeom>
          <a:ln>
            <a:solidFill>
              <a:srgbClr val="002060"/>
            </a:solidFill>
            <a:headEnd/>
            <a:tailEnd/>
          </a:ln>
        </p:spPr>
        <p:style>
          <a:lnRef idx="2">
            <a:schemeClr val="accent1"/>
          </a:lnRef>
          <a:fillRef idx="1">
            <a:schemeClr val="lt1"/>
          </a:fillRef>
          <a:effectRef idx="0">
            <a:schemeClr val="accent1"/>
          </a:effectRef>
          <a:fontRef idx="minor">
            <a:schemeClr val="dk1"/>
          </a:fontRef>
        </p:style>
        <p:txBody>
          <a:bodyPr vert="horz" wrap="square" lIns="93260" tIns="46630" rIns="93260" bIns="46630" numCol="1" anchor="t" anchorCtr="0" compatLnSpc="1">
            <a:prstTxWarp prst="textNoShape">
              <a:avLst/>
            </a:prstTxWarp>
          </a:bodyPr>
          <a:lstStyle/>
          <a:p>
            <a:pPr defTabSz="932597"/>
            <a:endParaRPr lang="en-IN" sz="1836">
              <a:solidFill>
                <a:srgbClr val="505050"/>
              </a:solidFill>
              <a:latin typeface="Segoe UI"/>
            </a:endParaRPr>
          </a:p>
        </p:txBody>
      </p:sp>
    </p:spTree>
    <p:extLst>
      <p:ext uri="{BB962C8B-B14F-4D97-AF65-F5344CB8AC3E}">
        <p14:creationId xmlns:p14="http://schemas.microsoft.com/office/powerpoint/2010/main" val="264140500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BB25EB9-1A2D-44B1-AF2C-08DE258E79F1}"/>
              </a:ext>
            </a:extLst>
          </p:cNvPr>
          <p:cNvSpPr>
            <a:spLocks noGrp="1"/>
          </p:cNvSpPr>
          <p:nvPr>
            <p:ph type="title"/>
          </p:nvPr>
        </p:nvSpPr>
        <p:spPr/>
        <p:txBody>
          <a:bodyPr>
            <a:normAutofit fontScale="90000"/>
          </a:bodyPr>
          <a:lstStyle/>
          <a:p>
            <a:r>
              <a:rPr lang="en-US"/>
              <a:t>Modern Workplace </a:t>
            </a:r>
            <a:br>
              <a:rPr lang="en-US"/>
            </a:br>
            <a:r>
              <a:rPr lang="en-US" sz="2448">
                <a:latin typeface="Segoe UI Semibold" panose="020B0702040204020203" pitchFamily="34" charset="0"/>
                <a:cs typeface="Segoe UI Semibold" panose="020B0702040204020203" pitchFamily="34" charset="0"/>
              </a:rPr>
              <a:t>Convergence of IT &amp; OT scenarios</a:t>
            </a:r>
          </a:p>
        </p:txBody>
      </p:sp>
      <p:sp>
        <p:nvSpPr>
          <p:cNvPr id="213" name="Arrow: Left 212">
            <a:extLst>
              <a:ext uri="{FF2B5EF4-FFF2-40B4-BE49-F238E27FC236}">
                <a16:creationId xmlns:a16="http://schemas.microsoft.com/office/drawing/2014/main" id="{44BFD31F-D7AE-4C17-A969-4F97161AC16D}"/>
              </a:ext>
            </a:extLst>
          </p:cNvPr>
          <p:cNvSpPr/>
          <p:nvPr/>
        </p:nvSpPr>
        <p:spPr>
          <a:xfrm flipH="1">
            <a:off x="460215" y="1214797"/>
            <a:ext cx="4864513" cy="5778735"/>
          </a:xfrm>
          <a:prstGeom prst="leftArrow">
            <a:avLst>
              <a:gd name="adj1" fmla="val 91762"/>
              <a:gd name="adj2" fmla="val 26272"/>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t" anchorCtr="0" forceAA="0" compatLnSpc="1">
            <a:prstTxWarp prst="textNoShape">
              <a:avLst/>
            </a:prstTxWarp>
            <a:noAutofit/>
          </a:bodyPr>
          <a:lstStyle/>
          <a:p>
            <a:pPr algn="ctr" defTabSz="932418">
              <a:defRPr/>
            </a:pPr>
            <a:r>
              <a:rPr lang="en-US" sz="2040">
                <a:solidFill>
                  <a:srgbClr val="353535"/>
                </a:solidFill>
                <a:latin typeface="Segoe UI Semilight"/>
              </a:rPr>
              <a:t>Information Technology</a:t>
            </a:r>
          </a:p>
        </p:txBody>
      </p:sp>
      <p:sp>
        <p:nvSpPr>
          <p:cNvPr id="214" name="Arrow: Left 213">
            <a:extLst>
              <a:ext uri="{FF2B5EF4-FFF2-40B4-BE49-F238E27FC236}">
                <a16:creationId xmlns:a16="http://schemas.microsoft.com/office/drawing/2014/main" id="{07A8C9C5-9359-48E6-9765-29A08BCF2B33}"/>
              </a:ext>
            </a:extLst>
          </p:cNvPr>
          <p:cNvSpPr/>
          <p:nvPr/>
        </p:nvSpPr>
        <p:spPr>
          <a:xfrm>
            <a:off x="7118644" y="1214796"/>
            <a:ext cx="4864513" cy="5778737"/>
          </a:xfrm>
          <a:prstGeom prst="leftArrow">
            <a:avLst>
              <a:gd name="adj1" fmla="val 91149"/>
              <a:gd name="adj2" fmla="val 2788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34" tIns="93234" rIns="93234" bIns="93234" numCol="1" spcCol="0" rtlCol="0" fromWordArt="0" anchor="t" anchorCtr="0" forceAA="0" compatLnSpc="1">
            <a:prstTxWarp prst="textNoShape">
              <a:avLst/>
            </a:prstTxWarp>
            <a:noAutofit/>
          </a:bodyPr>
          <a:lstStyle/>
          <a:p>
            <a:pPr algn="ctr" defTabSz="932418">
              <a:defRPr/>
            </a:pPr>
            <a:r>
              <a:rPr lang="en-US" sz="2040">
                <a:solidFill>
                  <a:srgbClr val="353535"/>
                </a:solidFill>
                <a:latin typeface="Segoe UI Semilight"/>
              </a:rPr>
              <a:t>Operational Technology </a:t>
            </a:r>
          </a:p>
        </p:txBody>
      </p:sp>
      <p:sp>
        <p:nvSpPr>
          <p:cNvPr id="112" name="Rectangle 111">
            <a:extLst>
              <a:ext uri="{FF2B5EF4-FFF2-40B4-BE49-F238E27FC236}">
                <a16:creationId xmlns:a16="http://schemas.microsoft.com/office/drawing/2014/main" id="{7E34CFC6-88C9-4E2D-8AD3-C0E7CC6CA475}"/>
              </a:ext>
            </a:extLst>
          </p:cNvPr>
          <p:cNvSpPr/>
          <p:nvPr/>
        </p:nvSpPr>
        <p:spPr>
          <a:xfrm>
            <a:off x="1567933" y="5096651"/>
            <a:ext cx="1271126"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91377" rIns="91377" bIns="91377" numCol="1" spcCol="0" rtlCol="0" fromWordArt="0" anchor="b" anchorCtr="0" forceAA="0" compatLnSpc="1">
            <a:prstTxWarp prst="textNoShape">
              <a:avLst/>
            </a:prstTxWarp>
            <a:noAutofit/>
          </a:bodyPr>
          <a:lstStyle/>
          <a:p>
            <a:pPr algn="r" defTabSz="931575">
              <a:defRPr/>
            </a:pPr>
            <a:r>
              <a:rPr lang="en-US" sz="918" b="1" kern="0">
                <a:solidFill>
                  <a:srgbClr val="505050"/>
                </a:solidFill>
                <a:latin typeface="Segoe UI Semilight"/>
              </a:rPr>
              <a:t>Analytics</a:t>
            </a:r>
          </a:p>
          <a:p>
            <a:pPr algn="r" defTabSz="931575">
              <a:defRPr/>
            </a:pPr>
            <a:r>
              <a:rPr lang="en-US" sz="816" kern="0">
                <a:solidFill>
                  <a:srgbClr val="505050"/>
                </a:solidFill>
                <a:latin typeface="Segoe UI Semilight"/>
              </a:rPr>
              <a:t>(</a:t>
            </a:r>
            <a:r>
              <a:rPr lang="en-US" sz="816" kern="0" err="1">
                <a:solidFill>
                  <a:srgbClr val="505050"/>
                </a:solidFill>
                <a:latin typeface="Segoe UI Semilight"/>
              </a:rPr>
              <a:t>PowerBI</a:t>
            </a:r>
            <a:r>
              <a:rPr lang="en-US" sz="816" kern="0">
                <a:solidFill>
                  <a:srgbClr val="505050"/>
                </a:solidFill>
                <a:latin typeface="Segoe UI Semilight"/>
              </a:rPr>
              <a:t>, </a:t>
            </a:r>
          </a:p>
          <a:p>
            <a:pPr algn="r" defTabSz="931575">
              <a:defRPr/>
            </a:pPr>
            <a:r>
              <a:rPr lang="en-US" sz="816" kern="0">
                <a:solidFill>
                  <a:srgbClr val="505050"/>
                </a:solidFill>
                <a:latin typeface="Segoe UI Semilight"/>
              </a:rPr>
              <a:t>MyAnalytics)</a:t>
            </a:r>
          </a:p>
        </p:txBody>
      </p:sp>
      <p:sp>
        <p:nvSpPr>
          <p:cNvPr id="117" name="Rectangle 116">
            <a:extLst>
              <a:ext uri="{FF2B5EF4-FFF2-40B4-BE49-F238E27FC236}">
                <a16:creationId xmlns:a16="http://schemas.microsoft.com/office/drawing/2014/main" id="{A295C322-52B7-4D68-843F-F73FB26F8845}"/>
              </a:ext>
            </a:extLst>
          </p:cNvPr>
          <p:cNvSpPr/>
          <p:nvPr/>
        </p:nvSpPr>
        <p:spPr>
          <a:xfrm>
            <a:off x="1567933" y="2755707"/>
            <a:ext cx="1271126"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91377" rIns="91377" bIns="91377" numCol="1" spcCol="0" rtlCol="0" fromWordArt="0" anchor="b" anchorCtr="0" forceAA="0" compatLnSpc="1">
            <a:prstTxWarp prst="textNoShape">
              <a:avLst/>
            </a:prstTxWarp>
            <a:noAutofit/>
          </a:bodyPr>
          <a:lstStyle/>
          <a:p>
            <a:pPr algn="r" defTabSz="931575">
              <a:defRPr/>
            </a:pPr>
            <a:r>
              <a:rPr lang="en-US" sz="918" b="1" kern="0">
                <a:solidFill>
                  <a:srgbClr val="505050"/>
                </a:solidFill>
                <a:latin typeface="Segoe UI Semilight"/>
              </a:rPr>
              <a:t>Mail &amp; Social</a:t>
            </a:r>
          </a:p>
          <a:p>
            <a:pPr algn="r" defTabSz="931575">
              <a:defRPr/>
            </a:pPr>
            <a:r>
              <a:rPr lang="en-US" sz="816" kern="0">
                <a:solidFill>
                  <a:srgbClr val="505050"/>
                </a:solidFill>
                <a:latin typeface="Segoe UI Semilight"/>
              </a:rPr>
              <a:t>(Outlook, </a:t>
            </a:r>
          </a:p>
          <a:p>
            <a:pPr algn="r" defTabSz="931575">
              <a:defRPr/>
            </a:pPr>
            <a:r>
              <a:rPr lang="en-US" sz="816" kern="0">
                <a:solidFill>
                  <a:srgbClr val="505050"/>
                </a:solidFill>
                <a:latin typeface="Segoe UI Semilight"/>
              </a:rPr>
              <a:t>Yammer)</a:t>
            </a:r>
            <a:endParaRPr lang="en-US" sz="800" kern="0">
              <a:solidFill>
                <a:srgbClr val="505050"/>
              </a:solidFill>
              <a:latin typeface="Segoe UI Semilight"/>
            </a:endParaRPr>
          </a:p>
        </p:txBody>
      </p:sp>
      <p:sp>
        <p:nvSpPr>
          <p:cNvPr id="122" name="Rectangle 121">
            <a:extLst>
              <a:ext uri="{FF2B5EF4-FFF2-40B4-BE49-F238E27FC236}">
                <a16:creationId xmlns:a16="http://schemas.microsoft.com/office/drawing/2014/main" id="{D5009E6C-7BB8-4FC1-97C9-F4AF99808BCC}"/>
              </a:ext>
            </a:extLst>
          </p:cNvPr>
          <p:cNvSpPr/>
          <p:nvPr/>
        </p:nvSpPr>
        <p:spPr>
          <a:xfrm>
            <a:off x="1561473" y="4316025"/>
            <a:ext cx="1271126"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91377" rIns="91377" bIns="91377" numCol="1" spcCol="0" rtlCol="0" fromWordArt="0" anchor="b" anchorCtr="0" forceAA="0" compatLnSpc="1">
            <a:prstTxWarp prst="textNoShape">
              <a:avLst/>
            </a:prstTxWarp>
            <a:noAutofit/>
          </a:bodyPr>
          <a:lstStyle/>
          <a:p>
            <a:pPr algn="r" defTabSz="931575">
              <a:defRPr/>
            </a:pPr>
            <a:r>
              <a:rPr lang="en-US" sz="918" b="1" kern="0">
                <a:solidFill>
                  <a:srgbClr val="505050"/>
                </a:solidFill>
                <a:latin typeface="Segoe UI Semilight"/>
              </a:rPr>
              <a:t>Sites &amp;</a:t>
            </a:r>
          </a:p>
          <a:p>
            <a:pPr algn="r" defTabSz="931575">
              <a:defRPr/>
            </a:pPr>
            <a:r>
              <a:rPr lang="en-US" sz="918" b="1" kern="0">
                <a:solidFill>
                  <a:srgbClr val="505050"/>
                </a:solidFill>
                <a:latin typeface="Segoe UI Semilight"/>
              </a:rPr>
              <a:t>Content</a:t>
            </a:r>
          </a:p>
          <a:p>
            <a:pPr algn="r" defTabSz="931575">
              <a:defRPr/>
            </a:pPr>
            <a:r>
              <a:rPr lang="en-US" sz="816" kern="0">
                <a:solidFill>
                  <a:srgbClr val="505050"/>
                </a:solidFill>
                <a:latin typeface="Segoe UI Semilight"/>
              </a:rPr>
              <a:t>(OneDrive, </a:t>
            </a:r>
          </a:p>
          <a:p>
            <a:pPr algn="r" defTabSz="931575">
              <a:defRPr/>
            </a:pPr>
            <a:r>
              <a:rPr lang="en-US" sz="816" kern="0">
                <a:solidFill>
                  <a:srgbClr val="505050"/>
                </a:solidFill>
                <a:latin typeface="Segoe UI Semilight"/>
              </a:rPr>
              <a:t>SharePoint, Delve)</a:t>
            </a:r>
          </a:p>
        </p:txBody>
      </p:sp>
      <p:sp>
        <p:nvSpPr>
          <p:cNvPr id="127" name="Rectangle 126">
            <a:extLst>
              <a:ext uri="{FF2B5EF4-FFF2-40B4-BE49-F238E27FC236}">
                <a16:creationId xmlns:a16="http://schemas.microsoft.com/office/drawing/2014/main" id="{DDB55AA7-7AA8-4C58-97AF-BB8D12CDF35A}"/>
              </a:ext>
            </a:extLst>
          </p:cNvPr>
          <p:cNvSpPr/>
          <p:nvPr/>
        </p:nvSpPr>
        <p:spPr>
          <a:xfrm>
            <a:off x="1561473" y="1988315"/>
            <a:ext cx="1271126"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91377" rIns="91377" bIns="91377" numCol="1" spcCol="0" rtlCol="0" fromWordArt="0" anchor="b" anchorCtr="0" forceAA="0" compatLnSpc="1">
            <a:prstTxWarp prst="textNoShape">
              <a:avLst/>
            </a:prstTxWarp>
            <a:noAutofit/>
          </a:bodyPr>
          <a:lstStyle/>
          <a:p>
            <a:pPr algn="r" defTabSz="931575">
              <a:defRPr/>
            </a:pPr>
            <a:r>
              <a:rPr lang="en-US" sz="918" b="1" kern="0">
                <a:solidFill>
                  <a:srgbClr val="505050"/>
                </a:solidFill>
                <a:latin typeface="Segoe UI Semilight"/>
              </a:rPr>
              <a:t>Communication </a:t>
            </a:r>
            <a:r>
              <a:rPr lang="en-US" sz="816" kern="0">
                <a:solidFill>
                  <a:srgbClr val="505050"/>
                </a:solidFill>
                <a:latin typeface="Segoe UI Semilight"/>
              </a:rPr>
              <a:t>(Skype for Business)</a:t>
            </a:r>
            <a:endParaRPr lang="en-US" sz="1020" kern="0">
              <a:solidFill>
                <a:srgbClr val="505050"/>
              </a:solidFill>
              <a:latin typeface="Segoe UI Semilight"/>
            </a:endParaRPr>
          </a:p>
        </p:txBody>
      </p:sp>
      <p:sp>
        <p:nvSpPr>
          <p:cNvPr id="132" name="Rectangle 131">
            <a:extLst>
              <a:ext uri="{FF2B5EF4-FFF2-40B4-BE49-F238E27FC236}">
                <a16:creationId xmlns:a16="http://schemas.microsoft.com/office/drawing/2014/main" id="{FDC3D8E0-044D-42EA-8183-980FD2E61DD5}"/>
              </a:ext>
            </a:extLst>
          </p:cNvPr>
          <p:cNvSpPr/>
          <p:nvPr/>
        </p:nvSpPr>
        <p:spPr>
          <a:xfrm>
            <a:off x="1567933" y="3537112"/>
            <a:ext cx="1271126"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91377" rIns="91377" bIns="91377" numCol="1" spcCol="0" rtlCol="0" fromWordArt="0" anchor="b" anchorCtr="0" forceAA="0" compatLnSpc="1">
            <a:prstTxWarp prst="textNoShape">
              <a:avLst/>
            </a:prstTxWarp>
            <a:noAutofit/>
          </a:bodyPr>
          <a:lstStyle/>
          <a:p>
            <a:pPr algn="r" defTabSz="931575">
              <a:defRPr/>
            </a:pPr>
            <a:r>
              <a:rPr lang="en-US" sz="918" b="1" kern="0">
                <a:solidFill>
                  <a:srgbClr val="505050"/>
                </a:solidFill>
                <a:latin typeface="Segoe UI Semilight"/>
              </a:rPr>
              <a:t>Authoring</a:t>
            </a:r>
          </a:p>
          <a:p>
            <a:pPr algn="r" defTabSz="931575">
              <a:defRPr/>
            </a:pPr>
            <a:r>
              <a:rPr lang="en-US" sz="816" kern="0">
                <a:solidFill>
                  <a:srgbClr val="505050"/>
                </a:solidFill>
                <a:latin typeface="Segoe UI Semilight"/>
              </a:rPr>
              <a:t>(Word, Excel, </a:t>
            </a:r>
          </a:p>
          <a:p>
            <a:pPr algn="r" defTabSz="931575">
              <a:defRPr/>
            </a:pPr>
            <a:r>
              <a:rPr lang="en-US" sz="816" kern="0">
                <a:solidFill>
                  <a:srgbClr val="505050"/>
                </a:solidFill>
                <a:latin typeface="Segoe UI Semilight"/>
              </a:rPr>
              <a:t>PowerPoint,  </a:t>
            </a:r>
          </a:p>
          <a:p>
            <a:pPr algn="r" defTabSz="931575">
              <a:defRPr/>
            </a:pPr>
            <a:r>
              <a:rPr lang="en-US" sz="816" kern="0">
                <a:solidFill>
                  <a:srgbClr val="505050"/>
                </a:solidFill>
                <a:latin typeface="Segoe UI Semilight"/>
              </a:rPr>
              <a:t>OneNote)</a:t>
            </a:r>
          </a:p>
        </p:txBody>
      </p:sp>
      <p:sp>
        <p:nvSpPr>
          <p:cNvPr id="143" name="Rectangle 142">
            <a:extLst>
              <a:ext uri="{FF2B5EF4-FFF2-40B4-BE49-F238E27FC236}">
                <a16:creationId xmlns:a16="http://schemas.microsoft.com/office/drawing/2014/main" id="{3A75FA41-6DCB-469A-8F46-55F38D874AD2}"/>
              </a:ext>
            </a:extLst>
          </p:cNvPr>
          <p:cNvSpPr/>
          <p:nvPr/>
        </p:nvSpPr>
        <p:spPr>
          <a:xfrm>
            <a:off x="2911090" y="1987274"/>
            <a:ext cx="1271125"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27974" rIns="91377" bIns="91377" numCol="1" spcCol="0" rtlCol="0" fromWordArt="0" anchor="t" anchorCtr="0" forceAA="0" compatLnSpc="1">
            <a:prstTxWarp prst="textNoShape">
              <a:avLst/>
            </a:prstTxWarp>
            <a:noAutofit/>
          </a:bodyPr>
          <a:lstStyle/>
          <a:p>
            <a:pPr algn="r" defTabSz="931575">
              <a:defRPr/>
            </a:pPr>
            <a:r>
              <a:rPr lang="en-US" sz="918" b="1" kern="0">
                <a:solidFill>
                  <a:srgbClr val="505050"/>
                </a:solidFill>
                <a:latin typeface="Segoe UI Semilight"/>
              </a:rPr>
              <a:t>Collaboration</a:t>
            </a:r>
          </a:p>
          <a:p>
            <a:pPr algn="r" defTabSz="931575">
              <a:defRPr/>
            </a:pPr>
            <a:r>
              <a:rPr lang="en-US" sz="816" kern="0">
                <a:solidFill>
                  <a:srgbClr val="505050"/>
                </a:solidFill>
                <a:latin typeface="Segoe UI Semilight"/>
              </a:rPr>
              <a:t>Outlook, SharePoint, Yammer, co-author</a:t>
            </a:r>
          </a:p>
          <a:p>
            <a:pPr algn="r" defTabSz="931575">
              <a:defRPr/>
            </a:pPr>
            <a:r>
              <a:rPr lang="en-US" sz="816" kern="0">
                <a:solidFill>
                  <a:srgbClr val="505050"/>
                </a:solidFill>
                <a:latin typeface="Segoe UI Semilight"/>
              </a:rPr>
              <a:t>Teams, Group</a:t>
            </a:r>
          </a:p>
          <a:p>
            <a:pPr algn="r" defTabSz="931575">
              <a:defRPr/>
            </a:pPr>
            <a:r>
              <a:rPr lang="en-US" sz="816" kern="0">
                <a:solidFill>
                  <a:srgbClr val="505050"/>
                </a:solidFill>
                <a:latin typeface="Segoe UI Semilight"/>
              </a:rPr>
              <a:t>StaffHub, Stream </a:t>
            </a:r>
            <a:endParaRPr lang="en-US" sz="1000" kern="0">
              <a:solidFill>
                <a:srgbClr val="505050"/>
              </a:solidFill>
              <a:latin typeface="Segoe UI Semilight"/>
            </a:endParaRPr>
          </a:p>
        </p:txBody>
      </p:sp>
      <p:sp>
        <p:nvSpPr>
          <p:cNvPr id="146" name="Rectangle 145">
            <a:extLst>
              <a:ext uri="{FF2B5EF4-FFF2-40B4-BE49-F238E27FC236}">
                <a16:creationId xmlns:a16="http://schemas.microsoft.com/office/drawing/2014/main" id="{0ECF66AC-09B9-4A3D-8CE9-208C6CF047A9}"/>
              </a:ext>
            </a:extLst>
          </p:cNvPr>
          <p:cNvSpPr/>
          <p:nvPr/>
        </p:nvSpPr>
        <p:spPr>
          <a:xfrm>
            <a:off x="2911092" y="5096651"/>
            <a:ext cx="1271126"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27974" rIns="91377" bIns="91377" numCol="1" spcCol="0" rtlCol="0" fromWordArt="0" anchor="t" anchorCtr="0" forceAA="0" compatLnSpc="1">
            <a:prstTxWarp prst="textNoShape">
              <a:avLst/>
            </a:prstTxWarp>
            <a:noAutofit/>
          </a:bodyPr>
          <a:lstStyle/>
          <a:p>
            <a:pPr algn="r" defTabSz="931575">
              <a:defRPr/>
            </a:pPr>
            <a:r>
              <a:rPr lang="en-US" sz="918" b="1" kern="0">
                <a:solidFill>
                  <a:srgbClr val="353535"/>
                </a:solidFill>
                <a:latin typeface="Segoe UI Semilight"/>
              </a:rPr>
              <a:t>Business Process</a:t>
            </a:r>
          </a:p>
          <a:p>
            <a:pPr algn="r" defTabSz="931575">
              <a:defRPr/>
            </a:pPr>
            <a:r>
              <a:rPr lang="en-US" sz="816" kern="0">
                <a:solidFill>
                  <a:srgbClr val="353535"/>
                </a:solidFill>
                <a:latin typeface="Segoe UI Semilight"/>
              </a:rPr>
              <a:t>PowerApps, </a:t>
            </a:r>
          </a:p>
          <a:p>
            <a:pPr algn="r" defTabSz="931575">
              <a:defRPr/>
            </a:pPr>
            <a:r>
              <a:rPr lang="en-US" sz="816" kern="0">
                <a:solidFill>
                  <a:srgbClr val="353535"/>
                </a:solidFill>
                <a:latin typeface="Segoe UI Semilight"/>
              </a:rPr>
              <a:t>Flow, Graph</a:t>
            </a:r>
          </a:p>
          <a:p>
            <a:pPr algn="r" defTabSz="931575">
              <a:defRPr/>
            </a:pPr>
            <a:endParaRPr lang="en-US" sz="800" kern="0">
              <a:solidFill>
                <a:srgbClr val="353535"/>
              </a:solidFill>
              <a:latin typeface="Segoe UI Semilight"/>
            </a:endParaRPr>
          </a:p>
          <a:p>
            <a:pPr algn="r" defTabSz="931575">
              <a:defRPr/>
            </a:pPr>
            <a:endParaRPr lang="en-US" sz="1020" kern="0">
              <a:solidFill>
                <a:srgbClr val="353535"/>
              </a:solidFill>
              <a:latin typeface="Segoe UI Semilight"/>
            </a:endParaRPr>
          </a:p>
        </p:txBody>
      </p:sp>
      <p:sp>
        <p:nvSpPr>
          <p:cNvPr id="150" name="Rectangle 149">
            <a:extLst>
              <a:ext uri="{FF2B5EF4-FFF2-40B4-BE49-F238E27FC236}">
                <a16:creationId xmlns:a16="http://schemas.microsoft.com/office/drawing/2014/main" id="{082FD1A9-6A56-424A-965A-4863A649A5E4}"/>
              </a:ext>
            </a:extLst>
          </p:cNvPr>
          <p:cNvSpPr/>
          <p:nvPr/>
        </p:nvSpPr>
        <p:spPr>
          <a:xfrm>
            <a:off x="2917553" y="2754927"/>
            <a:ext cx="1271126"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27974" rIns="91377" bIns="91377" numCol="1" spcCol="0" rtlCol="0" fromWordArt="0" anchor="t" anchorCtr="0" forceAA="0" compatLnSpc="1">
            <a:prstTxWarp prst="textNoShape">
              <a:avLst/>
            </a:prstTxWarp>
            <a:noAutofit/>
          </a:bodyPr>
          <a:lstStyle/>
          <a:p>
            <a:pPr algn="r" defTabSz="931575">
              <a:defRPr/>
            </a:pPr>
            <a:r>
              <a:rPr lang="en-US" sz="918" b="1" kern="0">
                <a:solidFill>
                  <a:srgbClr val="505050"/>
                </a:solidFill>
                <a:latin typeface="Segoe UI Semilight"/>
              </a:rPr>
              <a:t>Intelligence</a:t>
            </a:r>
          </a:p>
          <a:p>
            <a:pPr algn="r" defTabSz="931575">
              <a:defRPr/>
            </a:pPr>
            <a:r>
              <a:rPr lang="en-US" sz="816" kern="0" err="1">
                <a:solidFill>
                  <a:srgbClr val="505050"/>
                </a:solidFill>
                <a:latin typeface="Segoe UI Semilight"/>
              </a:rPr>
              <a:t>PowerBI</a:t>
            </a:r>
            <a:r>
              <a:rPr lang="en-US" sz="816" kern="0">
                <a:solidFill>
                  <a:srgbClr val="505050"/>
                </a:solidFill>
                <a:latin typeface="Segoe UI Semilight"/>
              </a:rPr>
              <a:t>, Excel, My Intelligence, </a:t>
            </a:r>
          </a:p>
          <a:p>
            <a:pPr algn="r" defTabSz="931575">
              <a:defRPr/>
            </a:pPr>
            <a:r>
              <a:rPr lang="en-US" sz="816" kern="0">
                <a:solidFill>
                  <a:srgbClr val="505050"/>
                </a:solidFill>
                <a:latin typeface="Segoe UI Semilight"/>
              </a:rPr>
              <a:t>Delve,</a:t>
            </a:r>
          </a:p>
          <a:p>
            <a:pPr algn="r" defTabSz="931575">
              <a:defRPr/>
            </a:pPr>
            <a:endParaRPr lang="en-US" sz="900" kern="0">
              <a:solidFill>
                <a:srgbClr val="505050"/>
              </a:solidFill>
              <a:latin typeface="Segoe UI Semilight"/>
            </a:endParaRPr>
          </a:p>
        </p:txBody>
      </p:sp>
      <p:sp>
        <p:nvSpPr>
          <p:cNvPr id="153" name="Rectangle 152">
            <a:extLst>
              <a:ext uri="{FF2B5EF4-FFF2-40B4-BE49-F238E27FC236}">
                <a16:creationId xmlns:a16="http://schemas.microsoft.com/office/drawing/2014/main" id="{9479C879-7D1B-4389-B07F-E33845658E02}"/>
              </a:ext>
            </a:extLst>
          </p:cNvPr>
          <p:cNvSpPr/>
          <p:nvPr/>
        </p:nvSpPr>
        <p:spPr>
          <a:xfrm>
            <a:off x="2917553" y="3536593"/>
            <a:ext cx="1271126"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27974" rIns="91377" bIns="91377" numCol="1" spcCol="0" rtlCol="0" fromWordArt="0" anchor="t" anchorCtr="0" forceAA="0" compatLnSpc="1">
            <a:prstTxWarp prst="textNoShape">
              <a:avLst/>
            </a:prstTxWarp>
            <a:noAutofit/>
          </a:bodyPr>
          <a:lstStyle/>
          <a:p>
            <a:pPr algn="r" defTabSz="931575">
              <a:defRPr/>
            </a:pPr>
            <a:r>
              <a:rPr lang="en-US" sz="918" b="1" kern="0">
                <a:solidFill>
                  <a:srgbClr val="505050"/>
                </a:solidFill>
                <a:latin typeface="Segoe UI Semilight"/>
              </a:rPr>
              <a:t>Mobility</a:t>
            </a:r>
          </a:p>
          <a:p>
            <a:pPr algn="r" defTabSz="931575">
              <a:defRPr/>
            </a:pPr>
            <a:r>
              <a:rPr lang="en-US" sz="714" kern="0">
                <a:solidFill>
                  <a:srgbClr val="505050"/>
                </a:solidFill>
                <a:latin typeface="Segoe UI Semilight"/>
              </a:rPr>
              <a:t>Anytime, anywhere, Managed App</a:t>
            </a:r>
          </a:p>
          <a:p>
            <a:pPr algn="r" defTabSz="931575">
              <a:defRPr/>
            </a:pPr>
            <a:r>
              <a:rPr lang="en-US" sz="714" kern="0">
                <a:solidFill>
                  <a:srgbClr val="505050"/>
                </a:solidFill>
                <a:latin typeface="Segoe UI Semilight"/>
              </a:rPr>
              <a:t>Multi-platform</a:t>
            </a:r>
          </a:p>
          <a:p>
            <a:pPr algn="r" defTabSz="931575">
              <a:defRPr/>
            </a:pPr>
            <a:endParaRPr lang="en-US" sz="1020" kern="0">
              <a:solidFill>
                <a:srgbClr val="505050"/>
              </a:solidFill>
              <a:latin typeface="Segoe UI Semilight"/>
            </a:endParaRPr>
          </a:p>
        </p:txBody>
      </p:sp>
      <p:sp>
        <p:nvSpPr>
          <p:cNvPr id="158" name="Rectangle 157">
            <a:extLst>
              <a:ext uri="{FF2B5EF4-FFF2-40B4-BE49-F238E27FC236}">
                <a16:creationId xmlns:a16="http://schemas.microsoft.com/office/drawing/2014/main" id="{F872EF71-2867-4EC2-8462-EAF73402E106}"/>
              </a:ext>
            </a:extLst>
          </p:cNvPr>
          <p:cNvSpPr/>
          <p:nvPr/>
        </p:nvSpPr>
        <p:spPr>
          <a:xfrm>
            <a:off x="2911092" y="4315767"/>
            <a:ext cx="1271126" cy="726359"/>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77" tIns="27974" rIns="91377" bIns="91377" numCol="1" spcCol="0" rtlCol="0" fromWordArt="0" anchor="t" anchorCtr="0" forceAA="0" compatLnSpc="1">
            <a:prstTxWarp prst="textNoShape">
              <a:avLst/>
            </a:prstTxWarp>
            <a:noAutofit/>
          </a:bodyPr>
          <a:lstStyle/>
          <a:p>
            <a:pPr algn="r" defTabSz="931575">
              <a:defRPr/>
            </a:pPr>
            <a:r>
              <a:rPr lang="en-US" sz="918" b="1" kern="0">
                <a:solidFill>
                  <a:srgbClr val="505050"/>
                </a:solidFill>
                <a:latin typeface="Segoe UI Semilight"/>
              </a:rPr>
              <a:t>Trust </a:t>
            </a:r>
          </a:p>
          <a:p>
            <a:pPr algn="r" defTabSz="931575">
              <a:defRPr/>
            </a:pPr>
            <a:r>
              <a:rPr lang="en-US" sz="816" kern="0">
                <a:solidFill>
                  <a:srgbClr val="505050"/>
                </a:solidFill>
                <a:latin typeface="Segoe UI Semilight"/>
              </a:rPr>
              <a:t>Compliance, Privacy, Threat Intelligence Transparency, </a:t>
            </a:r>
          </a:p>
          <a:p>
            <a:pPr algn="r" defTabSz="931575">
              <a:defRPr/>
            </a:pPr>
            <a:r>
              <a:rPr lang="en-US" sz="816" kern="0">
                <a:solidFill>
                  <a:srgbClr val="505050"/>
                </a:solidFill>
                <a:latin typeface="Segoe UI Semilight"/>
              </a:rPr>
              <a:t>data governance </a:t>
            </a:r>
          </a:p>
        </p:txBody>
      </p:sp>
      <p:sp>
        <p:nvSpPr>
          <p:cNvPr id="160" name="TextBox 159">
            <a:extLst>
              <a:ext uri="{FF2B5EF4-FFF2-40B4-BE49-F238E27FC236}">
                <a16:creationId xmlns:a16="http://schemas.microsoft.com/office/drawing/2014/main" id="{0DF28FD6-3400-4679-A149-031117D9609E}"/>
              </a:ext>
            </a:extLst>
          </p:cNvPr>
          <p:cNvSpPr txBox="1"/>
          <p:nvPr/>
        </p:nvSpPr>
        <p:spPr>
          <a:xfrm>
            <a:off x="1621411" y="5877278"/>
            <a:ext cx="1133734" cy="564482"/>
          </a:xfrm>
          <a:prstGeom prst="rect">
            <a:avLst/>
          </a:prstGeom>
        </p:spPr>
        <p:txBody>
          <a:bodyPr vert="horz" wrap="none" lIns="91377" tIns="91377" rIns="91377" bIns="91377" rtlCol="0" anchor="t">
            <a:noAutofit/>
          </a:bodyPr>
          <a:lstStyle/>
          <a:p>
            <a:pPr algn="ctr" defTabSz="931575">
              <a:defRPr/>
            </a:pPr>
            <a:r>
              <a:rPr lang="en-US" sz="1224" kern="0">
                <a:solidFill>
                  <a:srgbClr val="0078D7">
                    <a:lumMod val="75000"/>
                  </a:srgbClr>
                </a:solidFill>
                <a:latin typeface="Segoe UI"/>
                <a:cs typeface="Segoe UI" pitchFamily="34" charset="0"/>
              </a:rPr>
              <a:t>Personal </a:t>
            </a:r>
          </a:p>
          <a:p>
            <a:pPr algn="ctr" defTabSz="931575">
              <a:defRPr/>
            </a:pPr>
            <a:r>
              <a:rPr lang="en-US" sz="1224" kern="0">
                <a:solidFill>
                  <a:srgbClr val="0078D7">
                    <a:lumMod val="75000"/>
                  </a:srgbClr>
                </a:solidFill>
                <a:latin typeface="Segoe UI"/>
                <a:cs typeface="Segoe UI" pitchFamily="34" charset="0"/>
              </a:rPr>
              <a:t>Productivity </a:t>
            </a:r>
          </a:p>
          <a:p>
            <a:pPr algn="ctr" defTabSz="931575">
              <a:defRPr/>
            </a:pPr>
            <a:r>
              <a:rPr lang="en-US" sz="1224" kern="0">
                <a:solidFill>
                  <a:srgbClr val="0078D7">
                    <a:lumMod val="75000"/>
                  </a:srgbClr>
                </a:solidFill>
                <a:latin typeface="Segoe UI"/>
                <a:cs typeface="Segoe UI" pitchFamily="34" charset="0"/>
              </a:rPr>
              <a:t>&amp; Insights</a:t>
            </a:r>
          </a:p>
        </p:txBody>
      </p:sp>
      <p:sp>
        <p:nvSpPr>
          <p:cNvPr id="161" name="TextBox 160">
            <a:extLst>
              <a:ext uri="{FF2B5EF4-FFF2-40B4-BE49-F238E27FC236}">
                <a16:creationId xmlns:a16="http://schemas.microsoft.com/office/drawing/2014/main" id="{E54570AD-5C2D-4C7C-907C-8ED3AC9A441F}"/>
              </a:ext>
            </a:extLst>
          </p:cNvPr>
          <p:cNvSpPr txBox="1"/>
          <p:nvPr/>
        </p:nvSpPr>
        <p:spPr>
          <a:xfrm>
            <a:off x="449432" y="5877279"/>
            <a:ext cx="1019616" cy="564483"/>
          </a:xfrm>
          <a:prstGeom prst="rect">
            <a:avLst/>
          </a:prstGeom>
        </p:spPr>
        <p:txBody>
          <a:bodyPr vert="horz" wrap="none" lIns="91377" tIns="91377" rIns="91377" bIns="91377" rtlCol="0" anchor="t">
            <a:noAutofit/>
          </a:bodyPr>
          <a:lstStyle/>
          <a:p>
            <a:pPr algn="ctr" defTabSz="931575">
              <a:defRPr/>
            </a:pPr>
            <a:r>
              <a:rPr lang="en-US" sz="1224" kern="0">
                <a:solidFill>
                  <a:srgbClr val="0078D7">
                    <a:lumMod val="75000"/>
                  </a:srgbClr>
                </a:solidFill>
                <a:latin typeface="Segoe UI"/>
                <a:cs typeface="Segoe UI" pitchFamily="34" charset="0"/>
              </a:rPr>
              <a:t>Natural User </a:t>
            </a:r>
          </a:p>
          <a:p>
            <a:pPr algn="ctr" defTabSz="931575">
              <a:defRPr/>
            </a:pPr>
            <a:r>
              <a:rPr lang="en-US" sz="1224" kern="0">
                <a:solidFill>
                  <a:srgbClr val="0078D7">
                    <a:lumMod val="75000"/>
                  </a:srgbClr>
                </a:solidFill>
                <a:latin typeface="Segoe UI"/>
                <a:cs typeface="Segoe UI" pitchFamily="34" charset="0"/>
              </a:rPr>
              <a:t>Experiences</a:t>
            </a:r>
          </a:p>
          <a:p>
            <a:pPr algn="ctr" defTabSz="931575">
              <a:defRPr/>
            </a:pPr>
            <a:r>
              <a:rPr lang="en-US" sz="1224" kern="0">
                <a:solidFill>
                  <a:srgbClr val="0078D7">
                    <a:lumMod val="75000"/>
                  </a:srgbClr>
                </a:solidFill>
                <a:latin typeface="Segoe UI"/>
                <a:cs typeface="Segoe UI" pitchFamily="34" charset="0"/>
              </a:rPr>
              <a:t>(End User)</a:t>
            </a:r>
          </a:p>
        </p:txBody>
      </p:sp>
      <p:sp>
        <p:nvSpPr>
          <p:cNvPr id="162" name="TextBox 161">
            <a:extLst>
              <a:ext uri="{FF2B5EF4-FFF2-40B4-BE49-F238E27FC236}">
                <a16:creationId xmlns:a16="http://schemas.microsoft.com/office/drawing/2014/main" id="{5D0F28F2-48C8-4434-911E-BEB500D5C093}"/>
              </a:ext>
            </a:extLst>
          </p:cNvPr>
          <p:cNvSpPr txBox="1"/>
          <p:nvPr/>
        </p:nvSpPr>
        <p:spPr>
          <a:xfrm>
            <a:off x="2811477" y="5883170"/>
            <a:ext cx="1522424" cy="668234"/>
          </a:xfrm>
          <a:prstGeom prst="rect">
            <a:avLst/>
          </a:prstGeom>
        </p:spPr>
        <p:txBody>
          <a:bodyPr vert="horz" wrap="none" lIns="91377" tIns="91377" rIns="91377" bIns="91377" rtlCol="0" anchor="t">
            <a:noAutofit/>
          </a:bodyPr>
          <a:lstStyle/>
          <a:p>
            <a:pPr algn="ctr" defTabSz="931575">
              <a:defRPr/>
            </a:pPr>
            <a:r>
              <a:rPr lang="en-US" sz="1224" kern="0">
                <a:solidFill>
                  <a:srgbClr val="0078D7">
                    <a:lumMod val="75000"/>
                  </a:srgbClr>
                </a:solidFill>
                <a:latin typeface="Segoe UI"/>
                <a:cs typeface="Segoe UI" pitchFamily="34" charset="0"/>
              </a:rPr>
              <a:t>Digital Enterprise</a:t>
            </a:r>
          </a:p>
          <a:p>
            <a:pPr algn="ctr" defTabSz="931575">
              <a:defRPr/>
            </a:pPr>
            <a:r>
              <a:rPr lang="en-US" sz="1224" kern="0">
                <a:solidFill>
                  <a:srgbClr val="0078D7">
                    <a:lumMod val="75000"/>
                  </a:srgbClr>
                </a:solidFill>
                <a:latin typeface="Segoe UI"/>
                <a:cs typeface="Segoe UI" pitchFamily="34" charset="0"/>
              </a:rPr>
              <a:t>(Dynamic Teams, </a:t>
            </a:r>
          </a:p>
          <a:p>
            <a:pPr algn="ctr" defTabSz="931575">
              <a:defRPr/>
            </a:pPr>
            <a:r>
              <a:rPr lang="en-US" sz="1224" kern="0">
                <a:solidFill>
                  <a:srgbClr val="0078D7">
                    <a:lumMod val="75000"/>
                  </a:srgbClr>
                </a:solidFill>
                <a:latin typeface="Segoe UI"/>
                <a:cs typeface="Segoe UI" pitchFamily="34" charset="0"/>
              </a:rPr>
              <a:t>Collaboration)</a:t>
            </a:r>
          </a:p>
        </p:txBody>
      </p:sp>
      <p:cxnSp>
        <p:nvCxnSpPr>
          <p:cNvPr id="163" name="Straight Connector 162">
            <a:extLst>
              <a:ext uri="{FF2B5EF4-FFF2-40B4-BE49-F238E27FC236}">
                <a16:creationId xmlns:a16="http://schemas.microsoft.com/office/drawing/2014/main" id="{808576A0-8E9C-441F-B89F-753B42E6F8D2}"/>
              </a:ext>
            </a:extLst>
          </p:cNvPr>
          <p:cNvCxnSpPr>
            <a:cxnSpLocks/>
          </p:cNvCxnSpPr>
          <p:nvPr/>
        </p:nvCxnSpPr>
        <p:spPr>
          <a:xfrm>
            <a:off x="1520885" y="1882467"/>
            <a:ext cx="0" cy="4663047"/>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2D041A78-B657-4E9F-96ED-AB3CBF27E3C7}"/>
              </a:ext>
            </a:extLst>
          </p:cNvPr>
          <p:cNvCxnSpPr>
            <a:cxnSpLocks/>
          </p:cNvCxnSpPr>
          <p:nvPr/>
        </p:nvCxnSpPr>
        <p:spPr>
          <a:xfrm>
            <a:off x="2865713" y="1956651"/>
            <a:ext cx="0" cy="458389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72" name="TextBox 171">
            <a:extLst>
              <a:ext uri="{FF2B5EF4-FFF2-40B4-BE49-F238E27FC236}">
                <a16:creationId xmlns:a16="http://schemas.microsoft.com/office/drawing/2014/main" id="{E997581D-EC13-40D7-8DB7-5B6935E41B75}"/>
              </a:ext>
            </a:extLst>
          </p:cNvPr>
          <p:cNvSpPr txBox="1"/>
          <p:nvPr/>
        </p:nvSpPr>
        <p:spPr>
          <a:xfrm>
            <a:off x="8167004" y="4859518"/>
            <a:ext cx="816002" cy="288137"/>
          </a:xfrm>
          <a:prstGeom prst="rect">
            <a:avLst/>
          </a:prstGeom>
          <a:noFill/>
          <a:ln>
            <a:noFill/>
            <a:headEnd type="none" w="med" len="med"/>
            <a:tailEnd type="none" w="med" len="med"/>
          </a:ln>
        </p:spPr>
        <p:txBody>
          <a:bodyPr wrap="square" lIns="0" tIns="0" rIns="0" bIns="0" rtlCol="0">
            <a:spAutoFit/>
          </a:bodyPr>
          <a:lstStyle/>
          <a:p>
            <a:pPr algn="ctr" defTabSz="913237">
              <a:lnSpc>
                <a:spcPct val="90000"/>
              </a:lnSpc>
              <a:defRPr/>
            </a:pPr>
            <a:r>
              <a:rPr lang="en-US" sz="1020" kern="0" spc="-38">
                <a:gradFill>
                  <a:gsLst>
                    <a:gs pos="0">
                      <a:srgbClr val="505050"/>
                    </a:gs>
                    <a:gs pos="100000">
                      <a:srgbClr val="505050"/>
                    </a:gs>
                  </a:gsLst>
                  <a:lin ang="5400000" scaled="1"/>
                </a:gradFill>
                <a:latin typeface="Segoe UI Semilight"/>
                <a:ea typeface="Segoe UI" pitchFamily="34" charset="0"/>
                <a:cs typeface="Segoe UI" pitchFamily="34" charset="0"/>
              </a:rPr>
              <a:t>Environmental sensors</a:t>
            </a:r>
          </a:p>
        </p:txBody>
      </p:sp>
      <p:sp>
        <p:nvSpPr>
          <p:cNvPr id="176" name="TextBox 175">
            <a:extLst>
              <a:ext uri="{FF2B5EF4-FFF2-40B4-BE49-F238E27FC236}">
                <a16:creationId xmlns:a16="http://schemas.microsoft.com/office/drawing/2014/main" id="{9FADCDAF-543E-4782-8194-E166057AD51A}"/>
              </a:ext>
            </a:extLst>
          </p:cNvPr>
          <p:cNvSpPr txBox="1"/>
          <p:nvPr/>
        </p:nvSpPr>
        <p:spPr>
          <a:xfrm>
            <a:off x="9144673" y="4859518"/>
            <a:ext cx="605392" cy="144069"/>
          </a:xfrm>
          <a:prstGeom prst="rect">
            <a:avLst/>
          </a:prstGeom>
          <a:noFill/>
          <a:ln>
            <a:noFill/>
            <a:headEnd type="none" w="med" len="med"/>
            <a:tailEnd type="none" w="med" len="med"/>
          </a:ln>
        </p:spPr>
        <p:txBody>
          <a:bodyPr wrap="square" lIns="0" tIns="0" rIns="0" bIns="0" rtlCol="0">
            <a:spAutoFit/>
          </a:bodyPr>
          <a:lstStyle/>
          <a:p>
            <a:pPr algn="ctr" defTabSz="913237">
              <a:lnSpc>
                <a:spcPct val="90000"/>
              </a:lnSpc>
              <a:defRPr/>
            </a:pPr>
            <a:r>
              <a:rPr lang="en-US" sz="1020" kern="0" spc="-38">
                <a:gradFill>
                  <a:gsLst>
                    <a:gs pos="0">
                      <a:srgbClr val="505050"/>
                    </a:gs>
                    <a:gs pos="100000">
                      <a:srgbClr val="505050"/>
                    </a:gs>
                  </a:gsLst>
                  <a:lin ang="5400000" scaled="1"/>
                </a:gradFill>
                <a:latin typeface="Segoe UI Semilight"/>
                <a:ea typeface="Segoe UI" pitchFamily="34" charset="0"/>
                <a:cs typeface="Segoe UI" pitchFamily="34" charset="0"/>
              </a:rPr>
              <a:t>Identity</a:t>
            </a:r>
          </a:p>
        </p:txBody>
      </p:sp>
      <p:sp>
        <p:nvSpPr>
          <p:cNvPr id="194" name="TextBox 193">
            <a:extLst>
              <a:ext uri="{FF2B5EF4-FFF2-40B4-BE49-F238E27FC236}">
                <a16:creationId xmlns:a16="http://schemas.microsoft.com/office/drawing/2014/main" id="{22611F50-B578-4F29-9B8E-5E8EC9ED0AC3}"/>
              </a:ext>
            </a:extLst>
          </p:cNvPr>
          <p:cNvSpPr txBox="1"/>
          <p:nvPr/>
        </p:nvSpPr>
        <p:spPr>
          <a:xfrm>
            <a:off x="8834266" y="3172514"/>
            <a:ext cx="418538" cy="160091"/>
          </a:xfrm>
          <a:prstGeom prst="rect">
            <a:avLst/>
          </a:prstGeom>
        </p:spPr>
        <p:txBody>
          <a:bodyPr vert="horz" wrap="none" lIns="0" tIns="0" rIns="0" bIns="0" rtlCol="0" anchor="t">
            <a:spAutoFit/>
          </a:bodyPr>
          <a:lstStyle/>
          <a:p>
            <a:pPr defTabSz="931575">
              <a:defRPr/>
            </a:pPr>
            <a:r>
              <a:rPr lang="en-US" sz="1020" kern="0">
                <a:solidFill>
                  <a:srgbClr val="505050"/>
                </a:solidFill>
                <a:latin typeface="Segoe UI Semilight"/>
                <a:ea typeface="Segoe UI" pitchFamily="34" charset="0"/>
                <a:cs typeface="Segoe UI" pitchFamily="34" charset="0"/>
              </a:rPr>
              <a:t>Factory</a:t>
            </a:r>
          </a:p>
        </p:txBody>
      </p:sp>
      <p:sp>
        <p:nvSpPr>
          <p:cNvPr id="195" name="TextBox 194">
            <a:extLst>
              <a:ext uri="{FF2B5EF4-FFF2-40B4-BE49-F238E27FC236}">
                <a16:creationId xmlns:a16="http://schemas.microsoft.com/office/drawing/2014/main" id="{7D0231A7-6171-403C-832E-1641097F62F1}"/>
              </a:ext>
            </a:extLst>
          </p:cNvPr>
          <p:cNvSpPr txBox="1"/>
          <p:nvPr/>
        </p:nvSpPr>
        <p:spPr>
          <a:xfrm>
            <a:off x="8890975" y="2458523"/>
            <a:ext cx="485570" cy="160091"/>
          </a:xfrm>
          <a:prstGeom prst="rect">
            <a:avLst/>
          </a:prstGeom>
        </p:spPr>
        <p:txBody>
          <a:bodyPr vert="horz" wrap="none" lIns="0" tIns="0" rIns="0" bIns="0" rtlCol="0" anchor="t">
            <a:spAutoFit/>
          </a:bodyPr>
          <a:lstStyle/>
          <a:p>
            <a:pPr defTabSz="931575">
              <a:defRPr/>
            </a:pPr>
            <a:r>
              <a:rPr lang="en-US" sz="1020" kern="0">
                <a:solidFill>
                  <a:srgbClr val="505050"/>
                </a:solidFill>
                <a:latin typeface="Segoe UI Semilight"/>
                <a:ea typeface="Segoe UI" pitchFamily="34" charset="0"/>
                <a:cs typeface="Segoe UI" pitchFamily="34" charset="0"/>
              </a:rPr>
              <a:t>Logistics</a:t>
            </a:r>
          </a:p>
        </p:txBody>
      </p:sp>
      <p:sp>
        <p:nvSpPr>
          <p:cNvPr id="196" name="TextBox 195">
            <a:extLst>
              <a:ext uri="{FF2B5EF4-FFF2-40B4-BE49-F238E27FC236}">
                <a16:creationId xmlns:a16="http://schemas.microsoft.com/office/drawing/2014/main" id="{4E7B4BAE-6D23-45D2-9CAE-F2D0C9842715}"/>
              </a:ext>
            </a:extLst>
          </p:cNvPr>
          <p:cNvSpPr txBox="1"/>
          <p:nvPr/>
        </p:nvSpPr>
        <p:spPr>
          <a:xfrm>
            <a:off x="8461204" y="3876008"/>
            <a:ext cx="1088853" cy="320182"/>
          </a:xfrm>
          <a:prstGeom prst="rect">
            <a:avLst/>
          </a:prstGeom>
        </p:spPr>
        <p:txBody>
          <a:bodyPr vert="horz" wrap="none" lIns="0" tIns="0" rIns="0" bIns="0" rtlCol="0" anchor="t">
            <a:spAutoFit/>
          </a:bodyPr>
          <a:lstStyle/>
          <a:p>
            <a:pPr algn="ctr" defTabSz="931575">
              <a:defRPr/>
            </a:pPr>
            <a:r>
              <a:rPr lang="en-US" sz="1020" kern="0">
                <a:solidFill>
                  <a:srgbClr val="505050"/>
                </a:solidFill>
                <a:latin typeface="Segoe UI Semilight"/>
                <a:ea typeface="Segoe UI" pitchFamily="34" charset="0"/>
                <a:cs typeface="Segoe UI" pitchFamily="34" charset="0"/>
              </a:rPr>
              <a:t>Smart Building, </a:t>
            </a:r>
          </a:p>
          <a:p>
            <a:pPr algn="ctr" defTabSz="931575">
              <a:defRPr/>
            </a:pPr>
            <a:r>
              <a:rPr lang="en-US" sz="1020" kern="0">
                <a:solidFill>
                  <a:srgbClr val="505050"/>
                </a:solidFill>
                <a:latin typeface="Segoe UI Semilight"/>
                <a:ea typeface="Segoe UI" pitchFamily="34" charset="0"/>
                <a:cs typeface="Segoe UI" pitchFamily="34" charset="0"/>
              </a:rPr>
              <a:t>Smart Office Space</a:t>
            </a:r>
          </a:p>
        </p:txBody>
      </p:sp>
      <p:sp>
        <p:nvSpPr>
          <p:cNvPr id="197" name="TextBox 196">
            <a:extLst>
              <a:ext uri="{FF2B5EF4-FFF2-40B4-BE49-F238E27FC236}">
                <a16:creationId xmlns:a16="http://schemas.microsoft.com/office/drawing/2014/main" id="{64B29C06-6716-42F2-98AD-AA7C62161A3F}"/>
              </a:ext>
            </a:extLst>
          </p:cNvPr>
          <p:cNvSpPr txBox="1"/>
          <p:nvPr/>
        </p:nvSpPr>
        <p:spPr>
          <a:xfrm>
            <a:off x="8491577" y="5768114"/>
            <a:ext cx="989179" cy="144069"/>
          </a:xfrm>
          <a:prstGeom prst="rect">
            <a:avLst/>
          </a:prstGeom>
          <a:noFill/>
          <a:ln>
            <a:noFill/>
            <a:headEnd type="none" w="med" len="med"/>
            <a:tailEnd type="none" w="med" len="med"/>
          </a:ln>
        </p:spPr>
        <p:txBody>
          <a:bodyPr wrap="square" lIns="0" tIns="0" rIns="0" bIns="0" rtlCol="0">
            <a:spAutoFit/>
          </a:bodyPr>
          <a:lstStyle/>
          <a:p>
            <a:pPr algn="ctr" defTabSz="913237">
              <a:lnSpc>
                <a:spcPct val="90000"/>
              </a:lnSpc>
              <a:defRPr/>
            </a:pPr>
            <a:r>
              <a:rPr lang="en-US" sz="1020" kern="0">
                <a:solidFill>
                  <a:srgbClr val="505050"/>
                </a:solidFill>
                <a:latin typeface="Segoe UI Semilight"/>
                <a:ea typeface="Segoe UI" pitchFamily="34" charset="0"/>
                <a:cs typeface="Segoe UI" pitchFamily="34" charset="0"/>
              </a:rPr>
              <a:t>Office</a:t>
            </a:r>
            <a:r>
              <a:rPr lang="en-US" sz="1224" kern="0" spc="-38" baseline="-25000">
                <a:gradFill>
                  <a:gsLst>
                    <a:gs pos="0">
                      <a:srgbClr val="505050"/>
                    </a:gs>
                    <a:gs pos="100000">
                      <a:srgbClr val="505050"/>
                    </a:gs>
                  </a:gsLst>
                  <a:lin ang="5400000" scaled="1"/>
                </a:gradFill>
                <a:latin typeface="Segoe UI Semilight"/>
                <a:ea typeface="Segoe UI" pitchFamily="34" charset="0"/>
                <a:cs typeface="Segoe UI" pitchFamily="34" charset="0"/>
              </a:rPr>
              <a:t> </a:t>
            </a:r>
            <a:r>
              <a:rPr lang="en-US" sz="1020" kern="0">
                <a:solidFill>
                  <a:srgbClr val="505050"/>
                </a:solidFill>
                <a:latin typeface="Segoe UI Semilight"/>
                <a:ea typeface="Segoe UI" pitchFamily="34" charset="0"/>
                <a:cs typeface="Segoe UI" pitchFamily="34" charset="0"/>
              </a:rPr>
              <a:t>Equipment</a:t>
            </a:r>
          </a:p>
        </p:txBody>
      </p:sp>
      <p:sp>
        <p:nvSpPr>
          <p:cNvPr id="198" name="TextBox 197">
            <a:extLst>
              <a:ext uri="{FF2B5EF4-FFF2-40B4-BE49-F238E27FC236}">
                <a16:creationId xmlns:a16="http://schemas.microsoft.com/office/drawing/2014/main" id="{C5405FD2-F73C-4B0D-B163-166169A1974A}"/>
              </a:ext>
            </a:extLst>
          </p:cNvPr>
          <p:cNvSpPr txBox="1"/>
          <p:nvPr/>
        </p:nvSpPr>
        <p:spPr>
          <a:xfrm>
            <a:off x="8392542" y="6079275"/>
            <a:ext cx="1536821" cy="576406"/>
          </a:xfrm>
          <a:prstGeom prst="rect">
            <a:avLst/>
          </a:prstGeom>
        </p:spPr>
        <p:txBody>
          <a:bodyPr vert="horz" wrap="none" lIns="0" tIns="0" rIns="0" bIns="0" rtlCol="0" anchor="t">
            <a:spAutoFit/>
          </a:bodyPr>
          <a:lstStyle/>
          <a:p>
            <a:pPr algn="ctr" defTabSz="931575">
              <a:defRPr/>
            </a:pPr>
            <a:r>
              <a:rPr lang="en-US" sz="1224" kern="0">
                <a:solidFill>
                  <a:srgbClr val="0078D7">
                    <a:lumMod val="75000"/>
                  </a:srgbClr>
                </a:solidFill>
                <a:latin typeface="Segoe UI"/>
                <a:cs typeface="Segoe UI" pitchFamily="34" charset="0"/>
              </a:rPr>
              <a:t>Smart Connected </a:t>
            </a:r>
          </a:p>
          <a:p>
            <a:pPr algn="ctr" defTabSz="931575">
              <a:defRPr/>
            </a:pPr>
            <a:r>
              <a:rPr lang="en-US" sz="1224" kern="0">
                <a:solidFill>
                  <a:srgbClr val="0078D7">
                    <a:lumMod val="75000"/>
                  </a:srgbClr>
                </a:solidFill>
                <a:latin typeface="Segoe UI"/>
                <a:cs typeface="Segoe UI" pitchFamily="34" charset="0"/>
              </a:rPr>
              <a:t>Things</a:t>
            </a:r>
          </a:p>
          <a:p>
            <a:pPr algn="ctr" defTabSz="931575">
              <a:defRPr/>
            </a:pPr>
            <a:r>
              <a:rPr lang="en-US" sz="1224" kern="0">
                <a:solidFill>
                  <a:srgbClr val="0078D7">
                    <a:lumMod val="75000"/>
                  </a:srgbClr>
                </a:solidFill>
                <a:latin typeface="Segoe UI"/>
                <a:cs typeface="Segoe UI" pitchFamily="34" charset="0"/>
              </a:rPr>
              <a:t>(IoT Enabled Services)</a:t>
            </a:r>
          </a:p>
        </p:txBody>
      </p:sp>
      <p:sp>
        <p:nvSpPr>
          <p:cNvPr id="199" name="TextBox 198">
            <a:extLst>
              <a:ext uri="{FF2B5EF4-FFF2-40B4-BE49-F238E27FC236}">
                <a16:creationId xmlns:a16="http://schemas.microsoft.com/office/drawing/2014/main" id="{EB9A8AB9-66E2-4D6C-82A1-C95646838982}"/>
              </a:ext>
            </a:extLst>
          </p:cNvPr>
          <p:cNvSpPr txBox="1"/>
          <p:nvPr/>
        </p:nvSpPr>
        <p:spPr>
          <a:xfrm>
            <a:off x="10466366" y="6065723"/>
            <a:ext cx="1093758" cy="384271"/>
          </a:xfrm>
          <a:prstGeom prst="rect">
            <a:avLst/>
          </a:prstGeom>
        </p:spPr>
        <p:txBody>
          <a:bodyPr vert="horz" wrap="none" lIns="0" tIns="0" rIns="0" bIns="0" rtlCol="0" anchor="t">
            <a:spAutoFit/>
          </a:bodyPr>
          <a:lstStyle/>
          <a:p>
            <a:pPr algn="ctr" defTabSz="931575">
              <a:defRPr/>
            </a:pPr>
            <a:r>
              <a:rPr lang="en-US" sz="1224" kern="0">
                <a:solidFill>
                  <a:srgbClr val="0078D7">
                    <a:lumMod val="75000"/>
                  </a:srgbClr>
                </a:solidFill>
                <a:latin typeface="Segoe UI"/>
                <a:ea typeface="Segoe UI" pitchFamily="34" charset="0"/>
                <a:cs typeface="Segoe UI" pitchFamily="34" charset="0"/>
              </a:rPr>
              <a:t>Dynamic Value </a:t>
            </a:r>
          </a:p>
          <a:p>
            <a:pPr algn="ctr" defTabSz="931575">
              <a:defRPr/>
            </a:pPr>
            <a:r>
              <a:rPr lang="en-US" sz="1224" kern="0">
                <a:solidFill>
                  <a:srgbClr val="0078D7">
                    <a:lumMod val="75000"/>
                  </a:srgbClr>
                </a:solidFill>
                <a:latin typeface="Segoe UI"/>
                <a:ea typeface="Segoe UI" pitchFamily="34" charset="0"/>
                <a:cs typeface="Segoe UI" pitchFamily="34" charset="0"/>
              </a:rPr>
              <a:t>Networks</a:t>
            </a:r>
          </a:p>
        </p:txBody>
      </p:sp>
      <p:cxnSp>
        <p:nvCxnSpPr>
          <p:cNvPr id="200" name="Straight Connector 199">
            <a:extLst>
              <a:ext uri="{FF2B5EF4-FFF2-40B4-BE49-F238E27FC236}">
                <a16:creationId xmlns:a16="http://schemas.microsoft.com/office/drawing/2014/main" id="{2B5A1161-156C-4D39-AF09-B954BDC14FA5}"/>
              </a:ext>
            </a:extLst>
          </p:cNvPr>
          <p:cNvCxnSpPr>
            <a:cxnSpLocks/>
          </p:cNvCxnSpPr>
          <p:nvPr/>
        </p:nvCxnSpPr>
        <p:spPr>
          <a:xfrm>
            <a:off x="9993964" y="2014518"/>
            <a:ext cx="0" cy="4395890"/>
          </a:xfrm>
          <a:prstGeom prst="line">
            <a:avLst/>
          </a:prstGeom>
          <a:ln>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02" name="Rectangle 201">
            <a:extLst>
              <a:ext uri="{FF2B5EF4-FFF2-40B4-BE49-F238E27FC236}">
                <a16:creationId xmlns:a16="http://schemas.microsoft.com/office/drawing/2014/main" id="{ED9B7DDE-FA3C-40B0-B6F5-F4D539D73B58}"/>
              </a:ext>
            </a:extLst>
          </p:cNvPr>
          <p:cNvSpPr/>
          <p:nvPr/>
        </p:nvSpPr>
        <p:spPr>
          <a:xfrm>
            <a:off x="5398404" y="2197210"/>
            <a:ext cx="1585512" cy="286266"/>
          </a:xfrm>
          <a:prstGeom prst="rect">
            <a:avLst/>
          </a:prstGeom>
        </p:spPr>
        <p:txBody>
          <a:bodyPr wrap="none">
            <a:spAutoFit/>
          </a:bodyPr>
          <a:lstStyle/>
          <a:p>
            <a:pPr defTabSz="932418">
              <a:defRPr/>
            </a:pPr>
            <a:r>
              <a:rPr lang="en-US" sz="1224">
                <a:solidFill>
                  <a:srgbClr val="353535"/>
                </a:solidFill>
                <a:latin typeface="Segoe UI Semilight"/>
              </a:rPr>
              <a:t>Product engineering</a:t>
            </a:r>
          </a:p>
        </p:txBody>
      </p:sp>
      <p:sp>
        <p:nvSpPr>
          <p:cNvPr id="205" name="Rectangle 204">
            <a:extLst>
              <a:ext uri="{FF2B5EF4-FFF2-40B4-BE49-F238E27FC236}">
                <a16:creationId xmlns:a16="http://schemas.microsoft.com/office/drawing/2014/main" id="{B4B58E9B-BD51-47CB-88A2-0B0E79511B65}"/>
              </a:ext>
            </a:extLst>
          </p:cNvPr>
          <p:cNvSpPr/>
          <p:nvPr/>
        </p:nvSpPr>
        <p:spPr>
          <a:xfrm>
            <a:off x="5772982" y="6056476"/>
            <a:ext cx="742343" cy="286266"/>
          </a:xfrm>
          <a:prstGeom prst="rect">
            <a:avLst/>
          </a:prstGeom>
        </p:spPr>
        <p:txBody>
          <a:bodyPr wrap="none">
            <a:spAutoFit/>
          </a:bodyPr>
          <a:lstStyle/>
          <a:p>
            <a:pPr defTabSz="932418">
              <a:defRPr/>
            </a:pPr>
            <a:r>
              <a:rPr lang="en-US" sz="1224">
                <a:solidFill>
                  <a:srgbClr val="353535"/>
                </a:solidFill>
                <a:latin typeface="Segoe UI Semilight"/>
              </a:rPr>
              <a:t>Services</a:t>
            </a:r>
          </a:p>
        </p:txBody>
      </p:sp>
      <p:sp>
        <p:nvSpPr>
          <p:cNvPr id="208" name="Rectangle 207">
            <a:extLst>
              <a:ext uri="{FF2B5EF4-FFF2-40B4-BE49-F238E27FC236}">
                <a16:creationId xmlns:a16="http://schemas.microsoft.com/office/drawing/2014/main" id="{F8F5E6D1-33D6-48EF-ACA7-73C1FADDFA09}"/>
              </a:ext>
            </a:extLst>
          </p:cNvPr>
          <p:cNvSpPr/>
          <p:nvPr/>
        </p:nvSpPr>
        <p:spPr>
          <a:xfrm>
            <a:off x="5674621" y="4793700"/>
            <a:ext cx="948444" cy="286266"/>
          </a:xfrm>
          <a:prstGeom prst="rect">
            <a:avLst/>
          </a:prstGeom>
        </p:spPr>
        <p:txBody>
          <a:bodyPr wrap="none">
            <a:spAutoFit/>
          </a:bodyPr>
          <a:lstStyle/>
          <a:p>
            <a:pPr defTabSz="932418">
              <a:defRPr/>
            </a:pPr>
            <a:r>
              <a:rPr lang="en-US" sz="1224">
                <a:solidFill>
                  <a:srgbClr val="353535"/>
                </a:solidFill>
                <a:latin typeface="Segoe UI Semilight"/>
              </a:rPr>
              <a:t>Operations</a:t>
            </a:r>
          </a:p>
        </p:txBody>
      </p:sp>
      <p:sp>
        <p:nvSpPr>
          <p:cNvPr id="211" name="Rectangle 210">
            <a:extLst>
              <a:ext uri="{FF2B5EF4-FFF2-40B4-BE49-F238E27FC236}">
                <a16:creationId xmlns:a16="http://schemas.microsoft.com/office/drawing/2014/main" id="{14FA71EE-509A-4282-A2D2-C4B60368A23B}"/>
              </a:ext>
            </a:extLst>
          </p:cNvPr>
          <p:cNvSpPr/>
          <p:nvPr/>
        </p:nvSpPr>
        <p:spPr>
          <a:xfrm>
            <a:off x="5446499" y="3458361"/>
            <a:ext cx="1486253" cy="286266"/>
          </a:xfrm>
          <a:prstGeom prst="rect">
            <a:avLst/>
          </a:prstGeom>
        </p:spPr>
        <p:txBody>
          <a:bodyPr wrap="none">
            <a:spAutoFit/>
          </a:bodyPr>
          <a:lstStyle/>
          <a:p>
            <a:pPr defTabSz="932418">
              <a:defRPr/>
            </a:pPr>
            <a:r>
              <a:rPr lang="en-US" sz="1224">
                <a:solidFill>
                  <a:srgbClr val="353535"/>
                </a:solidFill>
                <a:latin typeface="Segoe UI Semilight"/>
              </a:rPr>
              <a:t>Plant management</a:t>
            </a:r>
          </a:p>
        </p:txBody>
      </p:sp>
      <p:grpSp>
        <p:nvGrpSpPr>
          <p:cNvPr id="85" name="Group 32">
            <a:extLst>
              <a:ext uri="{FF2B5EF4-FFF2-40B4-BE49-F238E27FC236}">
                <a16:creationId xmlns:a16="http://schemas.microsoft.com/office/drawing/2014/main" id="{8F34F50E-B46C-4D64-B107-58DA6B5194C0}"/>
              </a:ext>
            </a:extLst>
          </p:cNvPr>
          <p:cNvGrpSpPr>
            <a:grpSpLocks noChangeAspect="1"/>
          </p:cNvGrpSpPr>
          <p:nvPr/>
        </p:nvGrpSpPr>
        <p:grpSpPr bwMode="auto">
          <a:xfrm>
            <a:off x="5667720" y="3952602"/>
            <a:ext cx="785888" cy="766910"/>
            <a:chOff x="3832" y="1791"/>
            <a:chExt cx="497" cy="485"/>
          </a:xfrm>
          <a:solidFill>
            <a:schemeClr val="accent1"/>
          </a:solidFill>
        </p:grpSpPr>
        <p:sp>
          <p:nvSpPr>
            <p:cNvPr id="86" name="Freeform 33">
              <a:extLst>
                <a:ext uri="{FF2B5EF4-FFF2-40B4-BE49-F238E27FC236}">
                  <a16:creationId xmlns:a16="http://schemas.microsoft.com/office/drawing/2014/main" id="{B402CB11-5653-4488-AAE2-C5E1C59FDFB5}"/>
                </a:ext>
              </a:extLst>
            </p:cNvPr>
            <p:cNvSpPr>
              <a:spLocks noEditPoints="1"/>
            </p:cNvSpPr>
            <p:nvPr/>
          </p:nvSpPr>
          <p:spPr bwMode="auto">
            <a:xfrm>
              <a:off x="3832" y="1791"/>
              <a:ext cx="497" cy="485"/>
            </a:xfrm>
            <a:custGeom>
              <a:avLst/>
              <a:gdLst>
                <a:gd name="T0" fmla="*/ 156 w 192"/>
                <a:gd name="T1" fmla="*/ 127 h 187"/>
                <a:gd name="T2" fmla="*/ 156 w 192"/>
                <a:gd name="T3" fmla="*/ 117 h 187"/>
                <a:gd name="T4" fmla="*/ 152 w 192"/>
                <a:gd name="T5" fmla="*/ 90 h 187"/>
                <a:gd name="T6" fmla="*/ 168 w 192"/>
                <a:gd name="T7" fmla="*/ 61 h 187"/>
                <a:gd name="T8" fmla="*/ 146 w 192"/>
                <a:gd name="T9" fmla="*/ 44 h 187"/>
                <a:gd name="T10" fmla="*/ 136 w 192"/>
                <a:gd name="T11" fmla="*/ 12 h 187"/>
                <a:gd name="T12" fmla="*/ 109 w 192"/>
                <a:gd name="T13" fmla="*/ 16 h 187"/>
                <a:gd name="T14" fmla="*/ 80 w 192"/>
                <a:gd name="T15" fmla="*/ 0 h 187"/>
                <a:gd name="T16" fmla="*/ 63 w 192"/>
                <a:gd name="T17" fmla="*/ 22 h 187"/>
                <a:gd name="T18" fmla="*/ 31 w 192"/>
                <a:gd name="T19" fmla="*/ 32 h 187"/>
                <a:gd name="T20" fmla="*/ 35 w 192"/>
                <a:gd name="T21" fmla="*/ 59 h 187"/>
                <a:gd name="T22" fmla="*/ 19 w 192"/>
                <a:gd name="T23" fmla="*/ 88 h 187"/>
                <a:gd name="T24" fmla="*/ 38 w 192"/>
                <a:gd name="T25" fmla="*/ 97 h 187"/>
                <a:gd name="T26" fmla="*/ 11 w 192"/>
                <a:gd name="T27" fmla="*/ 117 h 187"/>
                <a:gd name="T28" fmla="*/ 91 w 192"/>
                <a:gd name="T29" fmla="*/ 171 h 187"/>
                <a:gd name="T30" fmla="*/ 142 w 192"/>
                <a:gd name="T31" fmla="*/ 167 h 187"/>
                <a:gd name="T32" fmla="*/ 176 w 192"/>
                <a:gd name="T33" fmla="*/ 181 h 187"/>
                <a:gd name="T34" fmla="*/ 187 w 192"/>
                <a:gd name="T35" fmla="*/ 144 h 187"/>
                <a:gd name="T36" fmla="*/ 28 w 192"/>
                <a:gd name="T37" fmla="*/ 68 h 187"/>
                <a:gd name="T38" fmla="*/ 51 w 192"/>
                <a:gd name="T39" fmla="*/ 44 h 187"/>
                <a:gd name="T40" fmla="*/ 51 w 192"/>
                <a:gd name="T41" fmla="*/ 23 h 187"/>
                <a:gd name="T42" fmla="*/ 86 w 192"/>
                <a:gd name="T43" fmla="*/ 23 h 187"/>
                <a:gd name="T44" fmla="*/ 100 w 192"/>
                <a:gd name="T45" fmla="*/ 8 h 187"/>
                <a:gd name="T46" fmla="*/ 124 w 192"/>
                <a:gd name="T47" fmla="*/ 32 h 187"/>
                <a:gd name="T48" fmla="*/ 145 w 192"/>
                <a:gd name="T49" fmla="*/ 32 h 187"/>
                <a:gd name="T50" fmla="*/ 145 w 192"/>
                <a:gd name="T51" fmla="*/ 66 h 187"/>
                <a:gd name="T52" fmla="*/ 159 w 192"/>
                <a:gd name="T53" fmla="*/ 81 h 187"/>
                <a:gd name="T54" fmla="*/ 135 w 192"/>
                <a:gd name="T55" fmla="*/ 105 h 187"/>
                <a:gd name="T56" fmla="*/ 93 w 192"/>
                <a:gd name="T57" fmla="*/ 113 h 187"/>
                <a:gd name="T58" fmla="*/ 67 w 192"/>
                <a:gd name="T59" fmla="*/ 115 h 187"/>
                <a:gd name="T60" fmla="*/ 42 w 192"/>
                <a:gd name="T61" fmla="*/ 82 h 187"/>
                <a:gd name="T62" fmla="*/ 49 w 192"/>
                <a:gd name="T63" fmla="*/ 118 h 187"/>
                <a:gd name="T64" fmla="*/ 40 w 192"/>
                <a:gd name="T65" fmla="*/ 106 h 187"/>
                <a:gd name="T66" fmla="*/ 49 w 192"/>
                <a:gd name="T67" fmla="*/ 118 h 187"/>
                <a:gd name="T68" fmla="*/ 147 w 192"/>
                <a:gd name="T69" fmla="*/ 161 h 187"/>
                <a:gd name="T70" fmla="*/ 90 w 192"/>
                <a:gd name="T71" fmla="*/ 163 h 187"/>
                <a:gd name="T72" fmla="*/ 17 w 192"/>
                <a:gd name="T73" fmla="*/ 113 h 187"/>
                <a:gd name="T74" fmla="*/ 16 w 192"/>
                <a:gd name="T75" fmla="*/ 102 h 187"/>
                <a:gd name="T76" fmla="*/ 44 w 192"/>
                <a:gd name="T77" fmla="*/ 122 h 187"/>
                <a:gd name="T78" fmla="*/ 107 w 192"/>
                <a:gd name="T79" fmla="*/ 146 h 187"/>
                <a:gd name="T80" fmla="*/ 60 w 192"/>
                <a:gd name="T81" fmla="*/ 133 h 187"/>
                <a:gd name="T82" fmla="*/ 60 w 192"/>
                <a:gd name="T83" fmla="*/ 123 h 187"/>
                <a:gd name="T84" fmla="*/ 96 w 192"/>
                <a:gd name="T85" fmla="*/ 121 h 187"/>
                <a:gd name="T86" fmla="*/ 150 w 192"/>
                <a:gd name="T87" fmla="*/ 132 h 187"/>
                <a:gd name="T88" fmla="*/ 169 w 192"/>
                <a:gd name="T89" fmla="*/ 17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 h="187">
                  <a:moveTo>
                    <a:pt x="187" y="144"/>
                  </a:moveTo>
                  <a:cubicBezTo>
                    <a:pt x="178" y="139"/>
                    <a:pt x="158" y="128"/>
                    <a:pt x="156" y="127"/>
                  </a:cubicBezTo>
                  <a:cubicBezTo>
                    <a:pt x="154" y="125"/>
                    <a:pt x="153" y="123"/>
                    <a:pt x="151" y="121"/>
                  </a:cubicBezTo>
                  <a:cubicBezTo>
                    <a:pt x="156" y="117"/>
                    <a:pt x="156" y="117"/>
                    <a:pt x="156" y="117"/>
                  </a:cubicBezTo>
                  <a:cubicBezTo>
                    <a:pt x="146" y="105"/>
                    <a:pt x="146" y="105"/>
                    <a:pt x="146" y="105"/>
                  </a:cubicBezTo>
                  <a:cubicBezTo>
                    <a:pt x="148" y="100"/>
                    <a:pt x="150" y="95"/>
                    <a:pt x="152" y="90"/>
                  </a:cubicBezTo>
                  <a:cubicBezTo>
                    <a:pt x="168" y="88"/>
                    <a:pt x="168" y="88"/>
                    <a:pt x="168" y="88"/>
                  </a:cubicBezTo>
                  <a:cubicBezTo>
                    <a:pt x="168" y="61"/>
                    <a:pt x="168" y="61"/>
                    <a:pt x="168" y="61"/>
                  </a:cubicBezTo>
                  <a:cubicBezTo>
                    <a:pt x="152" y="59"/>
                    <a:pt x="152" y="59"/>
                    <a:pt x="152" y="59"/>
                  </a:cubicBezTo>
                  <a:cubicBezTo>
                    <a:pt x="150" y="54"/>
                    <a:pt x="148" y="49"/>
                    <a:pt x="146" y="44"/>
                  </a:cubicBezTo>
                  <a:cubicBezTo>
                    <a:pt x="156" y="32"/>
                    <a:pt x="156" y="32"/>
                    <a:pt x="156" y="32"/>
                  </a:cubicBezTo>
                  <a:cubicBezTo>
                    <a:pt x="136" y="12"/>
                    <a:pt x="136" y="12"/>
                    <a:pt x="136" y="12"/>
                  </a:cubicBezTo>
                  <a:cubicBezTo>
                    <a:pt x="124" y="22"/>
                    <a:pt x="124" y="22"/>
                    <a:pt x="124" y="22"/>
                  </a:cubicBezTo>
                  <a:cubicBezTo>
                    <a:pt x="119" y="20"/>
                    <a:pt x="114" y="18"/>
                    <a:pt x="109" y="16"/>
                  </a:cubicBezTo>
                  <a:cubicBezTo>
                    <a:pt x="107" y="0"/>
                    <a:pt x="107" y="0"/>
                    <a:pt x="107" y="0"/>
                  </a:cubicBezTo>
                  <a:cubicBezTo>
                    <a:pt x="80" y="0"/>
                    <a:pt x="80" y="0"/>
                    <a:pt x="80" y="0"/>
                  </a:cubicBezTo>
                  <a:cubicBezTo>
                    <a:pt x="78" y="16"/>
                    <a:pt x="78" y="16"/>
                    <a:pt x="78" y="16"/>
                  </a:cubicBezTo>
                  <a:cubicBezTo>
                    <a:pt x="73" y="18"/>
                    <a:pt x="68" y="20"/>
                    <a:pt x="63" y="22"/>
                  </a:cubicBezTo>
                  <a:cubicBezTo>
                    <a:pt x="51" y="12"/>
                    <a:pt x="51" y="12"/>
                    <a:pt x="51" y="12"/>
                  </a:cubicBezTo>
                  <a:cubicBezTo>
                    <a:pt x="31" y="32"/>
                    <a:pt x="31" y="32"/>
                    <a:pt x="31" y="32"/>
                  </a:cubicBezTo>
                  <a:cubicBezTo>
                    <a:pt x="41" y="44"/>
                    <a:pt x="41" y="44"/>
                    <a:pt x="41" y="44"/>
                  </a:cubicBezTo>
                  <a:cubicBezTo>
                    <a:pt x="39" y="49"/>
                    <a:pt x="37" y="54"/>
                    <a:pt x="35" y="59"/>
                  </a:cubicBezTo>
                  <a:cubicBezTo>
                    <a:pt x="19" y="61"/>
                    <a:pt x="19" y="61"/>
                    <a:pt x="19" y="61"/>
                  </a:cubicBezTo>
                  <a:cubicBezTo>
                    <a:pt x="19" y="88"/>
                    <a:pt x="19" y="88"/>
                    <a:pt x="19" y="88"/>
                  </a:cubicBezTo>
                  <a:cubicBezTo>
                    <a:pt x="35" y="90"/>
                    <a:pt x="35" y="90"/>
                    <a:pt x="35" y="90"/>
                  </a:cubicBezTo>
                  <a:cubicBezTo>
                    <a:pt x="36" y="92"/>
                    <a:pt x="37" y="95"/>
                    <a:pt x="38" y="97"/>
                  </a:cubicBezTo>
                  <a:cubicBezTo>
                    <a:pt x="34" y="96"/>
                    <a:pt x="30" y="96"/>
                    <a:pt x="27" y="96"/>
                  </a:cubicBezTo>
                  <a:cubicBezTo>
                    <a:pt x="12" y="87"/>
                    <a:pt x="0" y="101"/>
                    <a:pt x="11" y="117"/>
                  </a:cubicBezTo>
                  <a:cubicBezTo>
                    <a:pt x="12" y="119"/>
                    <a:pt x="35" y="152"/>
                    <a:pt x="66" y="167"/>
                  </a:cubicBezTo>
                  <a:cubicBezTo>
                    <a:pt x="72" y="170"/>
                    <a:pt x="82" y="172"/>
                    <a:pt x="91" y="171"/>
                  </a:cubicBezTo>
                  <a:cubicBezTo>
                    <a:pt x="131" y="166"/>
                    <a:pt x="131" y="166"/>
                    <a:pt x="131" y="166"/>
                  </a:cubicBezTo>
                  <a:cubicBezTo>
                    <a:pt x="134" y="165"/>
                    <a:pt x="141" y="166"/>
                    <a:pt x="142" y="167"/>
                  </a:cubicBezTo>
                  <a:cubicBezTo>
                    <a:pt x="164" y="184"/>
                    <a:pt x="164" y="184"/>
                    <a:pt x="164" y="184"/>
                  </a:cubicBezTo>
                  <a:cubicBezTo>
                    <a:pt x="168" y="187"/>
                    <a:pt x="173" y="185"/>
                    <a:pt x="176" y="181"/>
                  </a:cubicBezTo>
                  <a:cubicBezTo>
                    <a:pt x="190" y="155"/>
                    <a:pt x="190" y="155"/>
                    <a:pt x="190" y="155"/>
                  </a:cubicBezTo>
                  <a:cubicBezTo>
                    <a:pt x="192" y="151"/>
                    <a:pt x="191" y="146"/>
                    <a:pt x="187" y="144"/>
                  </a:cubicBezTo>
                  <a:close/>
                  <a:moveTo>
                    <a:pt x="28" y="81"/>
                  </a:moveTo>
                  <a:cubicBezTo>
                    <a:pt x="28" y="68"/>
                    <a:pt x="28" y="68"/>
                    <a:pt x="28" y="68"/>
                  </a:cubicBezTo>
                  <a:cubicBezTo>
                    <a:pt x="42" y="66"/>
                    <a:pt x="42" y="66"/>
                    <a:pt x="42" y="66"/>
                  </a:cubicBezTo>
                  <a:cubicBezTo>
                    <a:pt x="44" y="55"/>
                    <a:pt x="46" y="52"/>
                    <a:pt x="51" y="44"/>
                  </a:cubicBezTo>
                  <a:cubicBezTo>
                    <a:pt x="42" y="32"/>
                    <a:pt x="42" y="32"/>
                    <a:pt x="42" y="32"/>
                  </a:cubicBezTo>
                  <a:cubicBezTo>
                    <a:pt x="51" y="23"/>
                    <a:pt x="51" y="23"/>
                    <a:pt x="51" y="23"/>
                  </a:cubicBezTo>
                  <a:cubicBezTo>
                    <a:pt x="63" y="32"/>
                    <a:pt x="63" y="32"/>
                    <a:pt x="63" y="32"/>
                  </a:cubicBezTo>
                  <a:cubicBezTo>
                    <a:pt x="72" y="26"/>
                    <a:pt x="76" y="25"/>
                    <a:pt x="86" y="23"/>
                  </a:cubicBezTo>
                  <a:cubicBezTo>
                    <a:pt x="87" y="8"/>
                    <a:pt x="87" y="8"/>
                    <a:pt x="87" y="8"/>
                  </a:cubicBezTo>
                  <a:cubicBezTo>
                    <a:pt x="100" y="8"/>
                    <a:pt x="100" y="8"/>
                    <a:pt x="100" y="8"/>
                  </a:cubicBezTo>
                  <a:cubicBezTo>
                    <a:pt x="101" y="23"/>
                    <a:pt x="101" y="23"/>
                    <a:pt x="101" y="23"/>
                  </a:cubicBezTo>
                  <a:cubicBezTo>
                    <a:pt x="110" y="25"/>
                    <a:pt x="114" y="26"/>
                    <a:pt x="124" y="32"/>
                  </a:cubicBezTo>
                  <a:cubicBezTo>
                    <a:pt x="136" y="23"/>
                    <a:pt x="136" y="23"/>
                    <a:pt x="136" y="23"/>
                  </a:cubicBezTo>
                  <a:cubicBezTo>
                    <a:pt x="145" y="32"/>
                    <a:pt x="145" y="32"/>
                    <a:pt x="145" y="32"/>
                  </a:cubicBezTo>
                  <a:cubicBezTo>
                    <a:pt x="135" y="44"/>
                    <a:pt x="135" y="44"/>
                    <a:pt x="135" y="44"/>
                  </a:cubicBezTo>
                  <a:cubicBezTo>
                    <a:pt x="142" y="53"/>
                    <a:pt x="143" y="57"/>
                    <a:pt x="145" y="66"/>
                  </a:cubicBezTo>
                  <a:cubicBezTo>
                    <a:pt x="159" y="68"/>
                    <a:pt x="159" y="68"/>
                    <a:pt x="159" y="68"/>
                  </a:cubicBezTo>
                  <a:cubicBezTo>
                    <a:pt x="159" y="81"/>
                    <a:pt x="159" y="81"/>
                    <a:pt x="159" y="81"/>
                  </a:cubicBezTo>
                  <a:cubicBezTo>
                    <a:pt x="145" y="82"/>
                    <a:pt x="145" y="82"/>
                    <a:pt x="145" y="82"/>
                  </a:cubicBezTo>
                  <a:cubicBezTo>
                    <a:pt x="143" y="93"/>
                    <a:pt x="141" y="97"/>
                    <a:pt x="135" y="105"/>
                  </a:cubicBezTo>
                  <a:cubicBezTo>
                    <a:pt x="143" y="114"/>
                    <a:pt x="143" y="114"/>
                    <a:pt x="143" y="114"/>
                  </a:cubicBezTo>
                  <a:cubicBezTo>
                    <a:pt x="133" y="108"/>
                    <a:pt x="118" y="105"/>
                    <a:pt x="93" y="113"/>
                  </a:cubicBezTo>
                  <a:cubicBezTo>
                    <a:pt x="93" y="113"/>
                    <a:pt x="83" y="117"/>
                    <a:pt x="72" y="116"/>
                  </a:cubicBezTo>
                  <a:cubicBezTo>
                    <a:pt x="71" y="116"/>
                    <a:pt x="68" y="115"/>
                    <a:pt x="67" y="115"/>
                  </a:cubicBezTo>
                  <a:cubicBezTo>
                    <a:pt x="64" y="113"/>
                    <a:pt x="56" y="107"/>
                    <a:pt x="50" y="103"/>
                  </a:cubicBezTo>
                  <a:cubicBezTo>
                    <a:pt x="45" y="95"/>
                    <a:pt x="44" y="90"/>
                    <a:pt x="42" y="82"/>
                  </a:cubicBezTo>
                  <a:lnTo>
                    <a:pt x="28" y="81"/>
                  </a:lnTo>
                  <a:close/>
                  <a:moveTo>
                    <a:pt x="49" y="118"/>
                  </a:moveTo>
                  <a:cubicBezTo>
                    <a:pt x="34" y="105"/>
                    <a:pt x="34" y="105"/>
                    <a:pt x="34" y="105"/>
                  </a:cubicBezTo>
                  <a:cubicBezTo>
                    <a:pt x="36" y="105"/>
                    <a:pt x="38" y="105"/>
                    <a:pt x="40" y="106"/>
                  </a:cubicBezTo>
                  <a:cubicBezTo>
                    <a:pt x="42" y="107"/>
                    <a:pt x="48" y="111"/>
                    <a:pt x="54" y="116"/>
                  </a:cubicBezTo>
                  <a:cubicBezTo>
                    <a:pt x="52" y="116"/>
                    <a:pt x="50" y="117"/>
                    <a:pt x="49" y="118"/>
                  </a:cubicBezTo>
                  <a:close/>
                  <a:moveTo>
                    <a:pt x="169" y="177"/>
                  </a:moveTo>
                  <a:cubicBezTo>
                    <a:pt x="147" y="161"/>
                    <a:pt x="147" y="161"/>
                    <a:pt x="147" y="161"/>
                  </a:cubicBezTo>
                  <a:cubicBezTo>
                    <a:pt x="144" y="158"/>
                    <a:pt x="135" y="157"/>
                    <a:pt x="130" y="158"/>
                  </a:cubicBezTo>
                  <a:cubicBezTo>
                    <a:pt x="90" y="163"/>
                    <a:pt x="90" y="163"/>
                    <a:pt x="90" y="163"/>
                  </a:cubicBezTo>
                  <a:cubicBezTo>
                    <a:pt x="83" y="164"/>
                    <a:pt x="75" y="162"/>
                    <a:pt x="69" y="160"/>
                  </a:cubicBezTo>
                  <a:cubicBezTo>
                    <a:pt x="40" y="146"/>
                    <a:pt x="18" y="114"/>
                    <a:pt x="17" y="113"/>
                  </a:cubicBezTo>
                  <a:cubicBezTo>
                    <a:pt x="15" y="108"/>
                    <a:pt x="14" y="106"/>
                    <a:pt x="15" y="104"/>
                  </a:cubicBezTo>
                  <a:cubicBezTo>
                    <a:pt x="15" y="103"/>
                    <a:pt x="15" y="102"/>
                    <a:pt x="16" y="102"/>
                  </a:cubicBezTo>
                  <a:cubicBezTo>
                    <a:pt x="18" y="101"/>
                    <a:pt x="20" y="102"/>
                    <a:pt x="22" y="103"/>
                  </a:cubicBezTo>
                  <a:cubicBezTo>
                    <a:pt x="44" y="122"/>
                    <a:pt x="44" y="122"/>
                    <a:pt x="44" y="122"/>
                  </a:cubicBezTo>
                  <a:cubicBezTo>
                    <a:pt x="39" y="130"/>
                    <a:pt x="47" y="138"/>
                    <a:pt x="57" y="140"/>
                  </a:cubicBezTo>
                  <a:cubicBezTo>
                    <a:pt x="77" y="146"/>
                    <a:pt x="112" y="146"/>
                    <a:pt x="107" y="146"/>
                  </a:cubicBezTo>
                  <a:cubicBezTo>
                    <a:pt x="112" y="146"/>
                    <a:pt x="112" y="138"/>
                    <a:pt x="107" y="138"/>
                  </a:cubicBezTo>
                  <a:cubicBezTo>
                    <a:pt x="107" y="138"/>
                    <a:pt x="77" y="137"/>
                    <a:pt x="60" y="133"/>
                  </a:cubicBezTo>
                  <a:cubicBezTo>
                    <a:pt x="53" y="131"/>
                    <a:pt x="51" y="128"/>
                    <a:pt x="51" y="127"/>
                  </a:cubicBezTo>
                  <a:cubicBezTo>
                    <a:pt x="51" y="126"/>
                    <a:pt x="53" y="124"/>
                    <a:pt x="60" y="123"/>
                  </a:cubicBezTo>
                  <a:cubicBezTo>
                    <a:pt x="62" y="122"/>
                    <a:pt x="69" y="124"/>
                    <a:pt x="72" y="124"/>
                  </a:cubicBezTo>
                  <a:cubicBezTo>
                    <a:pt x="84" y="125"/>
                    <a:pt x="96" y="121"/>
                    <a:pt x="96" y="121"/>
                  </a:cubicBezTo>
                  <a:cubicBezTo>
                    <a:pt x="131" y="109"/>
                    <a:pt x="143" y="124"/>
                    <a:pt x="149" y="131"/>
                  </a:cubicBezTo>
                  <a:cubicBezTo>
                    <a:pt x="150" y="132"/>
                    <a:pt x="150" y="132"/>
                    <a:pt x="150" y="132"/>
                  </a:cubicBezTo>
                  <a:cubicBezTo>
                    <a:pt x="152" y="134"/>
                    <a:pt x="182" y="151"/>
                    <a:pt x="183" y="151"/>
                  </a:cubicBezTo>
                  <a:lnTo>
                    <a:pt x="169" y="177"/>
                  </a:ln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598" kern="0">
                <a:solidFill>
                  <a:srgbClr val="FFFFFF"/>
                </a:solidFill>
                <a:latin typeface="Segoe UI"/>
                <a:cs typeface="Segoe UI" pitchFamily="34" charset="0"/>
              </a:endParaRPr>
            </a:p>
          </p:txBody>
        </p:sp>
        <p:sp>
          <p:nvSpPr>
            <p:cNvPr id="87" name="Freeform 34">
              <a:extLst>
                <a:ext uri="{FF2B5EF4-FFF2-40B4-BE49-F238E27FC236}">
                  <a16:creationId xmlns:a16="http://schemas.microsoft.com/office/drawing/2014/main" id="{08E2CA9C-10E1-4EED-B8ED-F94076135BAD}"/>
                </a:ext>
              </a:extLst>
            </p:cNvPr>
            <p:cNvSpPr>
              <a:spLocks noEditPoints="1"/>
            </p:cNvSpPr>
            <p:nvPr/>
          </p:nvSpPr>
          <p:spPr bwMode="auto">
            <a:xfrm>
              <a:off x="4005" y="1916"/>
              <a:ext cx="138" cy="137"/>
            </a:xfrm>
            <a:custGeom>
              <a:avLst/>
              <a:gdLst>
                <a:gd name="T0" fmla="*/ 26 w 53"/>
                <a:gd name="T1" fmla="*/ 53 h 53"/>
                <a:gd name="T2" fmla="*/ 53 w 53"/>
                <a:gd name="T3" fmla="*/ 26 h 53"/>
                <a:gd name="T4" fmla="*/ 26 w 53"/>
                <a:gd name="T5" fmla="*/ 0 h 53"/>
                <a:gd name="T6" fmla="*/ 0 w 53"/>
                <a:gd name="T7" fmla="*/ 26 h 53"/>
                <a:gd name="T8" fmla="*/ 26 w 53"/>
                <a:gd name="T9" fmla="*/ 53 h 53"/>
                <a:gd name="T10" fmla="*/ 26 w 53"/>
                <a:gd name="T11" fmla="*/ 8 h 53"/>
                <a:gd name="T12" fmla="*/ 45 w 53"/>
                <a:gd name="T13" fmla="*/ 26 h 53"/>
                <a:gd name="T14" fmla="*/ 26 w 53"/>
                <a:gd name="T15" fmla="*/ 45 h 53"/>
                <a:gd name="T16" fmla="*/ 8 w 53"/>
                <a:gd name="T17" fmla="*/ 26 h 53"/>
                <a:gd name="T18" fmla="*/ 26 w 53"/>
                <a:gd name="T19" fmla="*/ 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53">
                  <a:moveTo>
                    <a:pt x="26" y="53"/>
                  </a:moveTo>
                  <a:cubicBezTo>
                    <a:pt x="41" y="53"/>
                    <a:pt x="53" y="41"/>
                    <a:pt x="53" y="26"/>
                  </a:cubicBezTo>
                  <a:cubicBezTo>
                    <a:pt x="53" y="12"/>
                    <a:pt x="41" y="0"/>
                    <a:pt x="26" y="0"/>
                  </a:cubicBezTo>
                  <a:cubicBezTo>
                    <a:pt x="12" y="0"/>
                    <a:pt x="0" y="12"/>
                    <a:pt x="0" y="26"/>
                  </a:cubicBezTo>
                  <a:cubicBezTo>
                    <a:pt x="0" y="41"/>
                    <a:pt x="12" y="53"/>
                    <a:pt x="26" y="53"/>
                  </a:cubicBezTo>
                  <a:close/>
                  <a:moveTo>
                    <a:pt x="26" y="8"/>
                  </a:moveTo>
                  <a:cubicBezTo>
                    <a:pt x="37" y="8"/>
                    <a:pt x="45" y="16"/>
                    <a:pt x="45" y="26"/>
                  </a:cubicBezTo>
                  <a:cubicBezTo>
                    <a:pt x="45" y="37"/>
                    <a:pt x="37" y="45"/>
                    <a:pt x="26" y="45"/>
                  </a:cubicBezTo>
                  <a:cubicBezTo>
                    <a:pt x="16" y="45"/>
                    <a:pt x="8" y="37"/>
                    <a:pt x="8" y="26"/>
                  </a:cubicBezTo>
                  <a:cubicBezTo>
                    <a:pt x="8" y="16"/>
                    <a:pt x="16" y="8"/>
                    <a:pt x="26" y="8"/>
                  </a:cubicBezTo>
                  <a:close/>
                </a:path>
              </a:pathLst>
            </a:custGeom>
            <a:grp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114" fontAlgn="base">
                <a:lnSpc>
                  <a:spcPct val="90000"/>
                </a:lnSpc>
                <a:spcBef>
                  <a:spcPct val="0"/>
                </a:spcBef>
                <a:spcAft>
                  <a:spcPct val="0"/>
                </a:spcAft>
              </a:pPr>
              <a:endParaRPr lang="en-US" sz="1598" kern="0">
                <a:solidFill>
                  <a:srgbClr val="FFFFFF"/>
                </a:solidFill>
                <a:latin typeface="Segoe UI"/>
                <a:cs typeface="Segoe UI" pitchFamily="34" charset="0"/>
              </a:endParaRPr>
            </a:p>
          </p:txBody>
        </p:sp>
      </p:grpSp>
      <p:grpSp>
        <p:nvGrpSpPr>
          <p:cNvPr id="88" name="Group 87">
            <a:extLst>
              <a:ext uri="{FF2B5EF4-FFF2-40B4-BE49-F238E27FC236}">
                <a16:creationId xmlns:a16="http://schemas.microsoft.com/office/drawing/2014/main" id="{FFDB98E8-CE8A-440A-98B2-07DD072F08D1}"/>
              </a:ext>
            </a:extLst>
          </p:cNvPr>
          <p:cNvGrpSpPr/>
          <p:nvPr/>
        </p:nvGrpSpPr>
        <p:grpSpPr>
          <a:xfrm>
            <a:off x="5823265" y="5285779"/>
            <a:ext cx="612375" cy="732870"/>
            <a:chOff x="4744389" y="3360420"/>
            <a:chExt cx="428245" cy="548640"/>
          </a:xfrm>
          <a:solidFill>
            <a:schemeClr val="accent1"/>
          </a:solidFill>
        </p:grpSpPr>
        <p:sp>
          <p:nvSpPr>
            <p:cNvPr id="89" name="Freeform 49">
              <a:extLst>
                <a:ext uri="{FF2B5EF4-FFF2-40B4-BE49-F238E27FC236}">
                  <a16:creationId xmlns:a16="http://schemas.microsoft.com/office/drawing/2014/main" id="{9FC98A5D-BD5E-4FB2-9D66-DA6066583D35}"/>
                </a:ext>
              </a:extLst>
            </p:cNvPr>
            <p:cNvSpPr>
              <a:spLocks noEditPoints="1"/>
            </p:cNvSpPr>
            <p:nvPr/>
          </p:nvSpPr>
          <p:spPr bwMode="auto">
            <a:xfrm>
              <a:off x="4744389" y="3360420"/>
              <a:ext cx="167995" cy="548640"/>
            </a:xfrm>
            <a:custGeom>
              <a:avLst/>
              <a:gdLst>
                <a:gd name="T0" fmla="*/ 30 w 38"/>
                <a:gd name="T1" fmla="*/ 70 h 126"/>
                <a:gd name="T2" fmla="*/ 38 w 38"/>
                <a:gd name="T3" fmla="*/ 70 h 126"/>
                <a:gd name="T4" fmla="*/ 38 w 38"/>
                <a:gd name="T5" fmla="*/ 64 h 126"/>
                <a:gd name="T6" fmla="*/ 22 w 38"/>
                <a:gd name="T7" fmla="*/ 64 h 126"/>
                <a:gd name="T8" fmla="*/ 22 w 38"/>
                <a:gd name="T9" fmla="*/ 27 h 126"/>
                <a:gd name="T10" fmla="*/ 30 w 38"/>
                <a:gd name="T11" fmla="*/ 19 h 126"/>
                <a:gd name="T12" fmla="*/ 30 w 38"/>
                <a:gd name="T13" fmla="*/ 0 h 126"/>
                <a:gd name="T14" fmla="*/ 8 w 38"/>
                <a:gd name="T15" fmla="*/ 0 h 126"/>
                <a:gd name="T16" fmla="*/ 8 w 38"/>
                <a:gd name="T17" fmla="*/ 19 h 126"/>
                <a:gd name="T18" fmla="*/ 16 w 38"/>
                <a:gd name="T19" fmla="*/ 27 h 126"/>
                <a:gd name="T20" fmla="*/ 16 w 38"/>
                <a:gd name="T21" fmla="*/ 64 h 126"/>
                <a:gd name="T22" fmla="*/ 0 w 38"/>
                <a:gd name="T23" fmla="*/ 64 h 126"/>
                <a:gd name="T24" fmla="*/ 0 w 38"/>
                <a:gd name="T25" fmla="*/ 70 h 126"/>
                <a:gd name="T26" fmla="*/ 8 w 38"/>
                <a:gd name="T27" fmla="*/ 70 h 126"/>
                <a:gd name="T28" fmla="*/ 8 w 38"/>
                <a:gd name="T29" fmla="*/ 115 h 126"/>
                <a:gd name="T30" fmla="*/ 19 w 38"/>
                <a:gd name="T31" fmla="*/ 126 h 126"/>
                <a:gd name="T32" fmla="*/ 30 w 38"/>
                <a:gd name="T33" fmla="*/ 115 h 126"/>
                <a:gd name="T34" fmla="*/ 30 w 38"/>
                <a:gd name="T35" fmla="*/ 70 h 126"/>
                <a:gd name="T36" fmla="*/ 14 w 38"/>
                <a:gd name="T37" fmla="*/ 16 h 126"/>
                <a:gd name="T38" fmla="*/ 14 w 38"/>
                <a:gd name="T39" fmla="*/ 6 h 126"/>
                <a:gd name="T40" fmla="*/ 24 w 38"/>
                <a:gd name="T41" fmla="*/ 6 h 126"/>
                <a:gd name="T42" fmla="*/ 24 w 38"/>
                <a:gd name="T43" fmla="*/ 16 h 126"/>
                <a:gd name="T44" fmla="*/ 19 w 38"/>
                <a:gd name="T45" fmla="*/ 21 h 126"/>
                <a:gd name="T46" fmla="*/ 14 w 38"/>
                <a:gd name="T47" fmla="*/ 16 h 126"/>
                <a:gd name="T48" fmla="*/ 24 w 38"/>
                <a:gd name="T49" fmla="*/ 115 h 126"/>
                <a:gd name="T50" fmla="*/ 19 w 38"/>
                <a:gd name="T51" fmla="*/ 120 h 126"/>
                <a:gd name="T52" fmla="*/ 14 w 38"/>
                <a:gd name="T53" fmla="*/ 115 h 126"/>
                <a:gd name="T54" fmla="*/ 14 w 38"/>
                <a:gd name="T55" fmla="*/ 70 h 126"/>
                <a:gd name="T56" fmla="*/ 24 w 38"/>
                <a:gd name="T57" fmla="*/ 70 h 126"/>
                <a:gd name="T58" fmla="*/ 24 w 38"/>
                <a:gd name="T59" fmla="*/ 11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126">
                  <a:moveTo>
                    <a:pt x="30" y="70"/>
                  </a:moveTo>
                  <a:cubicBezTo>
                    <a:pt x="38" y="70"/>
                    <a:pt x="38" y="70"/>
                    <a:pt x="38" y="70"/>
                  </a:cubicBezTo>
                  <a:cubicBezTo>
                    <a:pt x="38" y="64"/>
                    <a:pt x="38" y="64"/>
                    <a:pt x="38" y="64"/>
                  </a:cubicBezTo>
                  <a:cubicBezTo>
                    <a:pt x="22" y="64"/>
                    <a:pt x="22" y="64"/>
                    <a:pt x="22" y="64"/>
                  </a:cubicBezTo>
                  <a:cubicBezTo>
                    <a:pt x="22" y="27"/>
                    <a:pt x="22" y="27"/>
                    <a:pt x="22" y="27"/>
                  </a:cubicBezTo>
                  <a:cubicBezTo>
                    <a:pt x="30" y="19"/>
                    <a:pt x="30" y="19"/>
                    <a:pt x="30" y="19"/>
                  </a:cubicBezTo>
                  <a:cubicBezTo>
                    <a:pt x="30" y="0"/>
                    <a:pt x="30" y="0"/>
                    <a:pt x="30" y="0"/>
                  </a:cubicBezTo>
                  <a:cubicBezTo>
                    <a:pt x="8" y="0"/>
                    <a:pt x="8" y="0"/>
                    <a:pt x="8" y="0"/>
                  </a:cubicBezTo>
                  <a:cubicBezTo>
                    <a:pt x="8" y="19"/>
                    <a:pt x="8" y="19"/>
                    <a:pt x="8" y="19"/>
                  </a:cubicBezTo>
                  <a:cubicBezTo>
                    <a:pt x="16" y="27"/>
                    <a:pt x="16" y="27"/>
                    <a:pt x="16" y="27"/>
                  </a:cubicBezTo>
                  <a:cubicBezTo>
                    <a:pt x="16" y="64"/>
                    <a:pt x="16" y="64"/>
                    <a:pt x="16" y="64"/>
                  </a:cubicBezTo>
                  <a:cubicBezTo>
                    <a:pt x="0" y="64"/>
                    <a:pt x="0" y="64"/>
                    <a:pt x="0" y="64"/>
                  </a:cubicBezTo>
                  <a:cubicBezTo>
                    <a:pt x="0" y="70"/>
                    <a:pt x="0" y="70"/>
                    <a:pt x="0" y="70"/>
                  </a:cubicBezTo>
                  <a:cubicBezTo>
                    <a:pt x="8" y="70"/>
                    <a:pt x="8" y="70"/>
                    <a:pt x="8" y="70"/>
                  </a:cubicBezTo>
                  <a:cubicBezTo>
                    <a:pt x="8" y="115"/>
                    <a:pt x="8" y="115"/>
                    <a:pt x="8" y="115"/>
                  </a:cubicBezTo>
                  <a:cubicBezTo>
                    <a:pt x="8" y="121"/>
                    <a:pt x="13" y="126"/>
                    <a:pt x="19" y="126"/>
                  </a:cubicBezTo>
                  <a:cubicBezTo>
                    <a:pt x="25" y="126"/>
                    <a:pt x="30" y="121"/>
                    <a:pt x="30" y="115"/>
                  </a:cubicBezTo>
                  <a:lnTo>
                    <a:pt x="30" y="70"/>
                  </a:lnTo>
                  <a:close/>
                  <a:moveTo>
                    <a:pt x="14" y="16"/>
                  </a:moveTo>
                  <a:cubicBezTo>
                    <a:pt x="14" y="6"/>
                    <a:pt x="14" y="6"/>
                    <a:pt x="14" y="6"/>
                  </a:cubicBezTo>
                  <a:cubicBezTo>
                    <a:pt x="24" y="6"/>
                    <a:pt x="24" y="6"/>
                    <a:pt x="24" y="6"/>
                  </a:cubicBezTo>
                  <a:cubicBezTo>
                    <a:pt x="24" y="16"/>
                    <a:pt x="24" y="16"/>
                    <a:pt x="24" y="16"/>
                  </a:cubicBezTo>
                  <a:cubicBezTo>
                    <a:pt x="19" y="21"/>
                    <a:pt x="19" y="21"/>
                    <a:pt x="19" y="21"/>
                  </a:cubicBezTo>
                  <a:lnTo>
                    <a:pt x="14" y="16"/>
                  </a:lnTo>
                  <a:close/>
                  <a:moveTo>
                    <a:pt x="24" y="115"/>
                  </a:moveTo>
                  <a:cubicBezTo>
                    <a:pt x="24" y="118"/>
                    <a:pt x="22" y="120"/>
                    <a:pt x="19" y="120"/>
                  </a:cubicBezTo>
                  <a:cubicBezTo>
                    <a:pt x="16" y="120"/>
                    <a:pt x="14" y="118"/>
                    <a:pt x="14" y="115"/>
                  </a:cubicBezTo>
                  <a:cubicBezTo>
                    <a:pt x="14" y="70"/>
                    <a:pt x="14" y="70"/>
                    <a:pt x="14" y="70"/>
                  </a:cubicBezTo>
                  <a:cubicBezTo>
                    <a:pt x="24" y="70"/>
                    <a:pt x="24" y="70"/>
                    <a:pt x="24" y="70"/>
                  </a:cubicBezTo>
                  <a:lnTo>
                    <a:pt x="24" y="115"/>
                  </a:lnTo>
                  <a:close/>
                </a:path>
              </a:pathLst>
            </a:custGeom>
            <a:grpFill/>
            <a:ln w="6350">
              <a:noFill/>
            </a:ln>
          </p:spPr>
          <p:txBody>
            <a:bodyPr vert="horz" wrap="square" lIns="93206" tIns="46604" rIns="93206" bIns="46604" numCol="1" anchor="t" anchorCtr="0" compatLnSpc="1">
              <a:prstTxWarp prst="textNoShape">
                <a:avLst/>
              </a:prstTxWarp>
            </a:bodyPr>
            <a:lstStyle/>
            <a:p>
              <a:pPr defTabSz="950672">
                <a:defRPr/>
              </a:pPr>
              <a:endParaRPr lang="en-US" sz="1799" kern="0">
                <a:solidFill>
                  <a:srgbClr val="505050"/>
                </a:solidFill>
                <a:latin typeface="Segoe UI"/>
              </a:endParaRPr>
            </a:p>
          </p:txBody>
        </p:sp>
        <p:sp>
          <p:nvSpPr>
            <p:cNvPr id="90" name="Freeform 50">
              <a:extLst>
                <a:ext uri="{FF2B5EF4-FFF2-40B4-BE49-F238E27FC236}">
                  <a16:creationId xmlns:a16="http://schemas.microsoft.com/office/drawing/2014/main" id="{D2E3EEF2-8650-445C-82D1-01EB23E565AF}"/>
                </a:ext>
              </a:extLst>
            </p:cNvPr>
            <p:cNvSpPr>
              <a:spLocks noEditPoints="1"/>
            </p:cNvSpPr>
            <p:nvPr/>
          </p:nvSpPr>
          <p:spPr bwMode="auto">
            <a:xfrm>
              <a:off x="4970614" y="3360420"/>
              <a:ext cx="202020" cy="548640"/>
            </a:xfrm>
            <a:custGeom>
              <a:avLst/>
              <a:gdLst>
                <a:gd name="T0" fmla="*/ 34 w 46"/>
                <a:gd name="T1" fmla="*/ 43 h 126"/>
                <a:gd name="T2" fmla="*/ 35 w 46"/>
                <a:gd name="T3" fmla="*/ 43 h 126"/>
                <a:gd name="T4" fmla="*/ 46 w 46"/>
                <a:gd name="T5" fmla="*/ 23 h 126"/>
                <a:gd name="T6" fmla="*/ 23 w 46"/>
                <a:gd name="T7" fmla="*/ 0 h 126"/>
                <a:gd name="T8" fmla="*/ 0 w 46"/>
                <a:gd name="T9" fmla="*/ 23 h 126"/>
                <a:gd name="T10" fmla="*/ 12 w 46"/>
                <a:gd name="T11" fmla="*/ 43 h 126"/>
                <a:gd name="T12" fmla="*/ 12 w 46"/>
                <a:gd name="T13" fmla="*/ 43 h 126"/>
                <a:gd name="T14" fmla="*/ 12 w 46"/>
                <a:gd name="T15" fmla="*/ 115 h 126"/>
                <a:gd name="T16" fmla="*/ 23 w 46"/>
                <a:gd name="T17" fmla="*/ 126 h 126"/>
                <a:gd name="T18" fmla="*/ 34 w 46"/>
                <a:gd name="T19" fmla="*/ 115 h 126"/>
                <a:gd name="T20" fmla="*/ 34 w 46"/>
                <a:gd name="T21" fmla="*/ 43 h 126"/>
                <a:gd name="T22" fmla="*/ 30 w 46"/>
                <a:gd name="T23" fmla="*/ 39 h 126"/>
                <a:gd name="T24" fmla="*/ 28 w 46"/>
                <a:gd name="T25" fmla="*/ 39 h 126"/>
                <a:gd name="T26" fmla="*/ 28 w 46"/>
                <a:gd name="T27" fmla="*/ 115 h 126"/>
                <a:gd name="T28" fmla="*/ 23 w 46"/>
                <a:gd name="T29" fmla="*/ 120 h 126"/>
                <a:gd name="T30" fmla="*/ 18 w 46"/>
                <a:gd name="T31" fmla="*/ 115 h 126"/>
                <a:gd name="T32" fmla="*/ 18 w 46"/>
                <a:gd name="T33" fmla="*/ 39 h 126"/>
                <a:gd name="T34" fmla="*/ 16 w 46"/>
                <a:gd name="T35" fmla="*/ 39 h 126"/>
                <a:gd name="T36" fmla="*/ 6 w 46"/>
                <a:gd name="T37" fmla="*/ 23 h 126"/>
                <a:gd name="T38" fmla="*/ 19 w 46"/>
                <a:gd name="T39" fmla="*/ 7 h 126"/>
                <a:gd name="T40" fmla="*/ 20 w 46"/>
                <a:gd name="T41" fmla="*/ 6 h 126"/>
                <a:gd name="T42" fmla="*/ 20 w 46"/>
                <a:gd name="T43" fmla="*/ 19 h 126"/>
                <a:gd name="T44" fmla="*/ 23 w 46"/>
                <a:gd name="T45" fmla="*/ 22 h 126"/>
                <a:gd name="T46" fmla="*/ 26 w 46"/>
                <a:gd name="T47" fmla="*/ 19 h 126"/>
                <a:gd name="T48" fmla="*/ 26 w 46"/>
                <a:gd name="T49" fmla="*/ 6 h 126"/>
                <a:gd name="T50" fmla="*/ 27 w 46"/>
                <a:gd name="T51" fmla="*/ 7 h 126"/>
                <a:gd name="T52" fmla="*/ 40 w 46"/>
                <a:gd name="T53" fmla="*/ 23 h 126"/>
                <a:gd name="T54" fmla="*/ 30 w 46"/>
                <a:gd name="T55" fmla="*/ 3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26">
                  <a:moveTo>
                    <a:pt x="34" y="43"/>
                  </a:moveTo>
                  <a:cubicBezTo>
                    <a:pt x="35" y="43"/>
                    <a:pt x="35" y="43"/>
                    <a:pt x="35" y="43"/>
                  </a:cubicBezTo>
                  <a:cubicBezTo>
                    <a:pt x="42" y="39"/>
                    <a:pt x="46" y="31"/>
                    <a:pt x="46" y="23"/>
                  </a:cubicBezTo>
                  <a:cubicBezTo>
                    <a:pt x="46" y="10"/>
                    <a:pt x="36" y="0"/>
                    <a:pt x="23" y="0"/>
                  </a:cubicBezTo>
                  <a:cubicBezTo>
                    <a:pt x="10" y="0"/>
                    <a:pt x="0" y="10"/>
                    <a:pt x="0" y="23"/>
                  </a:cubicBezTo>
                  <a:cubicBezTo>
                    <a:pt x="0" y="31"/>
                    <a:pt x="4" y="39"/>
                    <a:pt x="12" y="43"/>
                  </a:cubicBezTo>
                  <a:cubicBezTo>
                    <a:pt x="12" y="43"/>
                    <a:pt x="12" y="43"/>
                    <a:pt x="12" y="43"/>
                  </a:cubicBezTo>
                  <a:cubicBezTo>
                    <a:pt x="12" y="115"/>
                    <a:pt x="12" y="115"/>
                    <a:pt x="12" y="115"/>
                  </a:cubicBezTo>
                  <a:cubicBezTo>
                    <a:pt x="12" y="121"/>
                    <a:pt x="17" y="126"/>
                    <a:pt x="23" y="126"/>
                  </a:cubicBezTo>
                  <a:cubicBezTo>
                    <a:pt x="29" y="126"/>
                    <a:pt x="34" y="121"/>
                    <a:pt x="34" y="115"/>
                  </a:cubicBezTo>
                  <a:lnTo>
                    <a:pt x="34" y="43"/>
                  </a:lnTo>
                  <a:close/>
                  <a:moveTo>
                    <a:pt x="30" y="39"/>
                  </a:moveTo>
                  <a:cubicBezTo>
                    <a:pt x="28" y="39"/>
                    <a:pt x="28" y="39"/>
                    <a:pt x="28" y="39"/>
                  </a:cubicBezTo>
                  <a:cubicBezTo>
                    <a:pt x="28" y="115"/>
                    <a:pt x="28" y="115"/>
                    <a:pt x="28" y="115"/>
                  </a:cubicBezTo>
                  <a:cubicBezTo>
                    <a:pt x="28" y="118"/>
                    <a:pt x="26" y="120"/>
                    <a:pt x="23" y="120"/>
                  </a:cubicBezTo>
                  <a:cubicBezTo>
                    <a:pt x="20" y="120"/>
                    <a:pt x="18" y="118"/>
                    <a:pt x="18" y="115"/>
                  </a:cubicBezTo>
                  <a:cubicBezTo>
                    <a:pt x="18" y="39"/>
                    <a:pt x="18" y="39"/>
                    <a:pt x="18" y="39"/>
                  </a:cubicBezTo>
                  <a:cubicBezTo>
                    <a:pt x="16" y="39"/>
                    <a:pt x="16" y="39"/>
                    <a:pt x="16" y="39"/>
                  </a:cubicBezTo>
                  <a:cubicBezTo>
                    <a:pt x="10" y="36"/>
                    <a:pt x="6" y="30"/>
                    <a:pt x="6" y="23"/>
                  </a:cubicBezTo>
                  <a:cubicBezTo>
                    <a:pt x="6" y="15"/>
                    <a:pt x="11" y="9"/>
                    <a:pt x="19" y="7"/>
                  </a:cubicBezTo>
                  <a:cubicBezTo>
                    <a:pt x="20" y="6"/>
                    <a:pt x="20" y="6"/>
                    <a:pt x="20" y="6"/>
                  </a:cubicBezTo>
                  <a:cubicBezTo>
                    <a:pt x="20" y="19"/>
                    <a:pt x="20" y="19"/>
                    <a:pt x="20" y="19"/>
                  </a:cubicBezTo>
                  <a:cubicBezTo>
                    <a:pt x="20" y="21"/>
                    <a:pt x="21" y="22"/>
                    <a:pt x="23" y="22"/>
                  </a:cubicBezTo>
                  <a:cubicBezTo>
                    <a:pt x="25" y="22"/>
                    <a:pt x="26" y="21"/>
                    <a:pt x="26" y="19"/>
                  </a:cubicBezTo>
                  <a:cubicBezTo>
                    <a:pt x="26" y="6"/>
                    <a:pt x="26" y="6"/>
                    <a:pt x="26" y="6"/>
                  </a:cubicBezTo>
                  <a:cubicBezTo>
                    <a:pt x="27" y="7"/>
                    <a:pt x="27" y="7"/>
                    <a:pt x="27" y="7"/>
                  </a:cubicBezTo>
                  <a:cubicBezTo>
                    <a:pt x="35" y="9"/>
                    <a:pt x="40" y="15"/>
                    <a:pt x="40" y="23"/>
                  </a:cubicBezTo>
                  <a:cubicBezTo>
                    <a:pt x="40" y="30"/>
                    <a:pt x="36" y="36"/>
                    <a:pt x="30" y="39"/>
                  </a:cubicBezTo>
                  <a:close/>
                </a:path>
              </a:pathLst>
            </a:custGeom>
            <a:grpFill/>
            <a:ln w="6350">
              <a:noFill/>
            </a:ln>
          </p:spPr>
          <p:txBody>
            <a:bodyPr vert="horz" wrap="square" lIns="93206" tIns="46604" rIns="93206" bIns="46604" numCol="1" anchor="t" anchorCtr="0" compatLnSpc="1">
              <a:prstTxWarp prst="textNoShape">
                <a:avLst/>
              </a:prstTxWarp>
            </a:bodyPr>
            <a:lstStyle/>
            <a:p>
              <a:pPr defTabSz="950672">
                <a:defRPr/>
              </a:pPr>
              <a:endParaRPr lang="en-US" sz="1799" kern="0">
                <a:solidFill>
                  <a:srgbClr val="505050"/>
                </a:solidFill>
                <a:latin typeface="Segoe UI"/>
              </a:endParaRPr>
            </a:p>
          </p:txBody>
        </p:sp>
      </p:grpSp>
      <p:grpSp>
        <p:nvGrpSpPr>
          <p:cNvPr id="91" name="Group 90">
            <a:extLst>
              <a:ext uri="{FF2B5EF4-FFF2-40B4-BE49-F238E27FC236}">
                <a16:creationId xmlns:a16="http://schemas.microsoft.com/office/drawing/2014/main" id="{95F5EB13-95A5-48D3-8132-0EB225EB54A1}"/>
              </a:ext>
            </a:extLst>
          </p:cNvPr>
          <p:cNvGrpSpPr/>
          <p:nvPr/>
        </p:nvGrpSpPr>
        <p:grpSpPr>
          <a:xfrm>
            <a:off x="5833008" y="1441453"/>
            <a:ext cx="647049" cy="689729"/>
            <a:chOff x="5302091" y="5313586"/>
            <a:chExt cx="920751" cy="981486"/>
          </a:xfrm>
          <a:solidFill>
            <a:schemeClr val="accent1"/>
          </a:solidFill>
        </p:grpSpPr>
        <p:sp>
          <p:nvSpPr>
            <p:cNvPr id="92" name="Circle: Hollow 91">
              <a:extLst>
                <a:ext uri="{FF2B5EF4-FFF2-40B4-BE49-F238E27FC236}">
                  <a16:creationId xmlns:a16="http://schemas.microsoft.com/office/drawing/2014/main" id="{A3A1689B-54B5-4DEE-AB86-129322E87D0D}"/>
                </a:ext>
              </a:extLst>
            </p:cNvPr>
            <p:cNvSpPr/>
            <p:nvPr/>
          </p:nvSpPr>
          <p:spPr bwMode="auto">
            <a:xfrm>
              <a:off x="5372576" y="5313586"/>
              <a:ext cx="288926" cy="288924"/>
            </a:xfrm>
            <a:prstGeom prst="donut">
              <a:avLst>
                <a:gd name="adj" fmla="val 1271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3" name="Rectangle 92">
              <a:extLst>
                <a:ext uri="{FF2B5EF4-FFF2-40B4-BE49-F238E27FC236}">
                  <a16:creationId xmlns:a16="http://schemas.microsoft.com/office/drawing/2014/main" id="{9933249B-34B5-424A-AAF1-527966F4724E}"/>
                </a:ext>
              </a:extLst>
            </p:cNvPr>
            <p:cNvSpPr/>
            <p:nvPr/>
          </p:nvSpPr>
          <p:spPr bwMode="auto">
            <a:xfrm rot="6285605">
              <a:off x="5776646" y="5361208"/>
              <a:ext cx="45719" cy="32782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4" name="Circle: Hollow 93">
              <a:extLst>
                <a:ext uri="{FF2B5EF4-FFF2-40B4-BE49-F238E27FC236}">
                  <a16:creationId xmlns:a16="http://schemas.microsoft.com/office/drawing/2014/main" id="{386A2B2D-7C55-4971-BD91-7A92B7A74C87}"/>
                </a:ext>
              </a:extLst>
            </p:cNvPr>
            <p:cNvSpPr/>
            <p:nvPr/>
          </p:nvSpPr>
          <p:spPr bwMode="auto">
            <a:xfrm>
              <a:off x="5933916" y="5438046"/>
              <a:ext cx="288926" cy="288924"/>
            </a:xfrm>
            <a:prstGeom prst="donut">
              <a:avLst>
                <a:gd name="adj" fmla="val 1271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5" name="Rectangle 94">
              <a:extLst>
                <a:ext uri="{FF2B5EF4-FFF2-40B4-BE49-F238E27FC236}">
                  <a16:creationId xmlns:a16="http://schemas.microsoft.com/office/drawing/2014/main" id="{520C80DA-18C5-43F7-8350-719564F09707}"/>
                </a:ext>
              </a:extLst>
            </p:cNvPr>
            <p:cNvSpPr/>
            <p:nvPr/>
          </p:nvSpPr>
          <p:spPr bwMode="auto">
            <a:xfrm rot="8537563">
              <a:off x="5674505" y="5512661"/>
              <a:ext cx="45719" cy="35512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6" name="Circle: Hollow 95">
              <a:extLst>
                <a:ext uri="{FF2B5EF4-FFF2-40B4-BE49-F238E27FC236}">
                  <a16:creationId xmlns:a16="http://schemas.microsoft.com/office/drawing/2014/main" id="{349B0B5A-8040-4878-A84F-516174BBC280}"/>
                </a:ext>
              </a:extLst>
            </p:cNvPr>
            <p:cNvSpPr/>
            <p:nvPr/>
          </p:nvSpPr>
          <p:spPr bwMode="auto">
            <a:xfrm>
              <a:off x="5738178" y="5794693"/>
              <a:ext cx="288926" cy="288924"/>
            </a:xfrm>
            <a:prstGeom prst="donut">
              <a:avLst>
                <a:gd name="adj" fmla="val 1271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7" name="Rectangle 96">
              <a:extLst>
                <a:ext uri="{FF2B5EF4-FFF2-40B4-BE49-F238E27FC236}">
                  <a16:creationId xmlns:a16="http://schemas.microsoft.com/office/drawing/2014/main" id="{770A8A71-D55D-4404-86AE-E4CE50437A68}"/>
                </a:ext>
              </a:extLst>
            </p:cNvPr>
            <p:cNvSpPr/>
            <p:nvPr/>
          </p:nvSpPr>
          <p:spPr bwMode="auto">
            <a:xfrm rot="11247003">
              <a:off x="5459018" y="5577415"/>
              <a:ext cx="45719" cy="35852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8" name="Circle: Hollow 97">
              <a:extLst>
                <a:ext uri="{FF2B5EF4-FFF2-40B4-BE49-F238E27FC236}">
                  <a16:creationId xmlns:a16="http://schemas.microsoft.com/office/drawing/2014/main" id="{E67B8933-9EEC-4689-B532-E96F0CF6FCF1}"/>
                </a:ext>
              </a:extLst>
            </p:cNvPr>
            <p:cNvSpPr/>
            <p:nvPr/>
          </p:nvSpPr>
          <p:spPr bwMode="auto">
            <a:xfrm>
              <a:off x="5302091" y="5904136"/>
              <a:ext cx="288926" cy="288924"/>
            </a:xfrm>
            <a:prstGeom prst="donut">
              <a:avLst>
                <a:gd name="adj" fmla="val 1271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9" name="Rectangle 98">
              <a:extLst>
                <a:ext uri="{FF2B5EF4-FFF2-40B4-BE49-F238E27FC236}">
                  <a16:creationId xmlns:a16="http://schemas.microsoft.com/office/drawing/2014/main" id="{303A1897-A5D2-4153-BE67-A4A0B1F686C8}"/>
                </a:ext>
              </a:extLst>
            </p:cNvPr>
            <p:cNvSpPr/>
            <p:nvPr/>
          </p:nvSpPr>
          <p:spPr bwMode="auto">
            <a:xfrm rot="14029184">
              <a:off x="5736394" y="5554263"/>
              <a:ext cx="45719" cy="52659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0" name="Rectangle 99">
              <a:extLst>
                <a:ext uri="{FF2B5EF4-FFF2-40B4-BE49-F238E27FC236}">
                  <a16:creationId xmlns:a16="http://schemas.microsoft.com/office/drawing/2014/main" id="{10CA5C22-39DA-41C2-82FD-EAC5CF71C44E}"/>
                </a:ext>
              </a:extLst>
            </p:cNvPr>
            <p:cNvSpPr/>
            <p:nvPr/>
          </p:nvSpPr>
          <p:spPr bwMode="auto">
            <a:xfrm rot="10800000">
              <a:off x="6062624" y="5709285"/>
              <a:ext cx="48615" cy="30861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1" name="Rectangle 100">
              <a:extLst>
                <a:ext uri="{FF2B5EF4-FFF2-40B4-BE49-F238E27FC236}">
                  <a16:creationId xmlns:a16="http://schemas.microsoft.com/office/drawing/2014/main" id="{F145DC85-912F-40ED-A25F-6425467DC860}"/>
                </a:ext>
              </a:extLst>
            </p:cNvPr>
            <p:cNvSpPr/>
            <p:nvPr/>
          </p:nvSpPr>
          <p:spPr bwMode="auto">
            <a:xfrm rot="5944464">
              <a:off x="5719679" y="5944180"/>
              <a:ext cx="45719" cy="392575"/>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02" name="Circle: Hollow 101">
              <a:extLst>
                <a:ext uri="{FF2B5EF4-FFF2-40B4-BE49-F238E27FC236}">
                  <a16:creationId xmlns:a16="http://schemas.microsoft.com/office/drawing/2014/main" id="{19278826-F0E1-48CC-AAF7-F38E347EAABC}"/>
                </a:ext>
              </a:extLst>
            </p:cNvPr>
            <p:cNvSpPr/>
            <p:nvPr/>
          </p:nvSpPr>
          <p:spPr bwMode="auto">
            <a:xfrm>
              <a:off x="5918676" y="6006148"/>
              <a:ext cx="288926" cy="288924"/>
            </a:xfrm>
            <a:prstGeom prst="donut">
              <a:avLst>
                <a:gd name="adj" fmla="val 12710"/>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03" name="Group 102">
            <a:extLst>
              <a:ext uri="{FF2B5EF4-FFF2-40B4-BE49-F238E27FC236}">
                <a16:creationId xmlns:a16="http://schemas.microsoft.com/office/drawing/2014/main" id="{26A419D8-D81C-4298-8049-BDBE0750EC78}"/>
              </a:ext>
            </a:extLst>
          </p:cNvPr>
          <p:cNvGrpSpPr/>
          <p:nvPr/>
        </p:nvGrpSpPr>
        <p:grpSpPr>
          <a:xfrm>
            <a:off x="5724964" y="2816121"/>
            <a:ext cx="803702" cy="619653"/>
            <a:chOff x="3914588" y="2601594"/>
            <a:chExt cx="1631577" cy="1257943"/>
          </a:xfrm>
        </p:grpSpPr>
        <p:sp>
          <p:nvSpPr>
            <p:cNvPr id="104" name="Freeform: Shape 103">
              <a:extLst>
                <a:ext uri="{FF2B5EF4-FFF2-40B4-BE49-F238E27FC236}">
                  <a16:creationId xmlns:a16="http://schemas.microsoft.com/office/drawing/2014/main" id="{329F564B-1876-4AF5-8B67-EFBB5E497F80}"/>
                </a:ext>
              </a:extLst>
            </p:cNvPr>
            <p:cNvSpPr/>
            <p:nvPr/>
          </p:nvSpPr>
          <p:spPr>
            <a:xfrm>
              <a:off x="3987208" y="2687845"/>
              <a:ext cx="781050" cy="781050"/>
            </a:xfrm>
            <a:custGeom>
              <a:avLst/>
              <a:gdLst/>
              <a:ahLst/>
              <a:cxnLst/>
              <a:rect l="0" t="0" r="0" b="0"/>
              <a:pathLst>
                <a:path w="781050" h="781050">
                  <a:moveTo>
                    <a:pt x="591979" y="62389"/>
                  </a:moveTo>
                  <a:cubicBezTo>
                    <a:pt x="531971" y="26194"/>
                    <a:pt x="463391" y="7144"/>
                    <a:pt x="393859" y="7144"/>
                  </a:cubicBezTo>
                  <a:cubicBezTo>
                    <a:pt x="310991" y="7144"/>
                    <a:pt x="231934" y="32861"/>
                    <a:pt x="165259" y="82391"/>
                  </a:cubicBezTo>
                  <a:cubicBezTo>
                    <a:pt x="66199" y="154781"/>
                    <a:pt x="7144" y="271939"/>
                    <a:pt x="7144" y="393859"/>
                  </a:cubicBezTo>
                  <a:cubicBezTo>
                    <a:pt x="7144" y="607219"/>
                    <a:pt x="180499" y="780574"/>
                    <a:pt x="393859" y="780574"/>
                  </a:cubicBezTo>
                  <a:cubicBezTo>
                    <a:pt x="607219" y="780574"/>
                    <a:pt x="780574" y="607219"/>
                    <a:pt x="780574" y="393859"/>
                  </a:cubicBezTo>
                  <a:cubicBezTo>
                    <a:pt x="780574" y="258604"/>
                    <a:pt x="708184" y="131921"/>
                    <a:pt x="591979" y="62389"/>
                  </a:cubicBezTo>
                  <a:close/>
                  <a:moveTo>
                    <a:pt x="46196" y="412909"/>
                  </a:moveTo>
                  <a:lnTo>
                    <a:pt x="393859" y="412909"/>
                  </a:lnTo>
                  <a:cubicBezTo>
                    <a:pt x="393859" y="412909"/>
                    <a:pt x="394811" y="412909"/>
                    <a:pt x="394811" y="412909"/>
                  </a:cubicBezTo>
                  <a:cubicBezTo>
                    <a:pt x="395764" y="412909"/>
                    <a:pt x="396716" y="412909"/>
                    <a:pt x="396716" y="412909"/>
                  </a:cubicBezTo>
                  <a:cubicBezTo>
                    <a:pt x="397669" y="412909"/>
                    <a:pt x="397669" y="412909"/>
                    <a:pt x="398621" y="412909"/>
                  </a:cubicBezTo>
                  <a:cubicBezTo>
                    <a:pt x="398621" y="412909"/>
                    <a:pt x="398621" y="412909"/>
                    <a:pt x="398621" y="412909"/>
                  </a:cubicBezTo>
                  <a:cubicBezTo>
                    <a:pt x="399574" y="412909"/>
                    <a:pt x="400526" y="411956"/>
                    <a:pt x="401479" y="411956"/>
                  </a:cubicBezTo>
                  <a:cubicBezTo>
                    <a:pt x="402431" y="411956"/>
                    <a:pt x="402431" y="411956"/>
                    <a:pt x="403384" y="411004"/>
                  </a:cubicBezTo>
                  <a:cubicBezTo>
                    <a:pt x="403384" y="411004"/>
                    <a:pt x="403384" y="411004"/>
                    <a:pt x="403384" y="411004"/>
                  </a:cubicBezTo>
                  <a:cubicBezTo>
                    <a:pt x="403384" y="411004"/>
                    <a:pt x="404336" y="411004"/>
                    <a:pt x="404336" y="410051"/>
                  </a:cubicBezTo>
                  <a:cubicBezTo>
                    <a:pt x="405289" y="410051"/>
                    <a:pt x="405289" y="409099"/>
                    <a:pt x="406241" y="409099"/>
                  </a:cubicBezTo>
                  <a:cubicBezTo>
                    <a:pt x="406241" y="409099"/>
                    <a:pt x="407194" y="408146"/>
                    <a:pt x="407194" y="408146"/>
                  </a:cubicBezTo>
                  <a:cubicBezTo>
                    <a:pt x="407194" y="408146"/>
                    <a:pt x="407194" y="408146"/>
                    <a:pt x="407194" y="408146"/>
                  </a:cubicBezTo>
                  <a:cubicBezTo>
                    <a:pt x="407194" y="408146"/>
                    <a:pt x="408146" y="407194"/>
                    <a:pt x="408146" y="407194"/>
                  </a:cubicBezTo>
                  <a:cubicBezTo>
                    <a:pt x="409099" y="406241"/>
                    <a:pt x="409099" y="406241"/>
                    <a:pt x="410051" y="405289"/>
                  </a:cubicBezTo>
                  <a:lnTo>
                    <a:pt x="588169" y="107156"/>
                  </a:lnTo>
                  <a:cubicBezTo>
                    <a:pt x="683419" y="171926"/>
                    <a:pt x="741521" y="280511"/>
                    <a:pt x="741521" y="395764"/>
                  </a:cubicBezTo>
                  <a:cubicBezTo>
                    <a:pt x="741521" y="588169"/>
                    <a:pt x="585311" y="744379"/>
                    <a:pt x="392906" y="744379"/>
                  </a:cubicBezTo>
                  <a:cubicBezTo>
                    <a:pt x="208121" y="742474"/>
                    <a:pt x="55721" y="595789"/>
                    <a:pt x="46196" y="412909"/>
                  </a:cubicBezTo>
                  <a:close/>
                  <a:moveTo>
                    <a:pt x="391954" y="359569"/>
                  </a:moveTo>
                  <a:lnTo>
                    <a:pt x="203359" y="102394"/>
                  </a:lnTo>
                  <a:cubicBezTo>
                    <a:pt x="259556" y="65246"/>
                    <a:pt x="325279" y="46196"/>
                    <a:pt x="393859" y="46196"/>
                  </a:cubicBezTo>
                  <a:cubicBezTo>
                    <a:pt x="450056" y="46196"/>
                    <a:pt x="506254" y="59531"/>
                    <a:pt x="555784" y="86201"/>
                  </a:cubicBezTo>
                  <a:lnTo>
                    <a:pt x="391954" y="359569"/>
                  </a:lnTo>
                  <a:close/>
                  <a:moveTo>
                    <a:pt x="172879" y="125254"/>
                  </a:moveTo>
                  <a:lnTo>
                    <a:pt x="356711" y="374809"/>
                  </a:lnTo>
                  <a:lnTo>
                    <a:pt x="46196" y="374809"/>
                  </a:lnTo>
                  <a:cubicBezTo>
                    <a:pt x="51911" y="277654"/>
                    <a:pt x="97631" y="187166"/>
                    <a:pt x="172879" y="125254"/>
                  </a:cubicBezTo>
                  <a:close/>
                </a:path>
              </a:pathLst>
            </a:custGeom>
            <a:solidFill>
              <a:schemeClr val="accent1"/>
            </a:solidFill>
            <a:ln w="9525" cap="flat">
              <a:noFill/>
              <a:prstDash val="solid"/>
              <a:miter/>
            </a:ln>
          </p:spPr>
          <p:txBody>
            <a:bodyPr/>
            <a:lstStyle/>
            <a:p>
              <a:pPr defTabSz="932418"/>
              <a:endParaRPr lang="en-US" sz="1836">
                <a:solidFill>
                  <a:srgbClr val="505050"/>
                </a:solidFill>
                <a:latin typeface="Segoe UI"/>
              </a:endParaRPr>
            </a:p>
          </p:txBody>
        </p:sp>
        <p:grpSp>
          <p:nvGrpSpPr>
            <p:cNvPr id="105" name="Group 104">
              <a:extLst>
                <a:ext uri="{FF2B5EF4-FFF2-40B4-BE49-F238E27FC236}">
                  <a16:creationId xmlns:a16="http://schemas.microsoft.com/office/drawing/2014/main" id="{93886A25-D250-40A7-A2D5-CB8ED01976DA}"/>
                </a:ext>
              </a:extLst>
            </p:cNvPr>
            <p:cNvGrpSpPr/>
            <p:nvPr/>
          </p:nvGrpSpPr>
          <p:grpSpPr>
            <a:xfrm>
              <a:off x="4974793" y="2724994"/>
              <a:ext cx="457757" cy="604078"/>
              <a:chOff x="4968049" y="2891776"/>
              <a:chExt cx="457757" cy="604078"/>
            </a:xfrm>
          </p:grpSpPr>
          <p:sp>
            <p:nvSpPr>
              <p:cNvPr id="114" name="Rectangle: Rounded Corners 113">
                <a:extLst>
                  <a:ext uri="{FF2B5EF4-FFF2-40B4-BE49-F238E27FC236}">
                    <a16:creationId xmlns:a16="http://schemas.microsoft.com/office/drawing/2014/main" id="{5B318271-F99E-42CD-ADFE-E6E66EEADA43}"/>
                  </a:ext>
                </a:extLst>
              </p:cNvPr>
              <p:cNvSpPr/>
              <p:nvPr/>
            </p:nvSpPr>
            <p:spPr bwMode="auto">
              <a:xfrm rot="2354411">
                <a:off x="4968049" y="3113110"/>
                <a:ext cx="45719" cy="382744"/>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5" name="Rectangle: Rounded Corners 114">
                <a:extLst>
                  <a:ext uri="{FF2B5EF4-FFF2-40B4-BE49-F238E27FC236}">
                    <a16:creationId xmlns:a16="http://schemas.microsoft.com/office/drawing/2014/main" id="{0D36584F-966C-45C1-9F42-08075D7B2B24}"/>
                  </a:ext>
                </a:extLst>
              </p:cNvPr>
              <p:cNvSpPr/>
              <p:nvPr/>
            </p:nvSpPr>
            <p:spPr bwMode="auto">
              <a:xfrm rot="2595084">
                <a:off x="5278410" y="2962776"/>
                <a:ext cx="45719" cy="316005"/>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16" name="Rectangle: Rounded Corners 115">
                <a:extLst>
                  <a:ext uri="{FF2B5EF4-FFF2-40B4-BE49-F238E27FC236}">
                    <a16:creationId xmlns:a16="http://schemas.microsoft.com/office/drawing/2014/main" id="{18E1219B-8A60-4143-A151-595FC88237E7}"/>
                  </a:ext>
                </a:extLst>
              </p:cNvPr>
              <p:cNvSpPr/>
              <p:nvPr/>
            </p:nvSpPr>
            <p:spPr bwMode="auto">
              <a:xfrm rot="6939812">
                <a:off x="5129983" y="3114691"/>
                <a:ext cx="46259" cy="15859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18" name="Group 117">
                <a:extLst>
                  <a:ext uri="{FF2B5EF4-FFF2-40B4-BE49-F238E27FC236}">
                    <a16:creationId xmlns:a16="http://schemas.microsoft.com/office/drawing/2014/main" id="{040FAED3-DDA9-461A-B844-CFB7D7F216A5}"/>
                  </a:ext>
                </a:extLst>
              </p:cNvPr>
              <p:cNvGrpSpPr/>
              <p:nvPr/>
            </p:nvGrpSpPr>
            <p:grpSpPr>
              <a:xfrm rot="2911359">
                <a:off x="5283414" y="2988084"/>
                <a:ext cx="238699" cy="46084"/>
                <a:chOff x="5535852" y="3003296"/>
                <a:chExt cx="238699" cy="46084"/>
              </a:xfrm>
            </p:grpSpPr>
            <p:sp>
              <p:nvSpPr>
                <p:cNvPr id="119" name="Rectangle: Rounded Corners 118">
                  <a:extLst>
                    <a:ext uri="{FF2B5EF4-FFF2-40B4-BE49-F238E27FC236}">
                      <a16:creationId xmlns:a16="http://schemas.microsoft.com/office/drawing/2014/main" id="{D7DFB66A-E40C-49E3-80DF-5F625FADC41A}"/>
                    </a:ext>
                  </a:extLst>
                </p:cNvPr>
                <p:cNvSpPr/>
                <p:nvPr/>
              </p:nvSpPr>
              <p:spPr bwMode="auto">
                <a:xfrm rot="3238518" flipH="1">
                  <a:off x="5589397" y="2950116"/>
                  <a:ext cx="45719" cy="152809"/>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0" name="Rectangle: Rounded Corners 119">
                  <a:extLst>
                    <a:ext uri="{FF2B5EF4-FFF2-40B4-BE49-F238E27FC236}">
                      <a16:creationId xmlns:a16="http://schemas.microsoft.com/office/drawing/2014/main" id="{24AE5BDC-F10A-4E30-9398-E42B1B0CF43D}"/>
                    </a:ext>
                  </a:extLst>
                </p:cNvPr>
                <p:cNvSpPr/>
                <p:nvPr/>
              </p:nvSpPr>
              <p:spPr bwMode="auto">
                <a:xfrm rot="18407561" flipH="1" flipV="1">
                  <a:off x="5676346" y="2950810"/>
                  <a:ext cx="45719" cy="150691"/>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106" name="Rectangle 105">
              <a:extLst>
                <a:ext uri="{FF2B5EF4-FFF2-40B4-BE49-F238E27FC236}">
                  <a16:creationId xmlns:a16="http://schemas.microsoft.com/office/drawing/2014/main" id="{4117C1BE-091B-4E0F-8543-5A1173A5638B}"/>
                </a:ext>
              </a:extLst>
            </p:cNvPr>
            <p:cNvSpPr/>
            <p:nvPr/>
          </p:nvSpPr>
          <p:spPr bwMode="auto">
            <a:xfrm>
              <a:off x="3914588" y="2601594"/>
              <a:ext cx="1631577" cy="956041"/>
            </a:xfrm>
            <a:prstGeom prst="rect">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94" tIns="149196" rIns="186494" bIns="149196" numCol="1" spcCol="0" rtlCol="0" fromWordArt="0" anchor="t" anchorCtr="0" forceAA="0" compatLnSpc="1">
              <a:prstTxWarp prst="textNoShape">
                <a:avLst/>
              </a:prstTxWarp>
              <a:noAutofit/>
            </a:bodyPr>
            <a:lstStyle/>
            <a:p>
              <a:pPr algn="ctr" defTabSz="950846" fontAlgn="base">
                <a:lnSpc>
                  <a:spcPct val="90000"/>
                </a:lnSpc>
                <a:spcBef>
                  <a:spcPct val="0"/>
                </a:spcBef>
                <a:spcAft>
                  <a:spcPct val="0"/>
                </a:spcAft>
              </a:pPr>
              <a:endParaRPr lang="en-US" sz="2448"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111" name="Straight Connector 110">
              <a:extLst>
                <a:ext uri="{FF2B5EF4-FFF2-40B4-BE49-F238E27FC236}">
                  <a16:creationId xmlns:a16="http://schemas.microsoft.com/office/drawing/2014/main" id="{F248B11F-66E6-44F9-86E0-C2A967793E2A}"/>
                </a:ext>
              </a:extLst>
            </p:cNvPr>
            <p:cNvCxnSpPr>
              <a:stCxn id="106" idx="2"/>
            </p:cNvCxnSpPr>
            <p:nvPr/>
          </p:nvCxnSpPr>
          <p:spPr>
            <a:xfrm flipH="1">
              <a:off x="4730376" y="3557635"/>
              <a:ext cx="1" cy="301902"/>
            </a:xfrm>
            <a:prstGeom prst="lin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13" name="Straight Connector 112">
              <a:extLst>
                <a:ext uri="{FF2B5EF4-FFF2-40B4-BE49-F238E27FC236}">
                  <a16:creationId xmlns:a16="http://schemas.microsoft.com/office/drawing/2014/main" id="{57F1EF41-306C-43FF-9360-E58B3A645349}"/>
                </a:ext>
              </a:extLst>
            </p:cNvPr>
            <p:cNvCxnSpPr>
              <a:cxnSpLocks/>
            </p:cNvCxnSpPr>
            <p:nvPr/>
          </p:nvCxnSpPr>
          <p:spPr>
            <a:xfrm flipH="1">
              <a:off x="4548000" y="3859537"/>
              <a:ext cx="364752" cy="0"/>
            </a:xfrm>
            <a:prstGeom prst="lin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grpSp>
        <p:nvGrpSpPr>
          <p:cNvPr id="12" name="Group 11">
            <a:extLst>
              <a:ext uri="{FF2B5EF4-FFF2-40B4-BE49-F238E27FC236}">
                <a16:creationId xmlns:a16="http://schemas.microsoft.com/office/drawing/2014/main" id="{181DA8CF-FDA8-4C67-A2C6-0F7E1956C3DE}"/>
              </a:ext>
            </a:extLst>
          </p:cNvPr>
          <p:cNvGrpSpPr/>
          <p:nvPr/>
        </p:nvGrpSpPr>
        <p:grpSpPr>
          <a:xfrm>
            <a:off x="2949863" y="2392552"/>
            <a:ext cx="297511" cy="275200"/>
            <a:chOff x="4613909" y="5923400"/>
            <a:chExt cx="833094" cy="770620"/>
          </a:xfrm>
          <a:solidFill>
            <a:schemeClr val="accent1"/>
          </a:solidFill>
        </p:grpSpPr>
        <p:sp>
          <p:nvSpPr>
            <p:cNvPr id="6" name="Freeform: Shape 5">
              <a:extLst>
                <a:ext uri="{FF2B5EF4-FFF2-40B4-BE49-F238E27FC236}">
                  <a16:creationId xmlns:a16="http://schemas.microsoft.com/office/drawing/2014/main" id="{44B51667-8097-48A4-885D-5207F79F4E62}"/>
                </a:ext>
              </a:extLst>
            </p:cNvPr>
            <p:cNvSpPr/>
            <p:nvPr/>
          </p:nvSpPr>
          <p:spPr>
            <a:xfrm>
              <a:off x="5220394" y="6370760"/>
              <a:ext cx="190500" cy="266700"/>
            </a:xfrm>
            <a:custGeom>
              <a:avLst/>
              <a:gdLst/>
              <a:ahLst/>
              <a:cxnLst/>
              <a:rect l="0" t="0" r="0" b="0"/>
              <a:pathLst>
                <a:path w="190500" h="266700">
                  <a:moveTo>
                    <a:pt x="7144" y="240240"/>
                  </a:moveTo>
                  <a:lnTo>
                    <a:pt x="19650" y="266148"/>
                  </a:lnTo>
                  <a:cubicBezTo>
                    <a:pt x="108328" y="208569"/>
                    <a:pt x="171850" y="115481"/>
                    <a:pt x="189890" y="7144"/>
                  </a:cubicBezTo>
                  <a:lnTo>
                    <a:pt x="160868" y="7144"/>
                  </a:lnTo>
                  <a:cubicBezTo>
                    <a:pt x="143361" y="104184"/>
                    <a:pt x="86392" y="187652"/>
                    <a:pt x="7144" y="240240"/>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7" name="Freeform: Shape 6">
              <a:extLst>
                <a:ext uri="{FF2B5EF4-FFF2-40B4-BE49-F238E27FC236}">
                  <a16:creationId xmlns:a16="http://schemas.microsoft.com/office/drawing/2014/main" id="{57E77AFB-D81D-4158-A532-A9E564E9D073}"/>
                </a:ext>
              </a:extLst>
            </p:cNvPr>
            <p:cNvSpPr/>
            <p:nvPr/>
          </p:nvSpPr>
          <p:spPr>
            <a:xfrm>
              <a:off x="4645589" y="6370751"/>
              <a:ext cx="200025" cy="266700"/>
            </a:xfrm>
            <a:custGeom>
              <a:avLst/>
              <a:gdLst/>
              <a:ahLst/>
              <a:cxnLst/>
              <a:rect l="0" t="0" r="0" b="0"/>
              <a:pathLst>
                <a:path w="200025" h="266700">
                  <a:moveTo>
                    <a:pt x="36176" y="7144"/>
                  </a:moveTo>
                  <a:lnTo>
                    <a:pt x="7144" y="7144"/>
                  </a:lnTo>
                  <a:cubicBezTo>
                    <a:pt x="25479" y="117234"/>
                    <a:pt x="90773" y="211588"/>
                    <a:pt x="181708" y="268919"/>
                  </a:cubicBezTo>
                  <a:lnTo>
                    <a:pt x="194701" y="243316"/>
                  </a:lnTo>
                  <a:cubicBezTo>
                    <a:pt x="112976" y="190957"/>
                    <a:pt x="54035" y="106137"/>
                    <a:pt x="36176" y="7144"/>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8" name="Freeform: Shape 7">
              <a:extLst>
                <a:ext uri="{FF2B5EF4-FFF2-40B4-BE49-F238E27FC236}">
                  <a16:creationId xmlns:a16="http://schemas.microsoft.com/office/drawing/2014/main" id="{D230CDB2-D4C3-462E-9D36-BD373BEB014C}"/>
                </a:ext>
              </a:extLst>
            </p:cNvPr>
            <p:cNvSpPr/>
            <p:nvPr/>
          </p:nvSpPr>
          <p:spPr>
            <a:xfrm>
              <a:off x="4817953" y="5923400"/>
              <a:ext cx="428625" cy="85725"/>
            </a:xfrm>
            <a:custGeom>
              <a:avLst/>
              <a:gdLst/>
              <a:ahLst/>
              <a:cxnLst/>
              <a:rect l="0" t="0" r="0" b="0"/>
              <a:pathLst>
                <a:path w="428625" h="85725">
                  <a:moveTo>
                    <a:pt x="213560" y="35719"/>
                  </a:moveTo>
                  <a:cubicBezTo>
                    <a:pt x="280054" y="35719"/>
                    <a:pt x="342309" y="54112"/>
                    <a:pt x="395592" y="86011"/>
                  </a:cubicBezTo>
                  <a:lnTo>
                    <a:pt x="423529" y="69856"/>
                  </a:lnTo>
                  <a:cubicBezTo>
                    <a:pt x="363131" y="30261"/>
                    <a:pt x="291008" y="7144"/>
                    <a:pt x="213560" y="7144"/>
                  </a:cubicBezTo>
                  <a:cubicBezTo>
                    <a:pt x="137617" y="7144"/>
                    <a:pt x="66808" y="29394"/>
                    <a:pt x="7144" y="67580"/>
                  </a:cubicBezTo>
                  <a:lnTo>
                    <a:pt x="35281" y="83849"/>
                  </a:lnTo>
                  <a:cubicBezTo>
                    <a:pt x="87735" y="53311"/>
                    <a:pt x="148619" y="35719"/>
                    <a:pt x="213560" y="3571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9" name="Freeform: Shape 8">
              <a:extLst>
                <a:ext uri="{FF2B5EF4-FFF2-40B4-BE49-F238E27FC236}">
                  <a16:creationId xmlns:a16="http://schemas.microsoft.com/office/drawing/2014/main" id="{95EAEE04-B2B5-4016-AE6A-526AC2A9840E}"/>
                </a:ext>
              </a:extLst>
            </p:cNvPr>
            <p:cNvSpPr/>
            <p:nvPr/>
          </p:nvSpPr>
          <p:spPr>
            <a:xfrm>
              <a:off x="4613909" y="6014783"/>
              <a:ext cx="314325" cy="342900"/>
            </a:xfrm>
            <a:custGeom>
              <a:avLst/>
              <a:gdLst/>
              <a:ahLst/>
              <a:cxnLst/>
              <a:rect l="0" t="0" r="0" b="0"/>
              <a:pathLst>
                <a:path w="314325" h="342900">
                  <a:moveTo>
                    <a:pt x="302114" y="290341"/>
                  </a:moveTo>
                  <a:cubicBezTo>
                    <a:pt x="305695" y="287750"/>
                    <a:pt x="308019" y="283521"/>
                    <a:pt x="308019" y="278740"/>
                  </a:cubicBezTo>
                  <a:cubicBezTo>
                    <a:pt x="308019" y="277349"/>
                    <a:pt x="307753" y="276025"/>
                    <a:pt x="307381" y="274758"/>
                  </a:cubicBezTo>
                  <a:lnTo>
                    <a:pt x="307515" y="274720"/>
                  </a:lnTo>
                  <a:cubicBezTo>
                    <a:pt x="292475" y="223018"/>
                    <a:pt x="244402" y="186909"/>
                    <a:pt x="190614" y="186909"/>
                  </a:cubicBezTo>
                  <a:lnTo>
                    <a:pt x="179670" y="186909"/>
                  </a:lnTo>
                  <a:cubicBezTo>
                    <a:pt x="219418" y="177051"/>
                    <a:pt x="249012" y="141170"/>
                    <a:pt x="249012" y="98412"/>
                  </a:cubicBezTo>
                  <a:cubicBezTo>
                    <a:pt x="249012" y="48092"/>
                    <a:pt x="208074" y="7144"/>
                    <a:pt x="157753" y="7144"/>
                  </a:cubicBezTo>
                  <a:cubicBezTo>
                    <a:pt x="107432" y="7144"/>
                    <a:pt x="66485" y="48082"/>
                    <a:pt x="66485" y="98412"/>
                  </a:cubicBezTo>
                  <a:cubicBezTo>
                    <a:pt x="66485" y="141170"/>
                    <a:pt x="96079" y="177051"/>
                    <a:pt x="135836" y="186909"/>
                  </a:cubicBezTo>
                  <a:lnTo>
                    <a:pt x="124263" y="186909"/>
                  </a:lnTo>
                  <a:cubicBezTo>
                    <a:pt x="70656" y="186909"/>
                    <a:pt x="22689" y="222914"/>
                    <a:pt x="7610" y="274453"/>
                  </a:cubicBezTo>
                  <a:lnTo>
                    <a:pt x="7725" y="274491"/>
                  </a:lnTo>
                  <a:cubicBezTo>
                    <a:pt x="7382" y="275711"/>
                    <a:pt x="7144" y="276968"/>
                    <a:pt x="7144" y="278301"/>
                  </a:cubicBezTo>
                  <a:cubicBezTo>
                    <a:pt x="7144" y="282616"/>
                    <a:pt x="9087" y="286541"/>
                    <a:pt x="12135" y="289217"/>
                  </a:cubicBezTo>
                  <a:lnTo>
                    <a:pt x="12106" y="289246"/>
                  </a:lnTo>
                  <a:cubicBezTo>
                    <a:pt x="52321" y="324612"/>
                    <a:pt x="104032" y="344091"/>
                    <a:pt x="157724" y="344091"/>
                  </a:cubicBezTo>
                  <a:cubicBezTo>
                    <a:pt x="210855" y="344100"/>
                    <a:pt x="262080" y="325012"/>
                    <a:pt x="302114" y="290341"/>
                  </a:cubicBezTo>
                  <a:close/>
                  <a:moveTo>
                    <a:pt x="293799" y="278711"/>
                  </a:moveTo>
                  <a:lnTo>
                    <a:pt x="293799" y="278711"/>
                  </a:lnTo>
                  <a:lnTo>
                    <a:pt x="293799" y="278711"/>
                  </a:lnTo>
                  <a:lnTo>
                    <a:pt x="293799" y="278711"/>
                  </a:lnTo>
                  <a:close/>
                  <a:moveTo>
                    <a:pt x="95069" y="98412"/>
                  </a:moveTo>
                  <a:cubicBezTo>
                    <a:pt x="95069" y="63846"/>
                    <a:pt x="123196" y="35719"/>
                    <a:pt x="157763" y="35719"/>
                  </a:cubicBezTo>
                  <a:cubicBezTo>
                    <a:pt x="192329" y="35719"/>
                    <a:pt x="220447" y="63846"/>
                    <a:pt x="220447" y="98412"/>
                  </a:cubicBezTo>
                  <a:cubicBezTo>
                    <a:pt x="220447" y="132979"/>
                    <a:pt x="192329" y="161106"/>
                    <a:pt x="157763" y="161106"/>
                  </a:cubicBezTo>
                  <a:cubicBezTo>
                    <a:pt x="123196" y="161106"/>
                    <a:pt x="95069" y="132979"/>
                    <a:pt x="95069" y="98412"/>
                  </a:cubicBezTo>
                  <a:close/>
                  <a:moveTo>
                    <a:pt x="36385" y="268957"/>
                  </a:moveTo>
                  <a:cubicBezTo>
                    <a:pt x="49178" y="231677"/>
                    <a:pt x="84677" y="215484"/>
                    <a:pt x="124263" y="215484"/>
                  </a:cubicBezTo>
                  <a:lnTo>
                    <a:pt x="190614" y="215484"/>
                  </a:lnTo>
                  <a:cubicBezTo>
                    <a:pt x="230362" y="215484"/>
                    <a:pt x="265957" y="231762"/>
                    <a:pt x="278730" y="269177"/>
                  </a:cubicBezTo>
                  <a:lnTo>
                    <a:pt x="270881" y="278692"/>
                  </a:lnTo>
                  <a:cubicBezTo>
                    <a:pt x="270872" y="278692"/>
                    <a:pt x="270872" y="278702"/>
                    <a:pt x="270862" y="278702"/>
                  </a:cubicBezTo>
                  <a:cubicBezTo>
                    <a:pt x="238173" y="302543"/>
                    <a:pt x="198596" y="315516"/>
                    <a:pt x="157715" y="315516"/>
                  </a:cubicBezTo>
                  <a:cubicBezTo>
                    <a:pt x="116738" y="315516"/>
                    <a:pt x="77124" y="302438"/>
                    <a:pt x="44387" y="278473"/>
                  </a:cubicBezTo>
                  <a:lnTo>
                    <a:pt x="36385" y="268957"/>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10" name="Freeform: Shape 9">
              <a:extLst>
                <a:ext uri="{FF2B5EF4-FFF2-40B4-BE49-F238E27FC236}">
                  <a16:creationId xmlns:a16="http://schemas.microsoft.com/office/drawing/2014/main" id="{D9BA5AA9-9D49-4EAE-A12D-54AE744285C7}"/>
                </a:ext>
              </a:extLst>
            </p:cNvPr>
            <p:cNvSpPr/>
            <p:nvPr/>
          </p:nvSpPr>
          <p:spPr>
            <a:xfrm>
              <a:off x="5132678" y="6014783"/>
              <a:ext cx="314325" cy="342900"/>
            </a:xfrm>
            <a:custGeom>
              <a:avLst/>
              <a:gdLst/>
              <a:ahLst/>
              <a:cxnLst/>
              <a:rect l="0" t="0" r="0" b="0"/>
              <a:pathLst>
                <a:path w="314325" h="342900">
                  <a:moveTo>
                    <a:pt x="7725" y="274491"/>
                  </a:moveTo>
                  <a:cubicBezTo>
                    <a:pt x="7382" y="275711"/>
                    <a:pt x="7144" y="276968"/>
                    <a:pt x="7144" y="278301"/>
                  </a:cubicBezTo>
                  <a:cubicBezTo>
                    <a:pt x="7144" y="281521"/>
                    <a:pt x="8230" y="284521"/>
                    <a:pt x="10049" y="286950"/>
                  </a:cubicBezTo>
                  <a:cubicBezTo>
                    <a:pt x="10668" y="287779"/>
                    <a:pt x="11363" y="288541"/>
                    <a:pt x="12135" y="289217"/>
                  </a:cubicBezTo>
                  <a:lnTo>
                    <a:pt x="12106" y="289246"/>
                  </a:lnTo>
                  <a:cubicBezTo>
                    <a:pt x="52321" y="324612"/>
                    <a:pt x="104032" y="344091"/>
                    <a:pt x="157725" y="344091"/>
                  </a:cubicBezTo>
                  <a:cubicBezTo>
                    <a:pt x="210845" y="344091"/>
                    <a:pt x="262061" y="325012"/>
                    <a:pt x="302095" y="290351"/>
                  </a:cubicBezTo>
                  <a:cubicBezTo>
                    <a:pt x="305686" y="287760"/>
                    <a:pt x="308019" y="283521"/>
                    <a:pt x="308019" y="278740"/>
                  </a:cubicBezTo>
                  <a:cubicBezTo>
                    <a:pt x="308019" y="277349"/>
                    <a:pt x="307753" y="276025"/>
                    <a:pt x="307381" y="274758"/>
                  </a:cubicBezTo>
                  <a:lnTo>
                    <a:pt x="307515" y="274720"/>
                  </a:lnTo>
                  <a:cubicBezTo>
                    <a:pt x="292475" y="223018"/>
                    <a:pt x="244402" y="186909"/>
                    <a:pt x="190614" y="186909"/>
                  </a:cubicBezTo>
                  <a:lnTo>
                    <a:pt x="179670" y="186909"/>
                  </a:lnTo>
                  <a:cubicBezTo>
                    <a:pt x="219418" y="177051"/>
                    <a:pt x="249022" y="141170"/>
                    <a:pt x="249022" y="98412"/>
                  </a:cubicBezTo>
                  <a:cubicBezTo>
                    <a:pt x="249022" y="48092"/>
                    <a:pt x="208083" y="7144"/>
                    <a:pt x="157753" y="7144"/>
                  </a:cubicBezTo>
                  <a:cubicBezTo>
                    <a:pt x="107423" y="7144"/>
                    <a:pt x="66484" y="48082"/>
                    <a:pt x="66484" y="98412"/>
                  </a:cubicBezTo>
                  <a:cubicBezTo>
                    <a:pt x="66484" y="141170"/>
                    <a:pt x="96079" y="177051"/>
                    <a:pt x="135836" y="186909"/>
                  </a:cubicBezTo>
                  <a:lnTo>
                    <a:pt x="124254" y="186909"/>
                  </a:lnTo>
                  <a:cubicBezTo>
                    <a:pt x="72295" y="186909"/>
                    <a:pt x="25727" y="220780"/>
                    <a:pt x="9182" y="269786"/>
                  </a:cubicBezTo>
                  <a:cubicBezTo>
                    <a:pt x="8658" y="271339"/>
                    <a:pt x="8068" y="272863"/>
                    <a:pt x="7601" y="274453"/>
                  </a:cubicBezTo>
                  <a:lnTo>
                    <a:pt x="7725" y="274491"/>
                  </a:lnTo>
                  <a:close/>
                  <a:moveTo>
                    <a:pt x="293799" y="278711"/>
                  </a:moveTo>
                  <a:cubicBezTo>
                    <a:pt x="293799" y="278711"/>
                    <a:pt x="293799" y="278711"/>
                    <a:pt x="293799" y="278711"/>
                  </a:cubicBezTo>
                  <a:lnTo>
                    <a:pt x="293799" y="278711"/>
                  </a:lnTo>
                  <a:lnTo>
                    <a:pt x="293799" y="278711"/>
                  </a:lnTo>
                  <a:close/>
                  <a:moveTo>
                    <a:pt x="95059" y="98412"/>
                  </a:moveTo>
                  <a:cubicBezTo>
                    <a:pt x="95059" y="63846"/>
                    <a:pt x="123187" y="35719"/>
                    <a:pt x="157753" y="35719"/>
                  </a:cubicBezTo>
                  <a:cubicBezTo>
                    <a:pt x="192319" y="35719"/>
                    <a:pt x="220447" y="63846"/>
                    <a:pt x="220447" y="98412"/>
                  </a:cubicBezTo>
                  <a:cubicBezTo>
                    <a:pt x="220447" y="132979"/>
                    <a:pt x="192319" y="161106"/>
                    <a:pt x="157753" y="161106"/>
                  </a:cubicBezTo>
                  <a:cubicBezTo>
                    <a:pt x="123187" y="161106"/>
                    <a:pt x="95059" y="132979"/>
                    <a:pt x="95059" y="98412"/>
                  </a:cubicBezTo>
                  <a:close/>
                  <a:moveTo>
                    <a:pt x="124254" y="215484"/>
                  </a:moveTo>
                  <a:lnTo>
                    <a:pt x="190614" y="215484"/>
                  </a:lnTo>
                  <a:cubicBezTo>
                    <a:pt x="230362" y="215484"/>
                    <a:pt x="265957" y="231762"/>
                    <a:pt x="278730" y="269177"/>
                  </a:cubicBezTo>
                  <a:lnTo>
                    <a:pt x="270881" y="278692"/>
                  </a:lnTo>
                  <a:cubicBezTo>
                    <a:pt x="270872" y="278692"/>
                    <a:pt x="270872" y="278702"/>
                    <a:pt x="270862" y="278702"/>
                  </a:cubicBezTo>
                  <a:cubicBezTo>
                    <a:pt x="238173" y="302543"/>
                    <a:pt x="198596" y="315516"/>
                    <a:pt x="157725" y="315516"/>
                  </a:cubicBezTo>
                  <a:cubicBezTo>
                    <a:pt x="116748" y="315516"/>
                    <a:pt x="77124" y="302438"/>
                    <a:pt x="44387" y="278473"/>
                  </a:cubicBezTo>
                  <a:lnTo>
                    <a:pt x="36376" y="268938"/>
                  </a:lnTo>
                  <a:cubicBezTo>
                    <a:pt x="49168" y="231677"/>
                    <a:pt x="84668" y="215484"/>
                    <a:pt x="124254" y="215484"/>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11" name="Freeform: Shape 10">
              <a:extLst>
                <a:ext uri="{FF2B5EF4-FFF2-40B4-BE49-F238E27FC236}">
                  <a16:creationId xmlns:a16="http://schemas.microsoft.com/office/drawing/2014/main" id="{C1FD4F7D-819A-40E3-B8A7-6DAFD38437F6}"/>
                </a:ext>
              </a:extLst>
            </p:cNvPr>
            <p:cNvSpPr/>
            <p:nvPr/>
          </p:nvSpPr>
          <p:spPr>
            <a:xfrm>
              <a:off x="4873951" y="6351120"/>
              <a:ext cx="314325" cy="342900"/>
            </a:xfrm>
            <a:custGeom>
              <a:avLst/>
              <a:gdLst/>
              <a:ahLst/>
              <a:cxnLst/>
              <a:rect l="0" t="0" r="0" b="0"/>
              <a:pathLst>
                <a:path w="314325" h="342900">
                  <a:moveTo>
                    <a:pt x="129388" y="11716"/>
                  </a:moveTo>
                  <a:cubicBezTo>
                    <a:pt x="92926" y="23679"/>
                    <a:pt x="66494" y="57998"/>
                    <a:pt x="66494" y="98412"/>
                  </a:cubicBezTo>
                  <a:cubicBezTo>
                    <a:pt x="66494" y="141170"/>
                    <a:pt x="96098" y="177060"/>
                    <a:pt x="135855" y="186909"/>
                  </a:cubicBezTo>
                  <a:lnTo>
                    <a:pt x="124263" y="186909"/>
                  </a:lnTo>
                  <a:cubicBezTo>
                    <a:pt x="70656" y="186909"/>
                    <a:pt x="22689" y="222904"/>
                    <a:pt x="7610" y="274453"/>
                  </a:cubicBezTo>
                  <a:lnTo>
                    <a:pt x="7725" y="274491"/>
                  </a:lnTo>
                  <a:cubicBezTo>
                    <a:pt x="7382" y="275711"/>
                    <a:pt x="7144" y="276968"/>
                    <a:pt x="7144" y="278301"/>
                  </a:cubicBezTo>
                  <a:cubicBezTo>
                    <a:pt x="7144" y="282616"/>
                    <a:pt x="9087" y="286541"/>
                    <a:pt x="12135" y="289217"/>
                  </a:cubicBezTo>
                  <a:lnTo>
                    <a:pt x="12106" y="289246"/>
                  </a:lnTo>
                  <a:cubicBezTo>
                    <a:pt x="52311" y="324622"/>
                    <a:pt x="104023" y="344100"/>
                    <a:pt x="157724" y="344100"/>
                  </a:cubicBezTo>
                  <a:cubicBezTo>
                    <a:pt x="210864" y="344100"/>
                    <a:pt x="262090" y="325022"/>
                    <a:pt x="302114" y="290341"/>
                  </a:cubicBezTo>
                  <a:cubicBezTo>
                    <a:pt x="305695" y="287750"/>
                    <a:pt x="308019" y="283521"/>
                    <a:pt x="308019" y="278740"/>
                  </a:cubicBezTo>
                  <a:cubicBezTo>
                    <a:pt x="308019" y="277349"/>
                    <a:pt x="307753" y="276035"/>
                    <a:pt x="307381" y="274758"/>
                  </a:cubicBezTo>
                  <a:lnTo>
                    <a:pt x="307515" y="274720"/>
                  </a:lnTo>
                  <a:cubicBezTo>
                    <a:pt x="292475" y="223018"/>
                    <a:pt x="244402" y="186909"/>
                    <a:pt x="190605" y="186909"/>
                  </a:cubicBezTo>
                  <a:lnTo>
                    <a:pt x="179651" y="186909"/>
                  </a:lnTo>
                  <a:cubicBezTo>
                    <a:pt x="219408" y="177060"/>
                    <a:pt x="249012" y="141180"/>
                    <a:pt x="249012" y="98412"/>
                  </a:cubicBezTo>
                  <a:cubicBezTo>
                    <a:pt x="249012" y="59293"/>
                    <a:pt x="224228" y="25937"/>
                    <a:pt x="189567" y="12983"/>
                  </a:cubicBezTo>
                  <a:cubicBezTo>
                    <a:pt x="179641" y="9268"/>
                    <a:pt x="168954" y="7144"/>
                    <a:pt x="157744" y="7144"/>
                  </a:cubicBezTo>
                  <a:cubicBezTo>
                    <a:pt x="147847" y="7144"/>
                    <a:pt x="138332" y="8782"/>
                    <a:pt x="129388" y="11716"/>
                  </a:cubicBezTo>
                  <a:close/>
                  <a:moveTo>
                    <a:pt x="21326" y="278454"/>
                  </a:moveTo>
                  <a:cubicBezTo>
                    <a:pt x="21326" y="278454"/>
                    <a:pt x="21326" y="278454"/>
                    <a:pt x="21326" y="278454"/>
                  </a:cubicBezTo>
                  <a:lnTo>
                    <a:pt x="21326" y="278454"/>
                  </a:lnTo>
                  <a:lnTo>
                    <a:pt x="21326" y="278454"/>
                  </a:lnTo>
                  <a:close/>
                  <a:moveTo>
                    <a:pt x="190614" y="215475"/>
                  </a:moveTo>
                  <a:cubicBezTo>
                    <a:pt x="230372" y="215475"/>
                    <a:pt x="265967" y="231753"/>
                    <a:pt x="278740" y="269167"/>
                  </a:cubicBezTo>
                  <a:lnTo>
                    <a:pt x="270891" y="278682"/>
                  </a:lnTo>
                  <a:cubicBezTo>
                    <a:pt x="270881" y="278682"/>
                    <a:pt x="270881" y="278692"/>
                    <a:pt x="270872" y="278692"/>
                  </a:cubicBezTo>
                  <a:cubicBezTo>
                    <a:pt x="238182" y="302533"/>
                    <a:pt x="198615" y="315506"/>
                    <a:pt x="157734" y="315506"/>
                  </a:cubicBezTo>
                  <a:cubicBezTo>
                    <a:pt x="116757" y="315506"/>
                    <a:pt x="77133" y="302428"/>
                    <a:pt x="44406" y="278473"/>
                  </a:cubicBezTo>
                  <a:lnTo>
                    <a:pt x="36395" y="268938"/>
                  </a:lnTo>
                  <a:cubicBezTo>
                    <a:pt x="49187" y="231667"/>
                    <a:pt x="84687" y="215475"/>
                    <a:pt x="124273" y="215475"/>
                  </a:cubicBezTo>
                  <a:lnTo>
                    <a:pt x="190614" y="215475"/>
                  </a:lnTo>
                  <a:close/>
                  <a:moveTo>
                    <a:pt x="220447" y="98412"/>
                  </a:moveTo>
                  <a:cubicBezTo>
                    <a:pt x="220447" y="132979"/>
                    <a:pt x="192319" y="161096"/>
                    <a:pt x="157753" y="161096"/>
                  </a:cubicBezTo>
                  <a:cubicBezTo>
                    <a:pt x="123187" y="161096"/>
                    <a:pt x="95059" y="132979"/>
                    <a:pt x="95059" y="98412"/>
                  </a:cubicBezTo>
                  <a:cubicBezTo>
                    <a:pt x="95059" y="63846"/>
                    <a:pt x="123187" y="35719"/>
                    <a:pt x="157753" y="35719"/>
                  </a:cubicBezTo>
                  <a:cubicBezTo>
                    <a:pt x="192319" y="35719"/>
                    <a:pt x="220447" y="63846"/>
                    <a:pt x="220447" y="98412"/>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123" name="Group 122">
            <a:extLst>
              <a:ext uri="{FF2B5EF4-FFF2-40B4-BE49-F238E27FC236}">
                <a16:creationId xmlns:a16="http://schemas.microsoft.com/office/drawing/2014/main" id="{B62B586F-A220-4E59-A6D8-4A44CFCBB687}"/>
              </a:ext>
            </a:extLst>
          </p:cNvPr>
          <p:cNvGrpSpPr/>
          <p:nvPr/>
        </p:nvGrpSpPr>
        <p:grpSpPr>
          <a:xfrm>
            <a:off x="2993140" y="3159277"/>
            <a:ext cx="202338" cy="270754"/>
            <a:chOff x="3788748" y="5135067"/>
            <a:chExt cx="381276" cy="510194"/>
          </a:xfrm>
          <a:solidFill>
            <a:schemeClr val="accent1"/>
          </a:solidFill>
        </p:grpSpPr>
        <p:sp>
          <p:nvSpPr>
            <p:cNvPr id="124" name="Freeform 62">
              <a:extLst>
                <a:ext uri="{FF2B5EF4-FFF2-40B4-BE49-F238E27FC236}">
                  <a16:creationId xmlns:a16="http://schemas.microsoft.com/office/drawing/2014/main" id="{3D6D7B89-D7C1-4CCC-A39F-59D4259400B1}"/>
                </a:ext>
              </a:extLst>
            </p:cNvPr>
            <p:cNvSpPr>
              <a:spLocks noEditPoints="1"/>
            </p:cNvSpPr>
            <p:nvPr/>
          </p:nvSpPr>
          <p:spPr bwMode="auto">
            <a:xfrm>
              <a:off x="3788748" y="5135067"/>
              <a:ext cx="381276" cy="510194"/>
            </a:xfrm>
            <a:custGeom>
              <a:avLst/>
              <a:gdLst>
                <a:gd name="T0" fmla="*/ 30 w 619"/>
                <a:gd name="T1" fmla="*/ 826 h 829"/>
                <a:gd name="T2" fmla="*/ 15 w 619"/>
                <a:gd name="T3" fmla="*/ 804 h 829"/>
                <a:gd name="T4" fmla="*/ 102 w 619"/>
                <a:gd name="T5" fmla="*/ 598 h 829"/>
                <a:gd name="T6" fmla="*/ 9 w 619"/>
                <a:gd name="T7" fmla="*/ 294 h 829"/>
                <a:gd name="T8" fmla="*/ 90 w 619"/>
                <a:gd name="T9" fmla="*/ 83 h 829"/>
                <a:gd name="T10" fmla="*/ 538 w 619"/>
                <a:gd name="T11" fmla="*/ 159 h 829"/>
                <a:gd name="T12" fmla="*/ 572 w 619"/>
                <a:gd name="T13" fmla="*/ 259 h 829"/>
                <a:gd name="T14" fmla="*/ 559 w 619"/>
                <a:gd name="T15" fmla="*/ 311 h 829"/>
                <a:gd name="T16" fmla="*/ 585 w 619"/>
                <a:gd name="T17" fmla="*/ 368 h 829"/>
                <a:gd name="T18" fmla="*/ 575 w 619"/>
                <a:gd name="T19" fmla="*/ 466 h 829"/>
                <a:gd name="T20" fmla="*/ 565 w 619"/>
                <a:gd name="T21" fmla="*/ 483 h 829"/>
                <a:gd name="T22" fmla="*/ 563 w 619"/>
                <a:gd name="T23" fmla="*/ 515 h 829"/>
                <a:gd name="T24" fmla="*/ 546 w 619"/>
                <a:gd name="T25" fmla="*/ 542 h 829"/>
                <a:gd name="T26" fmla="*/ 539 w 619"/>
                <a:gd name="T27" fmla="*/ 566 h 829"/>
                <a:gd name="T28" fmla="*/ 516 w 619"/>
                <a:gd name="T29" fmla="*/ 644 h 829"/>
                <a:gd name="T30" fmla="*/ 395 w 619"/>
                <a:gd name="T31" fmla="*/ 647 h 829"/>
                <a:gd name="T32" fmla="*/ 431 w 619"/>
                <a:gd name="T33" fmla="*/ 816 h 829"/>
                <a:gd name="T34" fmla="*/ 274 w 619"/>
                <a:gd name="T35" fmla="*/ 827 h 829"/>
                <a:gd name="T36" fmla="*/ 56 w 619"/>
                <a:gd name="T37" fmla="*/ 794 h 829"/>
                <a:gd name="T38" fmla="*/ 382 w 619"/>
                <a:gd name="T39" fmla="*/ 792 h 829"/>
                <a:gd name="T40" fmla="*/ 439 w 619"/>
                <a:gd name="T41" fmla="*/ 613 h 829"/>
                <a:gd name="T42" fmla="*/ 515 w 619"/>
                <a:gd name="T43" fmla="*/ 605 h 829"/>
                <a:gd name="T44" fmla="*/ 501 w 619"/>
                <a:gd name="T45" fmla="*/ 543 h 829"/>
                <a:gd name="T46" fmla="*/ 524 w 619"/>
                <a:gd name="T47" fmla="*/ 509 h 829"/>
                <a:gd name="T48" fmla="*/ 533 w 619"/>
                <a:gd name="T49" fmla="*/ 491 h 829"/>
                <a:gd name="T50" fmla="*/ 568 w 619"/>
                <a:gd name="T51" fmla="*/ 433 h 829"/>
                <a:gd name="T52" fmla="*/ 557 w 619"/>
                <a:gd name="T53" fmla="*/ 387 h 829"/>
                <a:gd name="T54" fmla="*/ 533 w 619"/>
                <a:gd name="T55" fmla="*/ 290 h 829"/>
                <a:gd name="T56" fmla="*/ 518 w 619"/>
                <a:gd name="T57" fmla="*/ 210 h 829"/>
                <a:gd name="T58" fmla="*/ 277 w 619"/>
                <a:gd name="T59" fmla="*/ 34 h 829"/>
                <a:gd name="T60" fmla="*/ 274 w 619"/>
                <a:gd name="T61" fmla="*/ 34 h 829"/>
                <a:gd name="T62" fmla="*/ 113 w 619"/>
                <a:gd name="T63" fmla="*/ 108 h 829"/>
                <a:gd name="T64" fmla="*/ 98 w 619"/>
                <a:gd name="T65" fmla="*/ 470 h 829"/>
                <a:gd name="T66" fmla="*/ 81 w 619"/>
                <a:gd name="T67" fmla="*/ 74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9" h="829">
                  <a:moveTo>
                    <a:pt x="135" y="829"/>
                  </a:moveTo>
                  <a:cubicBezTo>
                    <a:pt x="94" y="829"/>
                    <a:pt x="57" y="828"/>
                    <a:pt x="30" y="826"/>
                  </a:cubicBezTo>
                  <a:cubicBezTo>
                    <a:pt x="25" y="825"/>
                    <a:pt x="20" y="823"/>
                    <a:pt x="17" y="818"/>
                  </a:cubicBezTo>
                  <a:cubicBezTo>
                    <a:pt x="15" y="814"/>
                    <a:pt x="14" y="809"/>
                    <a:pt x="15" y="804"/>
                  </a:cubicBezTo>
                  <a:cubicBezTo>
                    <a:pt x="24" y="779"/>
                    <a:pt x="38" y="755"/>
                    <a:pt x="53" y="731"/>
                  </a:cubicBezTo>
                  <a:cubicBezTo>
                    <a:pt x="77" y="690"/>
                    <a:pt x="102" y="648"/>
                    <a:pt x="102" y="598"/>
                  </a:cubicBezTo>
                  <a:cubicBezTo>
                    <a:pt x="101" y="561"/>
                    <a:pt x="85" y="525"/>
                    <a:pt x="67" y="484"/>
                  </a:cubicBezTo>
                  <a:cubicBezTo>
                    <a:pt x="45" y="433"/>
                    <a:pt x="19" y="375"/>
                    <a:pt x="9" y="294"/>
                  </a:cubicBezTo>
                  <a:cubicBezTo>
                    <a:pt x="0" y="219"/>
                    <a:pt x="30" y="142"/>
                    <a:pt x="90" y="83"/>
                  </a:cubicBezTo>
                  <a:cubicBezTo>
                    <a:pt x="90" y="83"/>
                    <a:pt x="90" y="83"/>
                    <a:pt x="90" y="83"/>
                  </a:cubicBezTo>
                  <a:cubicBezTo>
                    <a:pt x="143" y="30"/>
                    <a:pt x="213" y="0"/>
                    <a:pt x="277" y="0"/>
                  </a:cubicBezTo>
                  <a:cubicBezTo>
                    <a:pt x="414" y="2"/>
                    <a:pt x="514" y="84"/>
                    <a:pt x="538" y="159"/>
                  </a:cubicBezTo>
                  <a:cubicBezTo>
                    <a:pt x="548" y="190"/>
                    <a:pt x="550" y="198"/>
                    <a:pt x="551" y="203"/>
                  </a:cubicBezTo>
                  <a:cubicBezTo>
                    <a:pt x="552" y="207"/>
                    <a:pt x="552" y="208"/>
                    <a:pt x="572" y="259"/>
                  </a:cubicBezTo>
                  <a:cubicBezTo>
                    <a:pt x="572" y="261"/>
                    <a:pt x="573" y="262"/>
                    <a:pt x="573" y="263"/>
                  </a:cubicBezTo>
                  <a:cubicBezTo>
                    <a:pt x="576" y="290"/>
                    <a:pt x="566" y="302"/>
                    <a:pt x="559" y="311"/>
                  </a:cubicBezTo>
                  <a:cubicBezTo>
                    <a:pt x="555" y="316"/>
                    <a:pt x="555" y="316"/>
                    <a:pt x="556" y="321"/>
                  </a:cubicBezTo>
                  <a:cubicBezTo>
                    <a:pt x="559" y="331"/>
                    <a:pt x="573" y="351"/>
                    <a:pt x="585" y="368"/>
                  </a:cubicBezTo>
                  <a:cubicBezTo>
                    <a:pt x="604" y="396"/>
                    <a:pt x="616" y="414"/>
                    <a:pt x="617" y="429"/>
                  </a:cubicBezTo>
                  <a:cubicBezTo>
                    <a:pt x="619" y="457"/>
                    <a:pt x="590" y="463"/>
                    <a:pt x="575" y="466"/>
                  </a:cubicBezTo>
                  <a:cubicBezTo>
                    <a:pt x="571" y="467"/>
                    <a:pt x="566" y="468"/>
                    <a:pt x="563" y="469"/>
                  </a:cubicBezTo>
                  <a:cubicBezTo>
                    <a:pt x="563" y="472"/>
                    <a:pt x="564" y="479"/>
                    <a:pt x="565" y="483"/>
                  </a:cubicBezTo>
                  <a:cubicBezTo>
                    <a:pt x="567" y="490"/>
                    <a:pt x="568" y="497"/>
                    <a:pt x="567" y="504"/>
                  </a:cubicBezTo>
                  <a:cubicBezTo>
                    <a:pt x="567" y="509"/>
                    <a:pt x="565" y="512"/>
                    <a:pt x="563" y="515"/>
                  </a:cubicBezTo>
                  <a:cubicBezTo>
                    <a:pt x="563" y="519"/>
                    <a:pt x="564" y="525"/>
                    <a:pt x="559" y="531"/>
                  </a:cubicBezTo>
                  <a:cubicBezTo>
                    <a:pt x="556" y="537"/>
                    <a:pt x="551" y="540"/>
                    <a:pt x="546" y="542"/>
                  </a:cubicBezTo>
                  <a:cubicBezTo>
                    <a:pt x="539" y="546"/>
                    <a:pt x="535" y="548"/>
                    <a:pt x="533" y="553"/>
                  </a:cubicBezTo>
                  <a:cubicBezTo>
                    <a:pt x="534" y="556"/>
                    <a:pt x="537" y="562"/>
                    <a:pt x="539" y="566"/>
                  </a:cubicBezTo>
                  <a:cubicBezTo>
                    <a:pt x="545" y="580"/>
                    <a:pt x="554" y="599"/>
                    <a:pt x="546" y="618"/>
                  </a:cubicBezTo>
                  <a:cubicBezTo>
                    <a:pt x="541" y="630"/>
                    <a:pt x="531" y="638"/>
                    <a:pt x="516" y="644"/>
                  </a:cubicBezTo>
                  <a:cubicBezTo>
                    <a:pt x="488" y="654"/>
                    <a:pt x="458" y="650"/>
                    <a:pt x="434" y="647"/>
                  </a:cubicBezTo>
                  <a:cubicBezTo>
                    <a:pt x="419" y="644"/>
                    <a:pt x="398" y="641"/>
                    <a:pt x="395" y="647"/>
                  </a:cubicBezTo>
                  <a:cubicBezTo>
                    <a:pt x="384" y="669"/>
                    <a:pt x="360" y="714"/>
                    <a:pt x="429" y="799"/>
                  </a:cubicBezTo>
                  <a:cubicBezTo>
                    <a:pt x="433" y="804"/>
                    <a:pt x="434" y="811"/>
                    <a:pt x="431" y="816"/>
                  </a:cubicBezTo>
                  <a:cubicBezTo>
                    <a:pt x="428" y="822"/>
                    <a:pt x="422" y="826"/>
                    <a:pt x="415" y="826"/>
                  </a:cubicBezTo>
                  <a:cubicBezTo>
                    <a:pt x="378" y="825"/>
                    <a:pt x="328" y="826"/>
                    <a:pt x="274" y="827"/>
                  </a:cubicBezTo>
                  <a:cubicBezTo>
                    <a:pt x="227" y="828"/>
                    <a:pt x="178" y="829"/>
                    <a:pt x="135" y="829"/>
                  </a:cubicBezTo>
                  <a:close/>
                  <a:moveTo>
                    <a:pt x="56" y="794"/>
                  </a:moveTo>
                  <a:cubicBezTo>
                    <a:pt x="112" y="796"/>
                    <a:pt x="197" y="795"/>
                    <a:pt x="274" y="794"/>
                  </a:cubicBezTo>
                  <a:cubicBezTo>
                    <a:pt x="313" y="793"/>
                    <a:pt x="350" y="792"/>
                    <a:pt x="382" y="792"/>
                  </a:cubicBezTo>
                  <a:cubicBezTo>
                    <a:pt x="332" y="716"/>
                    <a:pt x="348" y="665"/>
                    <a:pt x="365" y="631"/>
                  </a:cubicBezTo>
                  <a:cubicBezTo>
                    <a:pt x="379" y="605"/>
                    <a:pt x="411" y="609"/>
                    <a:pt x="439" y="613"/>
                  </a:cubicBezTo>
                  <a:cubicBezTo>
                    <a:pt x="460" y="617"/>
                    <a:pt x="485" y="620"/>
                    <a:pt x="504" y="613"/>
                  </a:cubicBezTo>
                  <a:cubicBezTo>
                    <a:pt x="510" y="610"/>
                    <a:pt x="514" y="608"/>
                    <a:pt x="515" y="605"/>
                  </a:cubicBezTo>
                  <a:cubicBezTo>
                    <a:pt x="517" y="600"/>
                    <a:pt x="512" y="588"/>
                    <a:pt x="508" y="580"/>
                  </a:cubicBezTo>
                  <a:cubicBezTo>
                    <a:pt x="503" y="568"/>
                    <a:pt x="497" y="555"/>
                    <a:pt x="501" y="543"/>
                  </a:cubicBezTo>
                  <a:cubicBezTo>
                    <a:pt x="506" y="529"/>
                    <a:pt x="516" y="521"/>
                    <a:pt x="524" y="517"/>
                  </a:cubicBezTo>
                  <a:cubicBezTo>
                    <a:pt x="523" y="513"/>
                    <a:pt x="524" y="511"/>
                    <a:pt x="524" y="509"/>
                  </a:cubicBezTo>
                  <a:cubicBezTo>
                    <a:pt x="526" y="502"/>
                    <a:pt x="531" y="498"/>
                    <a:pt x="534" y="496"/>
                  </a:cubicBezTo>
                  <a:cubicBezTo>
                    <a:pt x="533" y="495"/>
                    <a:pt x="533" y="493"/>
                    <a:pt x="533" y="491"/>
                  </a:cubicBezTo>
                  <a:cubicBezTo>
                    <a:pt x="530" y="479"/>
                    <a:pt x="526" y="462"/>
                    <a:pt x="535" y="449"/>
                  </a:cubicBezTo>
                  <a:cubicBezTo>
                    <a:pt x="542" y="439"/>
                    <a:pt x="555" y="436"/>
                    <a:pt x="568" y="433"/>
                  </a:cubicBezTo>
                  <a:cubicBezTo>
                    <a:pt x="572" y="432"/>
                    <a:pt x="580" y="431"/>
                    <a:pt x="583" y="429"/>
                  </a:cubicBezTo>
                  <a:cubicBezTo>
                    <a:pt x="581" y="420"/>
                    <a:pt x="566" y="400"/>
                    <a:pt x="557" y="387"/>
                  </a:cubicBezTo>
                  <a:cubicBezTo>
                    <a:pt x="542" y="366"/>
                    <a:pt x="528" y="346"/>
                    <a:pt x="524" y="330"/>
                  </a:cubicBezTo>
                  <a:cubicBezTo>
                    <a:pt x="518" y="308"/>
                    <a:pt x="527" y="297"/>
                    <a:pt x="533" y="290"/>
                  </a:cubicBezTo>
                  <a:cubicBezTo>
                    <a:pt x="538" y="284"/>
                    <a:pt x="541" y="280"/>
                    <a:pt x="540" y="269"/>
                  </a:cubicBezTo>
                  <a:cubicBezTo>
                    <a:pt x="520" y="218"/>
                    <a:pt x="520" y="217"/>
                    <a:pt x="518" y="210"/>
                  </a:cubicBezTo>
                  <a:cubicBezTo>
                    <a:pt x="517" y="206"/>
                    <a:pt x="516" y="199"/>
                    <a:pt x="506" y="169"/>
                  </a:cubicBezTo>
                  <a:cubicBezTo>
                    <a:pt x="485" y="104"/>
                    <a:pt x="394" y="36"/>
                    <a:pt x="277" y="34"/>
                  </a:cubicBezTo>
                  <a:cubicBezTo>
                    <a:pt x="277" y="34"/>
                    <a:pt x="277" y="34"/>
                    <a:pt x="277" y="34"/>
                  </a:cubicBezTo>
                  <a:cubicBezTo>
                    <a:pt x="276" y="34"/>
                    <a:pt x="275" y="34"/>
                    <a:pt x="274" y="34"/>
                  </a:cubicBezTo>
                  <a:cubicBezTo>
                    <a:pt x="220" y="34"/>
                    <a:pt x="160" y="61"/>
                    <a:pt x="114" y="107"/>
                  </a:cubicBezTo>
                  <a:cubicBezTo>
                    <a:pt x="113" y="107"/>
                    <a:pt x="113" y="107"/>
                    <a:pt x="113" y="108"/>
                  </a:cubicBezTo>
                  <a:cubicBezTo>
                    <a:pt x="60" y="159"/>
                    <a:pt x="35" y="226"/>
                    <a:pt x="43" y="290"/>
                  </a:cubicBezTo>
                  <a:cubicBezTo>
                    <a:pt x="52" y="366"/>
                    <a:pt x="76" y="421"/>
                    <a:pt x="98" y="470"/>
                  </a:cubicBezTo>
                  <a:cubicBezTo>
                    <a:pt x="118" y="515"/>
                    <a:pt x="135" y="554"/>
                    <a:pt x="135" y="598"/>
                  </a:cubicBezTo>
                  <a:cubicBezTo>
                    <a:pt x="136" y="658"/>
                    <a:pt x="107" y="706"/>
                    <a:pt x="81" y="748"/>
                  </a:cubicBezTo>
                  <a:cubicBezTo>
                    <a:pt x="72" y="764"/>
                    <a:pt x="63" y="779"/>
                    <a:pt x="56" y="794"/>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grpSp>
          <p:nvGrpSpPr>
            <p:cNvPr id="125" name="Group 124">
              <a:extLst>
                <a:ext uri="{FF2B5EF4-FFF2-40B4-BE49-F238E27FC236}">
                  <a16:creationId xmlns:a16="http://schemas.microsoft.com/office/drawing/2014/main" id="{6484007D-448E-4E35-90E2-A7799DCC965F}"/>
                </a:ext>
              </a:extLst>
            </p:cNvPr>
            <p:cNvGrpSpPr/>
            <p:nvPr/>
          </p:nvGrpSpPr>
          <p:grpSpPr>
            <a:xfrm>
              <a:off x="3889221" y="5174473"/>
              <a:ext cx="121873" cy="179808"/>
              <a:chOff x="3794725" y="5194838"/>
              <a:chExt cx="152161" cy="224494"/>
            </a:xfrm>
            <a:grpFill/>
          </p:grpSpPr>
          <p:sp>
            <p:nvSpPr>
              <p:cNvPr id="126" name="Freeform 194">
                <a:extLst>
                  <a:ext uri="{FF2B5EF4-FFF2-40B4-BE49-F238E27FC236}">
                    <a16:creationId xmlns:a16="http://schemas.microsoft.com/office/drawing/2014/main" id="{5A00072E-4EC1-4111-8BCF-5F1720D8E8D6}"/>
                  </a:ext>
                </a:extLst>
              </p:cNvPr>
              <p:cNvSpPr>
                <a:spLocks noEditPoints="1"/>
              </p:cNvSpPr>
              <p:nvPr/>
            </p:nvSpPr>
            <p:spPr bwMode="auto">
              <a:xfrm>
                <a:off x="3794725" y="5194838"/>
                <a:ext cx="152161" cy="175294"/>
              </a:xfrm>
              <a:custGeom>
                <a:avLst/>
                <a:gdLst>
                  <a:gd name="T0" fmla="*/ 108 w 198"/>
                  <a:gd name="T1" fmla="*/ 228 h 228"/>
                  <a:gd name="T2" fmla="*/ 60 w 198"/>
                  <a:gd name="T3" fmla="*/ 228 h 228"/>
                  <a:gd name="T4" fmla="*/ 40 w 198"/>
                  <a:gd name="T5" fmla="*/ 198 h 228"/>
                  <a:gd name="T6" fmla="*/ 40 w 198"/>
                  <a:gd name="T7" fmla="*/ 193 h 228"/>
                  <a:gd name="T8" fmla="*/ 37 w 198"/>
                  <a:gd name="T9" fmla="*/ 178 h 228"/>
                  <a:gd name="T10" fmla="*/ 32 w 198"/>
                  <a:gd name="T11" fmla="*/ 164 h 228"/>
                  <a:gd name="T12" fmla="*/ 20 w 198"/>
                  <a:gd name="T13" fmla="*/ 144 h 228"/>
                  <a:gd name="T14" fmla="*/ 1 w 198"/>
                  <a:gd name="T15" fmla="*/ 91 h 228"/>
                  <a:gd name="T16" fmla="*/ 29 w 198"/>
                  <a:gd name="T17" fmla="*/ 28 h 228"/>
                  <a:gd name="T18" fmla="*/ 99 w 198"/>
                  <a:gd name="T19" fmla="*/ 0 h 228"/>
                  <a:gd name="T20" fmla="*/ 102 w 198"/>
                  <a:gd name="T21" fmla="*/ 0 h 228"/>
                  <a:gd name="T22" fmla="*/ 197 w 198"/>
                  <a:gd name="T23" fmla="*/ 95 h 228"/>
                  <a:gd name="T24" fmla="*/ 180 w 198"/>
                  <a:gd name="T25" fmla="*/ 141 h 228"/>
                  <a:gd name="T26" fmla="*/ 175 w 198"/>
                  <a:gd name="T27" fmla="*/ 147 h 228"/>
                  <a:gd name="T28" fmla="*/ 164 w 198"/>
                  <a:gd name="T29" fmla="*/ 166 h 228"/>
                  <a:gd name="T30" fmla="*/ 155 w 198"/>
                  <a:gd name="T31" fmla="*/ 194 h 228"/>
                  <a:gd name="T32" fmla="*/ 155 w 198"/>
                  <a:gd name="T33" fmla="*/ 196 h 228"/>
                  <a:gd name="T34" fmla="*/ 139 w 198"/>
                  <a:gd name="T35" fmla="*/ 226 h 228"/>
                  <a:gd name="T36" fmla="*/ 134 w 198"/>
                  <a:gd name="T37" fmla="*/ 228 h 228"/>
                  <a:gd name="T38" fmla="*/ 108 w 198"/>
                  <a:gd name="T39" fmla="*/ 228 h 228"/>
                  <a:gd name="T40" fmla="*/ 134 w 198"/>
                  <a:gd name="T41" fmla="*/ 218 h 228"/>
                  <a:gd name="T42" fmla="*/ 134 w 198"/>
                  <a:gd name="T43" fmla="*/ 218 h 228"/>
                  <a:gd name="T44" fmla="*/ 61 w 198"/>
                  <a:gd name="T45" fmla="*/ 208 h 228"/>
                  <a:gd name="T46" fmla="*/ 130 w 198"/>
                  <a:gd name="T47" fmla="*/ 208 h 228"/>
                  <a:gd name="T48" fmla="*/ 136 w 198"/>
                  <a:gd name="T49" fmla="*/ 193 h 228"/>
                  <a:gd name="T50" fmla="*/ 136 w 198"/>
                  <a:gd name="T51" fmla="*/ 191 h 228"/>
                  <a:gd name="T52" fmla="*/ 146 w 198"/>
                  <a:gd name="T53" fmla="*/ 157 h 228"/>
                  <a:gd name="T54" fmla="*/ 159 w 198"/>
                  <a:gd name="T55" fmla="*/ 136 h 228"/>
                  <a:gd name="T56" fmla="*/ 163 w 198"/>
                  <a:gd name="T57" fmla="*/ 130 h 228"/>
                  <a:gd name="T58" fmla="*/ 178 w 198"/>
                  <a:gd name="T59" fmla="*/ 94 h 228"/>
                  <a:gd name="T60" fmla="*/ 100 w 198"/>
                  <a:gd name="T61" fmla="*/ 19 h 228"/>
                  <a:gd name="T62" fmla="*/ 99 w 198"/>
                  <a:gd name="T63" fmla="*/ 19 h 228"/>
                  <a:gd name="T64" fmla="*/ 99 w 198"/>
                  <a:gd name="T65" fmla="*/ 19 h 228"/>
                  <a:gd name="T66" fmla="*/ 42 w 198"/>
                  <a:gd name="T67" fmla="*/ 42 h 228"/>
                  <a:gd name="T68" fmla="*/ 20 w 198"/>
                  <a:gd name="T69" fmla="*/ 92 h 228"/>
                  <a:gd name="T70" fmla="*/ 37 w 198"/>
                  <a:gd name="T71" fmla="*/ 133 h 228"/>
                  <a:gd name="T72" fmla="*/ 49 w 198"/>
                  <a:gd name="T73" fmla="*/ 156 h 228"/>
                  <a:gd name="T74" fmla="*/ 56 w 198"/>
                  <a:gd name="T75" fmla="*/ 173 h 228"/>
                  <a:gd name="T76" fmla="*/ 59 w 198"/>
                  <a:gd name="T77" fmla="*/ 191 h 228"/>
                  <a:gd name="T78" fmla="*/ 59 w 198"/>
                  <a:gd name="T79" fmla="*/ 197 h 228"/>
                  <a:gd name="T80" fmla="*/ 61 w 198"/>
                  <a:gd name="T81" fmla="*/ 208 h 228"/>
                  <a:gd name="T82" fmla="*/ 45 w 198"/>
                  <a:gd name="T83" fmla="*/ 119 h 228"/>
                  <a:gd name="T84" fmla="*/ 36 w 198"/>
                  <a:gd name="T85" fmla="*/ 111 h 228"/>
                  <a:gd name="T86" fmla="*/ 76 w 198"/>
                  <a:gd name="T87" fmla="*/ 41 h 228"/>
                  <a:gd name="T88" fmla="*/ 87 w 198"/>
                  <a:gd name="T89" fmla="*/ 47 h 228"/>
                  <a:gd name="T90" fmla="*/ 81 w 198"/>
                  <a:gd name="T91" fmla="*/ 59 h 228"/>
                  <a:gd name="T92" fmla="*/ 54 w 198"/>
                  <a:gd name="T93" fmla="*/ 107 h 228"/>
                  <a:gd name="T94" fmla="*/ 47 w 198"/>
                  <a:gd name="T95" fmla="*/ 118 h 228"/>
                  <a:gd name="T96" fmla="*/ 45 w 198"/>
                  <a:gd name="T97" fmla="*/ 1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8" h="228">
                    <a:moveTo>
                      <a:pt x="108" y="228"/>
                    </a:moveTo>
                    <a:cubicBezTo>
                      <a:pt x="97" y="228"/>
                      <a:pt x="81" y="228"/>
                      <a:pt x="60" y="228"/>
                    </a:cubicBezTo>
                    <a:cubicBezTo>
                      <a:pt x="42" y="227"/>
                      <a:pt x="41" y="208"/>
                      <a:pt x="40" y="198"/>
                    </a:cubicBezTo>
                    <a:cubicBezTo>
                      <a:pt x="40" y="197"/>
                      <a:pt x="40" y="195"/>
                      <a:pt x="40" y="193"/>
                    </a:cubicBezTo>
                    <a:cubicBezTo>
                      <a:pt x="39" y="188"/>
                      <a:pt x="38" y="183"/>
                      <a:pt x="37" y="178"/>
                    </a:cubicBezTo>
                    <a:cubicBezTo>
                      <a:pt x="36" y="174"/>
                      <a:pt x="34" y="169"/>
                      <a:pt x="32" y="164"/>
                    </a:cubicBezTo>
                    <a:cubicBezTo>
                      <a:pt x="29" y="157"/>
                      <a:pt x="24" y="150"/>
                      <a:pt x="20" y="144"/>
                    </a:cubicBezTo>
                    <a:cubicBezTo>
                      <a:pt x="10" y="128"/>
                      <a:pt x="0" y="112"/>
                      <a:pt x="1" y="91"/>
                    </a:cubicBezTo>
                    <a:cubicBezTo>
                      <a:pt x="1" y="67"/>
                      <a:pt x="11" y="45"/>
                      <a:pt x="29" y="28"/>
                    </a:cubicBezTo>
                    <a:cubicBezTo>
                      <a:pt x="47" y="10"/>
                      <a:pt x="73" y="0"/>
                      <a:pt x="99" y="0"/>
                    </a:cubicBezTo>
                    <a:cubicBezTo>
                      <a:pt x="100" y="0"/>
                      <a:pt x="101" y="0"/>
                      <a:pt x="102" y="0"/>
                    </a:cubicBezTo>
                    <a:cubicBezTo>
                      <a:pt x="155" y="1"/>
                      <a:pt x="198" y="44"/>
                      <a:pt x="197" y="95"/>
                    </a:cubicBezTo>
                    <a:cubicBezTo>
                      <a:pt x="197" y="113"/>
                      <a:pt x="188" y="128"/>
                      <a:pt x="180" y="141"/>
                    </a:cubicBezTo>
                    <a:cubicBezTo>
                      <a:pt x="178" y="143"/>
                      <a:pt x="177" y="145"/>
                      <a:pt x="175" y="147"/>
                    </a:cubicBezTo>
                    <a:cubicBezTo>
                      <a:pt x="171" y="154"/>
                      <a:pt x="167" y="160"/>
                      <a:pt x="164" y="166"/>
                    </a:cubicBezTo>
                    <a:cubicBezTo>
                      <a:pt x="158" y="178"/>
                      <a:pt x="156" y="186"/>
                      <a:pt x="155" y="194"/>
                    </a:cubicBezTo>
                    <a:cubicBezTo>
                      <a:pt x="155" y="196"/>
                      <a:pt x="155" y="196"/>
                      <a:pt x="155" y="196"/>
                    </a:cubicBezTo>
                    <a:cubicBezTo>
                      <a:pt x="153" y="206"/>
                      <a:pt x="151" y="218"/>
                      <a:pt x="139" y="226"/>
                    </a:cubicBezTo>
                    <a:cubicBezTo>
                      <a:pt x="138" y="227"/>
                      <a:pt x="136" y="227"/>
                      <a:pt x="134" y="228"/>
                    </a:cubicBezTo>
                    <a:cubicBezTo>
                      <a:pt x="134" y="228"/>
                      <a:pt x="129" y="228"/>
                      <a:pt x="108" y="228"/>
                    </a:cubicBezTo>
                    <a:close/>
                    <a:moveTo>
                      <a:pt x="134" y="218"/>
                    </a:moveTo>
                    <a:cubicBezTo>
                      <a:pt x="134" y="218"/>
                      <a:pt x="134" y="218"/>
                      <a:pt x="134" y="218"/>
                    </a:cubicBezTo>
                    <a:close/>
                    <a:moveTo>
                      <a:pt x="61" y="208"/>
                    </a:moveTo>
                    <a:cubicBezTo>
                      <a:pt x="107" y="209"/>
                      <a:pt x="124" y="208"/>
                      <a:pt x="130" y="208"/>
                    </a:cubicBezTo>
                    <a:cubicBezTo>
                      <a:pt x="134" y="205"/>
                      <a:pt x="134" y="201"/>
                      <a:pt x="136" y="193"/>
                    </a:cubicBezTo>
                    <a:cubicBezTo>
                      <a:pt x="136" y="191"/>
                      <a:pt x="136" y="191"/>
                      <a:pt x="136" y="191"/>
                    </a:cubicBezTo>
                    <a:cubicBezTo>
                      <a:pt x="137" y="182"/>
                      <a:pt x="139" y="172"/>
                      <a:pt x="146" y="157"/>
                    </a:cubicBezTo>
                    <a:cubicBezTo>
                      <a:pt x="150" y="150"/>
                      <a:pt x="155" y="143"/>
                      <a:pt x="159" y="136"/>
                    </a:cubicBezTo>
                    <a:cubicBezTo>
                      <a:pt x="161" y="134"/>
                      <a:pt x="162" y="132"/>
                      <a:pt x="163" y="130"/>
                    </a:cubicBezTo>
                    <a:cubicBezTo>
                      <a:pt x="172" y="117"/>
                      <a:pt x="177" y="107"/>
                      <a:pt x="178" y="94"/>
                    </a:cubicBezTo>
                    <a:cubicBezTo>
                      <a:pt x="178" y="54"/>
                      <a:pt x="143" y="20"/>
                      <a:pt x="100" y="19"/>
                    </a:cubicBezTo>
                    <a:cubicBezTo>
                      <a:pt x="100" y="19"/>
                      <a:pt x="100" y="19"/>
                      <a:pt x="99" y="19"/>
                    </a:cubicBezTo>
                    <a:cubicBezTo>
                      <a:pt x="99" y="19"/>
                      <a:pt x="99" y="19"/>
                      <a:pt x="99" y="19"/>
                    </a:cubicBezTo>
                    <a:cubicBezTo>
                      <a:pt x="78" y="19"/>
                      <a:pt x="57" y="27"/>
                      <a:pt x="42" y="42"/>
                    </a:cubicBezTo>
                    <a:cubicBezTo>
                      <a:pt x="28" y="55"/>
                      <a:pt x="20" y="73"/>
                      <a:pt x="20" y="92"/>
                    </a:cubicBezTo>
                    <a:cubicBezTo>
                      <a:pt x="20" y="107"/>
                      <a:pt x="28" y="120"/>
                      <a:pt x="37" y="133"/>
                    </a:cubicBezTo>
                    <a:cubicBezTo>
                      <a:pt x="41" y="140"/>
                      <a:pt x="46" y="148"/>
                      <a:pt x="49" y="156"/>
                    </a:cubicBezTo>
                    <a:cubicBezTo>
                      <a:pt x="52" y="162"/>
                      <a:pt x="54" y="168"/>
                      <a:pt x="56" y="173"/>
                    </a:cubicBezTo>
                    <a:cubicBezTo>
                      <a:pt x="58" y="180"/>
                      <a:pt x="58" y="186"/>
                      <a:pt x="59" y="191"/>
                    </a:cubicBezTo>
                    <a:cubicBezTo>
                      <a:pt x="59" y="193"/>
                      <a:pt x="59" y="195"/>
                      <a:pt x="59" y="197"/>
                    </a:cubicBezTo>
                    <a:cubicBezTo>
                      <a:pt x="59" y="200"/>
                      <a:pt x="60" y="206"/>
                      <a:pt x="61" y="208"/>
                    </a:cubicBezTo>
                    <a:close/>
                    <a:moveTo>
                      <a:pt x="45" y="119"/>
                    </a:moveTo>
                    <a:cubicBezTo>
                      <a:pt x="41" y="119"/>
                      <a:pt x="37" y="116"/>
                      <a:pt x="36" y="111"/>
                    </a:cubicBezTo>
                    <a:cubicBezTo>
                      <a:pt x="26" y="71"/>
                      <a:pt x="57" y="46"/>
                      <a:pt x="76" y="41"/>
                    </a:cubicBezTo>
                    <a:cubicBezTo>
                      <a:pt x="81" y="39"/>
                      <a:pt x="86" y="42"/>
                      <a:pt x="87" y="47"/>
                    </a:cubicBezTo>
                    <a:cubicBezTo>
                      <a:pt x="89" y="53"/>
                      <a:pt x="86" y="58"/>
                      <a:pt x="81" y="59"/>
                    </a:cubicBezTo>
                    <a:cubicBezTo>
                      <a:pt x="75" y="61"/>
                      <a:pt x="47" y="75"/>
                      <a:pt x="54" y="107"/>
                    </a:cubicBezTo>
                    <a:cubicBezTo>
                      <a:pt x="56" y="112"/>
                      <a:pt x="52" y="117"/>
                      <a:pt x="47" y="118"/>
                    </a:cubicBezTo>
                    <a:cubicBezTo>
                      <a:pt x="46" y="119"/>
                      <a:pt x="46" y="119"/>
                      <a:pt x="45" y="119"/>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128" name="Freeform 196">
                <a:extLst>
                  <a:ext uri="{FF2B5EF4-FFF2-40B4-BE49-F238E27FC236}">
                    <a16:creationId xmlns:a16="http://schemas.microsoft.com/office/drawing/2014/main" id="{83023228-A145-428A-9E11-FBB71C58BE09}"/>
                  </a:ext>
                </a:extLst>
              </p:cNvPr>
              <p:cNvSpPr>
                <a:spLocks/>
              </p:cNvSpPr>
              <p:nvPr/>
            </p:nvSpPr>
            <p:spPr bwMode="auto">
              <a:xfrm>
                <a:off x="3830892" y="5370784"/>
                <a:ext cx="76243" cy="14662"/>
              </a:xfrm>
              <a:custGeom>
                <a:avLst/>
                <a:gdLst>
                  <a:gd name="T0" fmla="*/ 89 w 99"/>
                  <a:gd name="T1" fmla="*/ 19 h 19"/>
                  <a:gd name="T2" fmla="*/ 10 w 99"/>
                  <a:gd name="T3" fmla="*/ 19 h 19"/>
                  <a:gd name="T4" fmla="*/ 0 w 99"/>
                  <a:gd name="T5" fmla="*/ 10 h 19"/>
                  <a:gd name="T6" fmla="*/ 10 w 99"/>
                  <a:gd name="T7" fmla="*/ 0 h 19"/>
                  <a:gd name="T8" fmla="*/ 89 w 99"/>
                  <a:gd name="T9" fmla="*/ 0 h 19"/>
                  <a:gd name="T10" fmla="*/ 99 w 99"/>
                  <a:gd name="T11" fmla="*/ 10 h 19"/>
                  <a:gd name="T12" fmla="*/ 89 w 9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99" h="19">
                    <a:moveTo>
                      <a:pt x="89" y="19"/>
                    </a:moveTo>
                    <a:cubicBezTo>
                      <a:pt x="10" y="19"/>
                      <a:pt x="10" y="19"/>
                      <a:pt x="10" y="19"/>
                    </a:cubicBezTo>
                    <a:cubicBezTo>
                      <a:pt x="4" y="19"/>
                      <a:pt x="0" y="15"/>
                      <a:pt x="0" y="10"/>
                    </a:cubicBezTo>
                    <a:cubicBezTo>
                      <a:pt x="0" y="4"/>
                      <a:pt x="4" y="0"/>
                      <a:pt x="10" y="0"/>
                    </a:cubicBezTo>
                    <a:cubicBezTo>
                      <a:pt x="89" y="0"/>
                      <a:pt x="89" y="0"/>
                      <a:pt x="89" y="0"/>
                    </a:cubicBezTo>
                    <a:cubicBezTo>
                      <a:pt x="95" y="0"/>
                      <a:pt x="99" y="4"/>
                      <a:pt x="99" y="10"/>
                    </a:cubicBezTo>
                    <a:cubicBezTo>
                      <a:pt x="99" y="15"/>
                      <a:pt x="95" y="19"/>
                      <a:pt x="89" y="19"/>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129" name="Freeform 66">
                <a:extLst>
                  <a:ext uri="{FF2B5EF4-FFF2-40B4-BE49-F238E27FC236}">
                    <a16:creationId xmlns:a16="http://schemas.microsoft.com/office/drawing/2014/main" id="{6E18D62C-3875-4F4D-9FC4-9D9D7C51D891}"/>
                  </a:ext>
                </a:extLst>
              </p:cNvPr>
              <p:cNvSpPr>
                <a:spLocks/>
              </p:cNvSpPr>
              <p:nvPr/>
            </p:nvSpPr>
            <p:spPr bwMode="auto">
              <a:xfrm>
                <a:off x="3833824" y="5387727"/>
                <a:ext cx="67120" cy="14662"/>
              </a:xfrm>
              <a:custGeom>
                <a:avLst/>
                <a:gdLst>
                  <a:gd name="T0" fmla="*/ 77 w 87"/>
                  <a:gd name="T1" fmla="*/ 19 h 19"/>
                  <a:gd name="T2" fmla="*/ 10 w 87"/>
                  <a:gd name="T3" fmla="*/ 19 h 19"/>
                  <a:gd name="T4" fmla="*/ 0 w 87"/>
                  <a:gd name="T5" fmla="*/ 9 h 19"/>
                  <a:gd name="T6" fmla="*/ 10 w 87"/>
                  <a:gd name="T7" fmla="*/ 0 h 19"/>
                  <a:gd name="T8" fmla="*/ 77 w 87"/>
                  <a:gd name="T9" fmla="*/ 0 h 19"/>
                  <a:gd name="T10" fmla="*/ 87 w 87"/>
                  <a:gd name="T11" fmla="*/ 9 h 19"/>
                  <a:gd name="T12" fmla="*/ 77 w 87"/>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87" h="19">
                    <a:moveTo>
                      <a:pt x="77" y="19"/>
                    </a:moveTo>
                    <a:cubicBezTo>
                      <a:pt x="10" y="19"/>
                      <a:pt x="10" y="19"/>
                      <a:pt x="10" y="19"/>
                    </a:cubicBezTo>
                    <a:cubicBezTo>
                      <a:pt x="4" y="19"/>
                      <a:pt x="0" y="15"/>
                      <a:pt x="0" y="9"/>
                    </a:cubicBezTo>
                    <a:cubicBezTo>
                      <a:pt x="0" y="4"/>
                      <a:pt x="4" y="0"/>
                      <a:pt x="10" y="0"/>
                    </a:cubicBezTo>
                    <a:cubicBezTo>
                      <a:pt x="77" y="0"/>
                      <a:pt x="77" y="0"/>
                      <a:pt x="77" y="0"/>
                    </a:cubicBezTo>
                    <a:cubicBezTo>
                      <a:pt x="82" y="0"/>
                      <a:pt x="87" y="4"/>
                      <a:pt x="87" y="9"/>
                    </a:cubicBezTo>
                    <a:cubicBezTo>
                      <a:pt x="87" y="15"/>
                      <a:pt x="82" y="19"/>
                      <a:pt x="77" y="19"/>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130" name="Freeform 67">
                <a:extLst>
                  <a:ext uri="{FF2B5EF4-FFF2-40B4-BE49-F238E27FC236}">
                    <a16:creationId xmlns:a16="http://schemas.microsoft.com/office/drawing/2014/main" id="{3BA132ED-B103-447B-A90F-F8B71B92172A}"/>
                  </a:ext>
                </a:extLst>
              </p:cNvPr>
              <p:cNvSpPr>
                <a:spLocks/>
              </p:cNvSpPr>
              <p:nvPr/>
            </p:nvSpPr>
            <p:spPr bwMode="auto">
              <a:xfrm>
                <a:off x="3845554" y="5404018"/>
                <a:ext cx="43661" cy="15314"/>
              </a:xfrm>
              <a:custGeom>
                <a:avLst/>
                <a:gdLst>
                  <a:gd name="T0" fmla="*/ 47 w 57"/>
                  <a:gd name="T1" fmla="*/ 20 h 20"/>
                  <a:gd name="T2" fmla="*/ 10 w 57"/>
                  <a:gd name="T3" fmla="*/ 20 h 20"/>
                  <a:gd name="T4" fmla="*/ 0 w 57"/>
                  <a:gd name="T5" fmla="*/ 10 h 20"/>
                  <a:gd name="T6" fmla="*/ 10 w 57"/>
                  <a:gd name="T7" fmla="*/ 0 h 20"/>
                  <a:gd name="T8" fmla="*/ 47 w 57"/>
                  <a:gd name="T9" fmla="*/ 0 h 20"/>
                  <a:gd name="T10" fmla="*/ 57 w 57"/>
                  <a:gd name="T11" fmla="*/ 10 h 20"/>
                  <a:gd name="T12" fmla="*/ 47 w 57"/>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57" h="20">
                    <a:moveTo>
                      <a:pt x="47" y="20"/>
                    </a:moveTo>
                    <a:cubicBezTo>
                      <a:pt x="10" y="20"/>
                      <a:pt x="10" y="20"/>
                      <a:pt x="10" y="20"/>
                    </a:cubicBezTo>
                    <a:cubicBezTo>
                      <a:pt x="4" y="20"/>
                      <a:pt x="0" y="15"/>
                      <a:pt x="0" y="10"/>
                    </a:cubicBezTo>
                    <a:cubicBezTo>
                      <a:pt x="0" y="5"/>
                      <a:pt x="4" y="0"/>
                      <a:pt x="10" y="0"/>
                    </a:cubicBezTo>
                    <a:cubicBezTo>
                      <a:pt x="47" y="0"/>
                      <a:pt x="47" y="0"/>
                      <a:pt x="47" y="0"/>
                    </a:cubicBezTo>
                    <a:cubicBezTo>
                      <a:pt x="52" y="0"/>
                      <a:pt x="57" y="5"/>
                      <a:pt x="57" y="10"/>
                    </a:cubicBezTo>
                    <a:cubicBezTo>
                      <a:pt x="57" y="15"/>
                      <a:pt x="52" y="20"/>
                      <a:pt x="47" y="20"/>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grpSp>
      </p:grpSp>
      <p:sp>
        <p:nvSpPr>
          <p:cNvPr id="131" name="Freeform 54">
            <a:extLst>
              <a:ext uri="{FF2B5EF4-FFF2-40B4-BE49-F238E27FC236}">
                <a16:creationId xmlns:a16="http://schemas.microsoft.com/office/drawing/2014/main" id="{40FD393A-34CE-4DA8-BD37-7BA410E07EAF}"/>
              </a:ext>
            </a:extLst>
          </p:cNvPr>
          <p:cNvSpPr>
            <a:spLocks/>
          </p:cNvSpPr>
          <p:nvPr/>
        </p:nvSpPr>
        <p:spPr bwMode="auto">
          <a:xfrm>
            <a:off x="3014936" y="3970415"/>
            <a:ext cx="143768" cy="258342"/>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accent1"/>
          </a:solidFill>
          <a:ln>
            <a:noFill/>
          </a:ln>
        </p:spPr>
        <p:txBody>
          <a:bodyPr vert="horz" wrap="square" lIns="93247" tIns="46623" rIns="93247" bIns="46623" numCol="1" anchor="t" anchorCtr="0" compatLnSpc="1">
            <a:prstTxWarp prst="textNoShape">
              <a:avLst/>
            </a:prstTxWarp>
            <a:noAutofit/>
          </a:bodyPr>
          <a:lstStyle/>
          <a:p>
            <a:pPr defTabSz="932418"/>
            <a:endParaRPr lang="en-US" sz="1836">
              <a:solidFill>
                <a:srgbClr val="505050"/>
              </a:solidFill>
              <a:latin typeface="Segoe UI"/>
            </a:endParaRPr>
          </a:p>
        </p:txBody>
      </p:sp>
      <p:grpSp>
        <p:nvGrpSpPr>
          <p:cNvPr id="210" name="Group 209">
            <a:extLst>
              <a:ext uri="{FF2B5EF4-FFF2-40B4-BE49-F238E27FC236}">
                <a16:creationId xmlns:a16="http://schemas.microsoft.com/office/drawing/2014/main" id="{8FE2E83A-0F79-463F-938E-4B58F0FC10ED}"/>
              </a:ext>
            </a:extLst>
          </p:cNvPr>
          <p:cNvGrpSpPr/>
          <p:nvPr/>
        </p:nvGrpSpPr>
        <p:grpSpPr>
          <a:xfrm>
            <a:off x="2955023" y="4832590"/>
            <a:ext cx="259844" cy="161807"/>
            <a:chOff x="2442473" y="4400940"/>
            <a:chExt cx="801542" cy="499128"/>
          </a:xfrm>
          <a:solidFill>
            <a:schemeClr val="accent1"/>
          </a:solidFill>
        </p:grpSpPr>
        <p:sp>
          <p:nvSpPr>
            <p:cNvPr id="212" name="Freeform 15">
              <a:extLst>
                <a:ext uri="{FF2B5EF4-FFF2-40B4-BE49-F238E27FC236}">
                  <a16:creationId xmlns:a16="http://schemas.microsoft.com/office/drawing/2014/main" id="{188EADF0-5DEE-44A3-9F15-973F5B255066}"/>
                </a:ext>
              </a:extLst>
            </p:cNvPr>
            <p:cNvSpPr>
              <a:spLocks/>
            </p:cNvSpPr>
            <p:nvPr/>
          </p:nvSpPr>
          <p:spPr bwMode="auto">
            <a:xfrm>
              <a:off x="2601020" y="4465533"/>
              <a:ext cx="258372" cy="63125"/>
            </a:xfrm>
            <a:custGeom>
              <a:avLst/>
              <a:gdLst>
                <a:gd name="T0" fmla="*/ 143 w 415"/>
                <a:gd name="T1" fmla="*/ 102 h 102"/>
                <a:gd name="T2" fmla="*/ 124 w 415"/>
                <a:gd name="T3" fmla="*/ 98 h 102"/>
                <a:gd name="T4" fmla="*/ 12 w 415"/>
                <a:gd name="T5" fmla="*/ 42 h 102"/>
                <a:gd name="T6" fmla="*/ 4 w 415"/>
                <a:gd name="T7" fmla="*/ 18 h 102"/>
                <a:gd name="T8" fmla="*/ 29 w 415"/>
                <a:gd name="T9" fmla="*/ 10 h 102"/>
                <a:gd name="T10" fmla="*/ 140 w 415"/>
                <a:gd name="T11" fmla="*/ 66 h 102"/>
                <a:gd name="T12" fmla="*/ 145 w 415"/>
                <a:gd name="T13" fmla="*/ 66 h 102"/>
                <a:gd name="T14" fmla="*/ 313 w 415"/>
                <a:gd name="T15" fmla="*/ 7 h 102"/>
                <a:gd name="T16" fmla="*/ 365 w 415"/>
                <a:gd name="T17" fmla="*/ 11 h 102"/>
                <a:gd name="T18" fmla="*/ 366 w 415"/>
                <a:gd name="T19" fmla="*/ 11 h 102"/>
                <a:gd name="T20" fmla="*/ 367 w 415"/>
                <a:gd name="T21" fmla="*/ 12 h 102"/>
                <a:gd name="T22" fmla="*/ 403 w 415"/>
                <a:gd name="T23" fmla="*/ 29 h 102"/>
                <a:gd name="T24" fmla="*/ 411 w 415"/>
                <a:gd name="T25" fmla="*/ 54 h 102"/>
                <a:gd name="T26" fmla="*/ 387 w 415"/>
                <a:gd name="T27" fmla="*/ 62 h 102"/>
                <a:gd name="T28" fmla="*/ 352 w 415"/>
                <a:gd name="T29" fmla="*/ 44 h 102"/>
                <a:gd name="T30" fmla="*/ 325 w 415"/>
                <a:gd name="T31" fmla="*/ 41 h 102"/>
                <a:gd name="T32" fmla="*/ 157 w 415"/>
                <a:gd name="T33" fmla="*/ 100 h 102"/>
                <a:gd name="T34" fmla="*/ 143 w 415"/>
                <a:gd name="T35"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5" h="102">
                  <a:moveTo>
                    <a:pt x="143" y="102"/>
                  </a:moveTo>
                  <a:cubicBezTo>
                    <a:pt x="137" y="102"/>
                    <a:pt x="130" y="101"/>
                    <a:pt x="124" y="98"/>
                  </a:cubicBezTo>
                  <a:cubicBezTo>
                    <a:pt x="12" y="42"/>
                    <a:pt x="12" y="42"/>
                    <a:pt x="12" y="42"/>
                  </a:cubicBezTo>
                  <a:cubicBezTo>
                    <a:pt x="4" y="38"/>
                    <a:pt x="0" y="27"/>
                    <a:pt x="4" y="18"/>
                  </a:cubicBezTo>
                  <a:cubicBezTo>
                    <a:pt x="9" y="9"/>
                    <a:pt x="20" y="5"/>
                    <a:pt x="29" y="10"/>
                  </a:cubicBezTo>
                  <a:cubicBezTo>
                    <a:pt x="140" y="66"/>
                    <a:pt x="140" y="66"/>
                    <a:pt x="140" y="66"/>
                  </a:cubicBezTo>
                  <a:cubicBezTo>
                    <a:pt x="142" y="67"/>
                    <a:pt x="144" y="67"/>
                    <a:pt x="145" y="66"/>
                  </a:cubicBezTo>
                  <a:cubicBezTo>
                    <a:pt x="183" y="53"/>
                    <a:pt x="313" y="7"/>
                    <a:pt x="313" y="7"/>
                  </a:cubicBezTo>
                  <a:cubicBezTo>
                    <a:pt x="333" y="0"/>
                    <a:pt x="350" y="5"/>
                    <a:pt x="365" y="11"/>
                  </a:cubicBezTo>
                  <a:cubicBezTo>
                    <a:pt x="365" y="11"/>
                    <a:pt x="366" y="11"/>
                    <a:pt x="366" y="11"/>
                  </a:cubicBezTo>
                  <a:cubicBezTo>
                    <a:pt x="367" y="12"/>
                    <a:pt x="367" y="12"/>
                    <a:pt x="367" y="12"/>
                  </a:cubicBezTo>
                  <a:cubicBezTo>
                    <a:pt x="403" y="29"/>
                    <a:pt x="403" y="29"/>
                    <a:pt x="403" y="29"/>
                  </a:cubicBezTo>
                  <a:cubicBezTo>
                    <a:pt x="412" y="34"/>
                    <a:pt x="415" y="45"/>
                    <a:pt x="411" y="54"/>
                  </a:cubicBezTo>
                  <a:cubicBezTo>
                    <a:pt x="406" y="63"/>
                    <a:pt x="395" y="66"/>
                    <a:pt x="387" y="62"/>
                  </a:cubicBezTo>
                  <a:cubicBezTo>
                    <a:pt x="352" y="44"/>
                    <a:pt x="352" y="44"/>
                    <a:pt x="352" y="44"/>
                  </a:cubicBezTo>
                  <a:cubicBezTo>
                    <a:pt x="341" y="40"/>
                    <a:pt x="333" y="38"/>
                    <a:pt x="325" y="41"/>
                  </a:cubicBezTo>
                  <a:cubicBezTo>
                    <a:pt x="325" y="41"/>
                    <a:pt x="195" y="87"/>
                    <a:pt x="157" y="100"/>
                  </a:cubicBezTo>
                  <a:cubicBezTo>
                    <a:pt x="153" y="102"/>
                    <a:pt x="148" y="102"/>
                    <a:pt x="143" y="102"/>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18" name="Freeform 16">
              <a:extLst>
                <a:ext uri="{FF2B5EF4-FFF2-40B4-BE49-F238E27FC236}">
                  <a16:creationId xmlns:a16="http://schemas.microsoft.com/office/drawing/2014/main" id="{FBF4C741-D70E-44F1-949F-0EF06C6ABF7B}"/>
                </a:ext>
              </a:extLst>
            </p:cNvPr>
            <p:cNvSpPr>
              <a:spLocks/>
            </p:cNvSpPr>
            <p:nvPr/>
          </p:nvSpPr>
          <p:spPr bwMode="auto">
            <a:xfrm>
              <a:off x="2540831" y="4673992"/>
              <a:ext cx="102762" cy="58721"/>
            </a:xfrm>
            <a:custGeom>
              <a:avLst/>
              <a:gdLst>
                <a:gd name="T0" fmla="*/ 144 w 165"/>
                <a:gd name="T1" fmla="*/ 93 h 93"/>
                <a:gd name="T2" fmla="*/ 137 w 165"/>
                <a:gd name="T3" fmla="*/ 92 h 93"/>
                <a:gd name="T4" fmla="*/ 14 w 165"/>
                <a:gd name="T5" fmla="*/ 37 h 93"/>
                <a:gd name="T6" fmla="*/ 4 w 165"/>
                <a:gd name="T7" fmla="*/ 13 h 93"/>
                <a:gd name="T8" fmla="*/ 28 w 165"/>
                <a:gd name="T9" fmla="*/ 4 h 93"/>
                <a:gd name="T10" fmla="*/ 152 w 165"/>
                <a:gd name="T11" fmla="*/ 59 h 93"/>
                <a:gd name="T12" fmla="*/ 161 w 165"/>
                <a:gd name="T13" fmla="*/ 82 h 93"/>
                <a:gd name="T14" fmla="*/ 144 w 165"/>
                <a:gd name="T15" fmla="*/ 93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5" h="93">
                  <a:moveTo>
                    <a:pt x="144" y="93"/>
                  </a:moveTo>
                  <a:cubicBezTo>
                    <a:pt x="142" y="93"/>
                    <a:pt x="139" y="93"/>
                    <a:pt x="137" y="92"/>
                  </a:cubicBezTo>
                  <a:cubicBezTo>
                    <a:pt x="14" y="37"/>
                    <a:pt x="14" y="37"/>
                    <a:pt x="14" y="37"/>
                  </a:cubicBezTo>
                  <a:cubicBezTo>
                    <a:pt x="4" y="33"/>
                    <a:pt x="0" y="22"/>
                    <a:pt x="4" y="13"/>
                  </a:cubicBezTo>
                  <a:cubicBezTo>
                    <a:pt x="8" y="4"/>
                    <a:pt x="19" y="0"/>
                    <a:pt x="28" y="4"/>
                  </a:cubicBezTo>
                  <a:cubicBezTo>
                    <a:pt x="152" y="59"/>
                    <a:pt x="152" y="59"/>
                    <a:pt x="152" y="59"/>
                  </a:cubicBezTo>
                  <a:cubicBezTo>
                    <a:pt x="161" y="63"/>
                    <a:pt x="165" y="73"/>
                    <a:pt x="161" y="82"/>
                  </a:cubicBezTo>
                  <a:cubicBezTo>
                    <a:pt x="158" y="89"/>
                    <a:pt x="151" y="93"/>
                    <a:pt x="144" y="93"/>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19" name="Freeform 19">
              <a:extLst>
                <a:ext uri="{FF2B5EF4-FFF2-40B4-BE49-F238E27FC236}">
                  <a16:creationId xmlns:a16="http://schemas.microsoft.com/office/drawing/2014/main" id="{57CEDABE-9063-4D5D-A613-FB0AA43D95A2}"/>
                </a:ext>
              </a:extLst>
            </p:cNvPr>
            <p:cNvSpPr>
              <a:spLocks/>
            </p:cNvSpPr>
            <p:nvPr/>
          </p:nvSpPr>
          <p:spPr bwMode="auto">
            <a:xfrm>
              <a:off x="2709653" y="4465533"/>
              <a:ext cx="430131" cy="271585"/>
            </a:xfrm>
            <a:custGeom>
              <a:avLst/>
              <a:gdLst>
                <a:gd name="T0" fmla="*/ 519 w 688"/>
                <a:gd name="T1" fmla="*/ 436 h 436"/>
                <a:gd name="T2" fmla="*/ 507 w 688"/>
                <a:gd name="T3" fmla="*/ 432 h 436"/>
                <a:gd name="T4" fmla="*/ 226 w 688"/>
                <a:gd name="T5" fmla="*/ 199 h 436"/>
                <a:gd name="T6" fmla="*/ 219 w 688"/>
                <a:gd name="T7" fmla="*/ 198 h 436"/>
                <a:gd name="T8" fmla="*/ 172 w 688"/>
                <a:gd name="T9" fmla="*/ 216 h 436"/>
                <a:gd name="T10" fmla="*/ 169 w 688"/>
                <a:gd name="T11" fmla="*/ 220 h 436"/>
                <a:gd name="T12" fmla="*/ 147 w 688"/>
                <a:gd name="T13" fmla="*/ 271 h 436"/>
                <a:gd name="T14" fmla="*/ 106 w 688"/>
                <a:gd name="T15" fmla="*/ 312 h 436"/>
                <a:gd name="T16" fmla="*/ 47 w 688"/>
                <a:gd name="T17" fmla="*/ 312 h 436"/>
                <a:gd name="T18" fmla="*/ 7 w 688"/>
                <a:gd name="T19" fmla="*/ 270 h 436"/>
                <a:gd name="T20" fmla="*/ 9 w 688"/>
                <a:gd name="T21" fmla="*/ 212 h 436"/>
                <a:gd name="T22" fmla="*/ 9 w 688"/>
                <a:gd name="T23" fmla="*/ 211 h 436"/>
                <a:gd name="T24" fmla="*/ 24 w 688"/>
                <a:gd name="T25" fmla="*/ 177 h 436"/>
                <a:gd name="T26" fmla="*/ 49 w 688"/>
                <a:gd name="T27" fmla="*/ 121 h 436"/>
                <a:gd name="T28" fmla="*/ 95 w 688"/>
                <a:gd name="T29" fmla="*/ 73 h 436"/>
                <a:gd name="T30" fmla="*/ 246 w 688"/>
                <a:gd name="T31" fmla="*/ 14 h 436"/>
                <a:gd name="T32" fmla="*/ 253 w 688"/>
                <a:gd name="T33" fmla="*/ 11 h 436"/>
                <a:gd name="T34" fmla="*/ 305 w 688"/>
                <a:gd name="T35" fmla="*/ 8 h 436"/>
                <a:gd name="T36" fmla="*/ 305 w 688"/>
                <a:gd name="T37" fmla="*/ 8 h 436"/>
                <a:gd name="T38" fmla="*/ 471 w 688"/>
                <a:gd name="T39" fmla="*/ 75 h 436"/>
                <a:gd name="T40" fmla="*/ 476 w 688"/>
                <a:gd name="T41" fmla="*/ 75 h 436"/>
                <a:gd name="T42" fmla="*/ 583 w 688"/>
                <a:gd name="T43" fmla="*/ 34 h 436"/>
                <a:gd name="T44" fmla="*/ 607 w 688"/>
                <a:gd name="T45" fmla="*/ 44 h 436"/>
                <a:gd name="T46" fmla="*/ 596 w 688"/>
                <a:gd name="T47" fmla="*/ 67 h 436"/>
                <a:gd name="T48" fmla="*/ 489 w 688"/>
                <a:gd name="T49" fmla="*/ 109 h 436"/>
                <a:gd name="T50" fmla="*/ 458 w 688"/>
                <a:gd name="T51" fmla="*/ 109 h 436"/>
                <a:gd name="T52" fmla="*/ 292 w 688"/>
                <a:gd name="T53" fmla="*/ 42 h 436"/>
                <a:gd name="T54" fmla="*/ 266 w 688"/>
                <a:gd name="T55" fmla="*/ 45 h 436"/>
                <a:gd name="T56" fmla="*/ 263 w 688"/>
                <a:gd name="T57" fmla="*/ 46 h 436"/>
                <a:gd name="T58" fmla="*/ 263 w 688"/>
                <a:gd name="T59" fmla="*/ 46 h 436"/>
                <a:gd name="T60" fmla="*/ 260 w 688"/>
                <a:gd name="T61" fmla="*/ 47 h 436"/>
                <a:gd name="T62" fmla="*/ 107 w 688"/>
                <a:gd name="T63" fmla="*/ 107 h 436"/>
                <a:gd name="T64" fmla="*/ 81 w 688"/>
                <a:gd name="T65" fmla="*/ 136 h 436"/>
                <a:gd name="T66" fmla="*/ 57 w 688"/>
                <a:gd name="T67" fmla="*/ 191 h 436"/>
                <a:gd name="T68" fmla="*/ 41 w 688"/>
                <a:gd name="T69" fmla="*/ 227 h 436"/>
                <a:gd name="T70" fmla="*/ 41 w 688"/>
                <a:gd name="T71" fmla="*/ 257 h 436"/>
                <a:gd name="T72" fmla="*/ 41 w 688"/>
                <a:gd name="T73" fmla="*/ 258 h 436"/>
                <a:gd name="T74" fmla="*/ 61 w 688"/>
                <a:gd name="T75" fmla="*/ 279 h 436"/>
                <a:gd name="T76" fmla="*/ 92 w 688"/>
                <a:gd name="T77" fmla="*/ 279 h 436"/>
                <a:gd name="T78" fmla="*/ 114 w 688"/>
                <a:gd name="T79" fmla="*/ 257 h 436"/>
                <a:gd name="T80" fmla="*/ 135 w 688"/>
                <a:gd name="T81" fmla="*/ 206 h 436"/>
                <a:gd name="T82" fmla="*/ 159 w 688"/>
                <a:gd name="T83" fmla="*/ 183 h 436"/>
                <a:gd name="T84" fmla="*/ 206 w 688"/>
                <a:gd name="T85" fmla="*/ 165 h 436"/>
                <a:gd name="T86" fmla="*/ 249 w 688"/>
                <a:gd name="T87" fmla="*/ 172 h 436"/>
                <a:gd name="T88" fmla="*/ 522 w 688"/>
                <a:gd name="T89" fmla="*/ 397 h 436"/>
                <a:gd name="T90" fmla="*/ 660 w 688"/>
                <a:gd name="T91" fmla="*/ 336 h 436"/>
                <a:gd name="T92" fmla="*/ 684 w 688"/>
                <a:gd name="T93" fmla="*/ 345 h 436"/>
                <a:gd name="T94" fmla="*/ 675 w 688"/>
                <a:gd name="T95" fmla="*/ 369 h 436"/>
                <a:gd name="T96" fmla="*/ 526 w 688"/>
                <a:gd name="T97" fmla="*/ 435 h 436"/>
                <a:gd name="T98" fmla="*/ 519 w 688"/>
                <a:gd name="T99"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8" h="436">
                  <a:moveTo>
                    <a:pt x="519" y="436"/>
                  </a:moveTo>
                  <a:cubicBezTo>
                    <a:pt x="515" y="436"/>
                    <a:pt x="510" y="435"/>
                    <a:pt x="507" y="432"/>
                  </a:cubicBezTo>
                  <a:cubicBezTo>
                    <a:pt x="226" y="199"/>
                    <a:pt x="226" y="199"/>
                    <a:pt x="226" y="199"/>
                  </a:cubicBezTo>
                  <a:cubicBezTo>
                    <a:pt x="224" y="198"/>
                    <a:pt x="221" y="197"/>
                    <a:pt x="219" y="198"/>
                  </a:cubicBezTo>
                  <a:cubicBezTo>
                    <a:pt x="172" y="216"/>
                    <a:pt x="172" y="216"/>
                    <a:pt x="172" y="216"/>
                  </a:cubicBezTo>
                  <a:cubicBezTo>
                    <a:pt x="171" y="217"/>
                    <a:pt x="169" y="218"/>
                    <a:pt x="169" y="220"/>
                  </a:cubicBezTo>
                  <a:cubicBezTo>
                    <a:pt x="147" y="271"/>
                    <a:pt x="147" y="271"/>
                    <a:pt x="147" y="271"/>
                  </a:cubicBezTo>
                  <a:cubicBezTo>
                    <a:pt x="139" y="289"/>
                    <a:pt x="124" y="304"/>
                    <a:pt x="106" y="312"/>
                  </a:cubicBezTo>
                  <a:cubicBezTo>
                    <a:pt x="87" y="320"/>
                    <a:pt x="66" y="320"/>
                    <a:pt x="47" y="312"/>
                  </a:cubicBezTo>
                  <a:cubicBezTo>
                    <a:pt x="29" y="305"/>
                    <a:pt x="14" y="289"/>
                    <a:pt x="7" y="270"/>
                  </a:cubicBezTo>
                  <a:cubicBezTo>
                    <a:pt x="0" y="251"/>
                    <a:pt x="0" y="231"/>
                    <a:pt x="9" y="212"/>
                  </a:cubicBezTo>
                  <a:cubicBezTo>
                    <a:pt x="9" y="212"/>
                    <a:pt x="9" y="211"/>
                    <a:pt x="9" y="211"/>
                  </a:cubicBezTo>
                  <a:cubicBezTo>
                    <a:pt x="10" y="209"/>
                    <a:pt x="17" y="192"/>
                    <a:pt x="24" y="177"/>
                  </a:cubicBezTo>
                  <a:cubicBezTo>
                    <a:pt x="34" y="154"/>
                    <a:pt x="45" y="128"/>
                    <a:pt x="49" y="121"/>
                  </a:cubicBezTo>
                  <a:cubicBezTo>
                    <a:pt x="55" y="108"/>
                    <a:pt x="66" y="83"/>
                    <a:pt x="95" y="73"/>
                  </a:cubicBezTo>
                  <a:cubicBezTo>
                    <a:pt x="246" y="14"/>
                    <a:pt x="246" y="14"/>
                    <a:pt x="246" y="14"/>
                  </a:cubicBezTo>
                  <a:cubicBezTo>
                    <a:pt x="248" y="13"/>
                    <a:pt x="251" y="12"/>
                    <a:pt x="253" y="11"/>
                  </a:cubicBezTo>
                  <a:cubicBezTo>
                    <a:pt x="266" y="6"/>
                    <a:pt x="285" y="0"/>
                    <a:pt x="305" y="8"/>
                  </a:cubicBezTo>
                  <a:cubicBezTo>
                    <a:pt x="305" y="8"/>
                    <a:pt x="305" y="8"/>
                    <a:pt x="305" y="8"/>
                  </a:cubicBezTo>
                  <a:cubicBezTo>
                    <a:pt x="471" y="75"/>
                    <a:pt x="471" y="75"/>
                    <a:pt x="471" y="75"/>
                  </a:cubicBezTo>
                  <a:cubicBezTo>
                    <a:pt x="473" y="76"/>
                    <a:pt x="475" y="76"/>
                    <a:pt x="476" y="75"/>
                  </a:cubicBezTo>
                  <a:cubicBezTo>
                    <a:pt x="583" y="34"/>
                    <a:pt x="583" y="34"/>
                    <a:pt x="583" y="34"/>
                  </a:cubicBezTo>
                  <a:cubicBezTo>
                    <a:pt x="592" y="30"/>
                    <a:pt x="603" y="35"/>
                    <a:pt x="607" y="44"/>
                  </a:cubicBezTo>
                  <a:cubicBezTo>
                    <a:pt x="610" y="53"/>
                    <a:pt x="606" y="64"/>
                    <a:pt x="596" y="67"/>
                  </a:cubicBezTo>
                  <a:cubicBezTo>
                    <a:pt x="489" y="109"/>
                    <a:pt x="489" y="109"/>
                    <a:pt x="489" y="109"/>
                  </a:cubicBezTo>
                  <a:cubicBezTo>
                    <a:pt x="479" y="113"/>
                    <a:pt x="468" y="113"/>
                    <a:pt x="458" y="109"/>
                  </a:cubicBezTo>
                  <a:cubicBezTo>
                    <a:pt x="292" y="42"/>
                    <a:pt x="292" y="42"/>
                    <a:pt x="292" y="42"/>
                  </a:cubicBezTo>
                  <a:cubicBezTo>
                    <a:pt x="283" y="39"/>
                    <a:pt x="273" y="42"/>
                    <a:pt x="266" y="45"/>
                  </a:cubicBezTo>
                  <a:cubicBezTo>
                    <a:pt x="265" y="45"/>
                    <a:pt x="264" y="46"/>
                    <a:pt x="263" y="46"/>
                  </a:cubicBezTo>
                  <a:cubicBezTo>
                    <a:pt x="263" y="46"/>
                    <a:pt x="263" y="46"/>
                    <a:pt x="263" y="46"/>
                  </a:cubicBezTo>
                  <a:cubicBezTo>
                    <a:pt x="262" y="47"/>
                    <a:pt x="261" y="47"/>
                    <a:pt x="260" y="47"/>
                  </a:cubicBezTo>
                  <a:cubicBezTo>
                    <a:pt x="107" y="107"/>
                    <a:pt x="107" y="107"/>
                    <a:pt x="107" y="107"/>
                  </a:cubicBezTo>
                  <a:cubicBezTo>
                    <a:pt x="95" y="111"/>
                    <a:pt x="89" y="121"/>
                    <a:pt x="81" y="136"/>
                  </a:cubicBezTo>
                  <a:cubicBezTo>
                    <a:pt x="78" y="143"/>
                    <a:pt x="66" y="170"/>
                    <a:pt x="57" y="191"/>
                  </a:cubicBezTo>
                  <a:cubicBezTo>
                    <a:pt x="46" y="216"/>
                    <a:pt x="43" y="224"/>
                    <a:pt x="41" y="227"/>
                  </a:cubicBezTo>
                  <a:cubicBezTo>
                    <a:pt x="37" y="237"/>
                    <a:pt x="37" y="247"/>
                    <a:pt x="41" y="257"/>
                  </a:cubicBezTo>
                  <a:cubicBezTo>
                    <a:pt x="41" y="257"/>
                    <a:pt x="41" y="258"/>
                    <a:pt x="41" y="258"/>
                  </a:cubicBezTo>
                  <a:cubicBezTo>
                    <a:pt x="44" y="268"/>
                    <a:pt x="51" y="275"/>
                    <a:pt x="61" y="279"/>
                  </a:cubicBezTo>
                  <a:cubicBezTo>
                    <a:pt x="71" y="283"/>
                    <a:pt x="82" y="283"/>
                    <a:pt x="92" y="279"/>
                  </a:cubicBezTo>
                  <a:cubicBezTo>
                    <a:pt x="101" y="275"/>
                    <a:pt x="109" y="267"/>
                    <a:pt x="114" y="257"/>
                  </a:cubicBezTo>
                  <a:cubicBezTo>
                    <a:pt x="135" y="206"/>
                    <a:pt x="135" y="206"/>
                    <a:pt x="135" y="206"/>
                  </a:cubicBezTo>
                  <a:cubicBezTo>
                    <a:pt x="140" y="195"/>
                    <a:pt x="149" y="187"/>
                    <a:pt x="159" y="183"/>
                  </a:cubicBezTo>
                  <a:cubicBezTo>
                    <a:pt x="206" y="165"/>
                    <a:pt x="206" y="165"/>
                    <a:pt x="206" y="165"/>
                  </a:cubicBezTo>
                  <a:cubicBezTo>
                    <a:pt x="220" y="159"/>
                    <a:pt x="237" y="162"/>
                    <a:pt x="249" y="172"/>
                  </a:cubicBezTo>
                  <a:cubicBezTo>
                    <a:pt x="522" y="397"/>
                    <a:pt x="522" y="397"/>
                    <a:pt x="522" y="397"/>
                  </a:cubicBezTo>
                  <a:cubicBezTo>
                    <a:pt x="660" y="336"/>
                    <a:pt x="660" y="336"/>
                    <a:pt x="660" y="336"/>
                  </a:cubicBezTo>
                  <a:cubicBezTo>
                    <a:pt x="669" y="332"/>
                    <a:pt x="680" y="336"/>
                    <a:pt x="684" y="345"/>
                  </a:cubicBezTo>
                  <a:cubicBezTo>
                    <a:pt x="688" y="354"/>
                    <a:pt x="684" y="364"/>
                    <a:pt x="675" y="369"/>
                  </a:cubicBezTo>
                  <a:cubicBezTo>
                    <a:pt x="526" y="435"/>
                    <a:pt x="526" y="435"/>
                    <a:pt x="526" y="435"/>
                  </a:cubicBezTo>
                  <a:cubicBezTo>
                    <a:pt x="524" y="436"/>
                    <a:pt x="521" y="436"/>
                    <a:pt x="519" y="436"/>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0" name="Freeform 20">
              <a:extLst>
                <a:ext uri="{FF2B5EF4-FFF2-40B4-BE49-F238E27FC236}">
                  <a16:creationId xmlns:a16="http://schemas.microsoft.com/office/drawing/2014/main" id="{0ACD40C2-57CE-4F81-9B86-0DA20B6FB101}"/>
                </a:ext>
              </a:extLst>
            </p:cNvPr>
            <p:cNvSpPr>
              <a:spLocks/>
            </p:cNvSpPr>
            <p:nvPr/>
          </p:nvSpPr>
          <p:spPr bwMode="auto">
            <a:xfrm>
              <a:off x="2874072" y="44934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1" name="Freeform 22">
              <a:extLst>
                <a:ext uri="{FF2B5EF4-FFF2-40B4-BE49-F238E27FC236}">
                  <a16:creationId xmlns:a16="http://schemas.microsoft.com/office/drawing/2014/main" id="{1CE1860A-F6F2-4F0F-9648-C75CB12B8B1D}"/>
                </a:ext>
              </a:extLst>
            </p:cNvPr>
            <p:cNvSpPr>
              <a:spLocks noEditPoints="1"/>
            </p:cNvSpPr>
            <p:nvPr/>
          </p:nvSpPr>
          <p:spPr bwMode="auto">
            <a:xfrm>
              <a:off x="2615700" y="4693076"/>
              <a:ext cx="101294" cy="91017"/>
            </a:xfrm>
            <a:custGeom>
              <a:avLst/>
              <a:gdLst>
                <a:gd name="T0" fmla="*/ 153 w 162"/>
                <a:gd name="T1" fmla="*/ 34 h 146"/>
                <a:gd name="T2" fmla="*/ 150 w 162"/>
                <a:gd name="T3" fmla="*/ 30 h 146"/>
                <a:gd name="T4" fmla="*/ 115 w 162"/>
                <a:gd name="T5" fmla="*/ 4 h 146"/>
                <a:gd name="T6" fmla="*/ 73 w 162"/>
                <a:gd name="T7" fmla="*/ 10 h 146"/>
                <a:gd name="T8" fmla="*/ 29 w 162"/>
                <a:gd name="T9" fmla="*/ 36 h 146"/>
                <a:gd name="T10" fmla="*/ 3 w 162"/>
                <a:gd name="T11" fmla="*/ 71 h 146"/>
                <a:gd name="T12" fmla="*/ 9 w 162"/>
                <a:gd name="T13" fmla="*/ 114 h 146"/>
                <a:gd name="T14" fmla="*/ 12 w 162"/>
                <a:gd name="T15" fmla="*/ 118 h 146"/>
                <a:gd name="T16" fmla="*/ 60 w 162"/>
                <a:gd name="T17" fmla="*/ 146 h 146"/>
                <a:gd name="T18" fmla="*/ 88 w 162"/>
                <a:gd name="T19" fmla="*/ 138 h 146"/>
                <a:gd name="T20" fmla="*/ 89 w 162"/>
                <a:gd name="T21" fmla="*/ 138 h 146"/>
                <a:gd name="T22" fmla="*/ 133 w 162"/>
                <a:gd name="T23" fmla="*/ 111 h 146"/>
                <a:gd name="T24" fmla="*/ 159 w 162"/>
                <a:gd name="T25" fmla="*/ 77 h 146"/>
                <a:gd name="T26" fmla="*/ 153 w 162"/>
                <a:gd name="T27" fmla="*/ 34 h 146"/>
                <a:gd name="T28" fmla="*/ 124 w 162"/>
                <a:gd name="T29" fmla="*/ 68 h 146"/>
                <a:gd name="T30" fmla="*/ 115 w 162"/>
                <a:gd name="T31" fmla="*/ 81 h 146"/>
                <a:gd name="T32" fmla="*/ 71 w 162"/>
                <a:gd name="T33" fmla="*/ 107 h 146"/>
                <a:gd name="T34" fmla="*/ 60 w 162"/>
                <a:gd name="T35" fmla="*/ 110 h 146"/>
                <a:gd name="T36" fmla="*/ 43 w 162"/>
                <a:gd name="T37" fmla="*/ 100 h 146"/>
                <a:gd name="T38" fmla="*/ 41 w 162"/>
                <a:gd name="T39" fmla="*/ 96 h 146"/>
                <a:gd name="T40" fmla="*/ 38 w 162"/>
                <a:gd name="T41" fmla="*/ 80 h 146"/>
                <a:gd name="T42" fmla="*/ 48 w 162"/>
                <a:gd name="T43" fmla="*/ 67 h 146"/>
                <a:gd name="T44" fmla="*/ 92 w 162"/>
                <a:gd name="T45" fmla="*/ 41 h 146"/>
                <a:gd name="T46" fmla="*/ 102 w 162"/>
                <a:gd name="T47" fmla="*/ 38 h 146"/>
                <a:gd name="T48" fmla="*/ 106 w 162"/>
                <a:gd name="T49" fmla="*/ 38 h 146"/>
                <a:gd name="T50" fmla="*/ 119 w 162"/>
                <a:gd name="T51" fmla="*/ 48 h 146"/>
                <a:gd name="T52" fmla="*/ 121 w 162"/>
                <a:gd name="T53" fmla="*/ 52 h 146"/>
                <a:gd name="T54" fmla="*/ 124 w 162"/>
                <a:gd name="T55" fmla="*/ 6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2" h="146">
                  <a:moveTo>
                    <a:pt x="153" y="34"/>
                  </a:moveTo>
                  <a:cubicBezTo>
                    <a:pt x="150" y="30"/>
                    <a:pt x="150" y="30"/>
                    <a:pt x="150" y="30"/>
                  </a:cubicBezTo>
                  <a:cubicBezTo>
                    <a:pt x="142" y="17"/>
                    <a:pt x="130" y="7"/>
                    <a:pt x="115" y="4"/>
                  </a:cubicBezTo>
                  <a:cubicBezTo>
                    <a:pt x="101" y="0"/>
                    <a:pt x="86" y="2"/>
                    <a:pt x="73" y="10"/>
                  </a:cubicBezTo>
                  <a:cubicBezTo>
                    <a:pt x="29" y="36"/>
                    <a:pt x="29" y="36"/>
                    <a:pt x="29" y="36"/>
                  </a:cubicBezTo>
                  <a:cubicBezTo>
                    <a:pt x="16" y="44"/>
                    <a:pt x="7" y="57"/>
                    <a:pt x="3" y="71"/>
                  </a:cubicBezTo>
                  <a:cubicBezTo>
                    <a:pt x="0" y="86"/>
                    <a:pt x="2" y="101"/>
                    <a:pt x="9" y="114"/>
                  </a:cubicBezTo>
                  <a:cubicBezTo>
                    <a:pt x="12" y="118"/>
                    <a:pt x="12" y="118"/>
                    <a:pt x="12" y="118"/>
                  </a:cubicBezTo>
                  <a:cubicBezTo>
                    <a:pt x="22" y="135"/>
                    <a:pt x="41" y="146"/>
                    <a:pt x="60" y="146"/>
                  </a:cubicBezTo>
                  <a:cubicBezTo>
                    <a:pt x="69" y="146"/>
                    <a:pt x="79" y="144"/>
                    <a:pt x="88" y="138"/>
                  </a:cubicBezTo>
                  <a:cubicBezTo>
                    <a:pt x="88" y="138"/>
                    <a:pt x="89" y="138"/>
                    <a:pt x="89" y="138"/>
                  </a:cubicBezTo>
                  <a:cubicBezTo>
                    <a:pt x="133" y="111"/>
                    <a:pt x="133" y="111"/>
                    <a:pt x="133" y="111"/>
                  </a:cubicBezTo>
                  <a:cubicBezTo>
                    <a:pt x="146" y="103"/>
                    <a:pt x="155" y="91"/>
                    <a:pt x="159" y="77"/>
                  </a:cubicBezTo>
                  <a:cubicBezTo>
                    <a:pt x="162" y="62"/>
                    <a:pt x="160" y="47"/>
                    <a:pt x="153" y="34"/>
                  </a:cubicBezTo>
                  <a:close/>
                  <a:moveTo>
                    <a:pt x="124" y="68"/>
                  </a:moveTo>
                  <a:cubicBezTo>
                    <a:pt x="122" y="73"/>
                    <a:pt x="119" y="78"/>
                    <a:pt x="115" y="81"/>
                  </a:cubicBezTo>
                  <a:cubicBezTo>
                    <a:pt x="71" y="107"/>
                    <a:pt x="71" y="107"/>
                    <a:pt x="71" y="107"/>
                  </a:cubicBezTo>
                  <a:cubicBezTo>
                    <a:pt x="67" y="109"/>
                    <a:pt x="63" y="110"/>
                    <a:pt x="60" y="110"/>
                  </a:cubicBezTo>
                  <a:cubicBezTo>
                    <a:pt x="54" y="110"/>
                    <a:pt x="47" y="106"/>
                    <a:pt x="43" y="100"/>
                  </a:cubicBezTo>
                  <a:cubicBezTo>
                    <a:pt x="41" y="96"/>
                    <a:pt x="41" y="96"/>
                    <a:pt x="41" y="96"/>
                  </a:cubicBezTo>
                  <a:cubicBezTo>
                    <a:pt x="38" y="91"/>
                    <a:pt x="37" y="85"/>
                    <a:pt x="38" y="80"/>
                  </a:cubicBezTo>
                  <a:cubicBezTo>
                    <a:pt x="40" y="74"/>
                    <a:pt x="43" y="70"/>
                    <a:pt x="48" y="67"/>
                  </a:cubicBezTo>
                  <a:cubicBezTo>
                    <a:pt x="92" y="41"/>
                    <a:pt x="92" y="41"/>
                    <a:pt x="92" y="41"/>
                  </a:cubicBezTo>
                  <a:cubicBezTo>
                    <a:pt x="95" y="39"/>
                    <a:pt x="98" y="38"/>
                    <a:pt x="102" y="38"/>
                  </a:cubicBezTo>
                  <a:cubicBezTo>
                    <a:pt x="103" y="38"/>
                    <a:pt x="105" y="38"/>
                    <a:pt x="106" y="38"/>
                  </a:cubicBezTo>
                  <a:cubicBezTo>
                    <a:pt x="112" y="40"/>
                    <a:pt x="116" y="43"/>
                    <a:pt x="119" y="48"/>
                  </a:cubicBezTo>
                  <a:cubicBezTo>
                    <a:pt x="121" y="52"/>
                    <a:pt x="121" y="52"/>
                    <a:pt x="121" y="52"/>
                  </a:cubicBezTo>
                  <a:cubicBezTo>
                    <a:pt x="124" y="57"/>
                    <a:pt x="125" y="63"/>
                    <a:pt x="124" y="68"/>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2" name="Freeform 23">
              <a:extLst>
                <a:ext uri="{FF2B5EF4-FFF2-40B4-BE49-F238E27FC236}">
                  <a16:creationId xmlns:a16="http://schemas.microsoft.com/office/drawing/2014/main" id="{12091994-36B6-4839-909B-A84E5C629CBD}"/>
                </a:ext>
              </a:extLst>
            </p:cNvPr>
            <p:cNvSpPr>
              <a:spLocks noEditPoints="1"/>
            </p:cNvSpPr>
            <p:nvPr/>
          </p:nvSpPr>
          <p:spPr bwMode="auto">
            <a:xfrm>
              <a:off x="2656804" y="4722437"/>
              <a:ext cx="121846" cy="107166"/>
            </a:xfrm>
            <a:custGeom>
              <a:avLst/>
              <a:gdLst>
                <a:gd name="T0" fmla="*/ 184 w 195"/>
                <a:gd name="T1" fmla="*/ 42 h 171"/>
                <a:gd name="T2" fmla="*/ 178 w 195"/>
                <a:gd name="T3" fmla="*/ 32 h 171"/>
                <a:gd name="T4" fmla="*/ 140 w 195"/>
                <a:gd name="T5" fmla="*/ 4 h 171"/>
                <a:gd name="T6" fmla="*/ 94 w 195"/>
                <a:gd name="T7" fmla="*/ 10 h 171"/>
                <a:gd name="T8" fmla="*/ 32 w 195"/>
                <a:gd name="T9" fmla="*/ 47 h 171"/>
                <a:gd name="T10" fmla="*/ 4 w 195"/>
                <a:gd name="T11" fmla="*/ 84 h 171"/>
                <a:gd name="T12" fmla="*/ 11 w 195"/>
                <a:gd name="T13" fmla="*/ 130 h 171"/>
                <a:gd name="T14" fmla="*/ 16 w 195"/>
                <a:gd name="T15" fmla="*/ 141 h 171"/>
                <a:gd name="T16" fmla="*/ 17 w 195"/>
                <a:gd name="T17" fmla="*/ 142 h 171"/>
                <a:gd name="T18" fmla="*/ 55 w 195"/>
                <a:gd name="T19" fmla="*/ 169 h 171"/>
                <a:gd name="T20" fmla="*/ 70 w 195"/>
                <a:gd name="T21" fmla="*/ 171 h 171"/>
                <a:gd name="T22" fmla="*/ 101 w 195"/>
                <a:gd name="T23" fmla="*/ 162 h 171"/>
                <a:gd name="T24" fmla="*/ 163 w 195"/>
                <a:gd name="T25" fmla="*/ 126 h 171"/>
                <a:gd name="T26" fmla="*/ 191 w 195"/>
                <a:gd name="T27" fmla="*/ 89 h 171"/>
                <a:gd name="T28" fmla="*/ 184 w 195"/>
                <a:gd name="T29" fmla="*/ 42 h 171"/>
                <a:gd name="T30" fmla="*/ 156 w 195"/>
                <a:gd name="T31" fmla="*/ 79 h 171"/>
                <a:gd name="T32" fmla="*/ 156 w 195"/>
                <a:gd name="T33" fmla="*/ 80 h 171"/>
                <a:gd name="T34" fmla="*/ 145 w 195"/>
                <a:gd name="T35" fmla="*/ 95 h 171"/>
                <a:gd name="T36" fmla="*/ 83 w 195"/>
                <a:gd name="T37" fmla="*/ 131 h 171"/>
                <a:gd name="T38" fmla="*/ 70 w 195"/>
                <a:gd name="T39" fmla="*/ 135 h 171"/>
                <a:gd name="T40" fmla="*/ 63 w 195"/>
                <a:gd name="T41" fmla="*/ 134 h 171"/>
                <a:gd name="T42" fmla="*/ 48 w 195"/>
                <a:gd name="T43" fmla="*/ 123 h 171"/>
                <a:gd name="T44" fmla="*/ 42 w 195"/>
                <a:gd name="T45" fmla="*/ 112 h 171"/>
                <a:gd name="T46" fmla="*/ 41 w 195"/>
                <a:gd name="T47" fmla="*/ 112 h 171"/>
                <a:gd name="T48" fmla="*/ 39 w 195"/>
                <a:gd name="T49" fmla="*/ 93 h 171"/>
                <a:gd name="T50" fmla="*/ 50 w 195"/>
                <a:gd name="T51" fmla="*/ 78 h 171"/>
                <a:gd name="T52" fmla="*/ 113 w 195"/>
                <a:gd name="T53" fmla="*/ 41 h 171"/>
                <a:gd name="T54" fmla="*/ 131 w 195"/>
                <a:gd name="T55" fmla="*/ 39 h 171"/>
                <a:gd name="T56" fmla="*/ 147 w 195"/>
                <a:gd name="T57" fmla="*/ 50 h 171"/>
                <a:gd name="T58" fmla="*/ 153 w 195"/>
                <a:gd name="T59" fmla="*/ 61 h 171"/>
                <a:gd name="T60" fmla="*/ 156 w 195"/>
                <a:gd name="T61" fmla="*/ 79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5" h="171">
                  <a:moveTo>
                    <a:pt x="184" y="42"/>
                  </a:moveTo>
                  <a:cubicBezTo>
                    <a:pt x="178" y="32"/>
                    <a:pt x="178" y="32"/>
                    <a:pt x="178" y="32"/>
                  </a:cubicBezTo>
                  <a:cubicBezTo>
                    <a:pt x="170" y="18"/>
                    <a:pt x="156" y="8"/>
                    <a:pt x="140" y="4"/>
                  </a:cubicBezTo>
                  <a:cubicBezTo>
                    <a:pt x="124" y="0"/>
                    <a:pt x="108" y="2"/>
                    <a:pt x="94" y="10"/>
                  </a:cubicBezTo>
                  <a:cubicBezTo>
                    <a:pt x="32" y="47"/>
                    <a:pt x="32" y="47"/>
                    <a:pt x="32" y="47"/>
                  </a:cubicBezTo>
                  <a:cubicBezTo>
                    <a:pt x="18" y="55"/>
                    <a:pt x="8" y="68"/>
                    <a:pt x="4" y="84"/>
                  </a:cubicBezTo>
                  <a:cubicBezTo>
                    <a:pt x="0" y="100"/>
                    <a:pt x="2" y="117"/>
                    <a:pt x="11" y="130"/>
                  </a:cubicBezTo>
                  <a:cubicBezTo>
                    <a:pt x="16" y="141"/>
                    <a:pt x="16" y="141"/>
                    <a:pt x="16" y="141"/>
                  </a:cubicBezTo>
                  <a:cubicBezTo>
                    <a:pt x="17" y="141"/>
                    <a:pt x="17" y="141"/>
                    <a:pt x="17" y="142"/>
                  </a:cubicBezTo>
                  <a:cubicBezTo>
                    <a:pt x="25" y="155"/>
                    <a:pt x="39" y="165"/>
                    <a:pt x="55" y="169"/>
                  </a:cubicBezTo>
                  <a:cubicBezTo>
                    <a:pt x="60" y="170"/>
                    <a:pt x="65" y="171"/>
                    <a:pt x="70" y="171"/>
                  </a:cubicBezTo>
                  <a:cubicBezTo>
                    <a:pt x="81" y="171"/>
                    <a:pt x="91" y="168"/>
                    <a:pt x="101" y="162"/>
                  </a:cubicBezTo>
                  <a:cubicBezTo>
                    <a:pt x="163" y="126"/>
                    <a:pt x="163" y="126"/>
                    <a:pt x="163" y="126"/>
                  </a:cubicBezTo>
                  <a:cubicBezTo>
                    <a:pt x="177" y="117"/>
                    <a:pt x="187" y="104"/>
                    <a:pt x="191" y="89"/>
                  </a:cubicBezTo>
                  <a:cubicBezTo>
                    <a:pt x="195" y="73"/>
                    <a:pt x="193" y="56"/>
                    <a:pt x="184" y="42"/>
                  </a:cubicBezTo>
                  <a:close/>
                  <a:moveTo>
                    <a:pt x="156" y="79"/>
                  </a:moveTo>
                  <a:cubicBezTo>
                    <a:pt x="156" y="79"/>
                    <a:pt x="156" y="79"/>
                    <a:pt x="156" y="80"/>
                  </a:cubicBezTo>
                  <a:cubicBezTo>
                    <a:pt x="154" y="86"/>
                    <a:pt x="150" y="92"/>
                    <a:pt x="145" y="95"/>
                  </a:cubicBezTo>
                  <a:cubicBezTo>
                    <a:pt x="83" y="131"/>
                    <a:pt x="83" y="131"/>
                    <a:pt x="83" y="131"/>
                  </a:cubicBezTo>
                  <a:cubicBezTo>
                    <a:pt x="79" y="134"/>
                    <a:pt x="74" y="135"/>
                    <a:pt x="70" y="135"/>
                  </a:cubicBezTo>
                  <a:cubicBezTo>
                    <a:pt x="68" y="135"/>
                    <a:pt x="66" y="135"/>
                    <a:pt x="63" y="134"/>
                  </a:cubicBezTo>
                  <a:cubicBezTo>
                    <a:pt x="57" y="132"/>
                    <a:pt x="51" y="129"/>
                    <a:pt x="48" y="123"/>
                  </a:cubicBezTo>
                  <a:cubicBezTo>
                    <a:pt x="42" y="112"/>
                    <a:pt x="42" y="112"/>
                    <a:pt x="42" y="112"/>
                  </a:cubicBezTo>
                  <a:cubicBezTo>
                    <a:pt x="42" y="112"/>
                    <a:pt x="41" y="112"/>
                    <a:pt x="41" y="112"/>
                  </a:cubicBezTo>
                  <a:cubicBezTo>
                    <a:pt x="38" y="106"/>
                    <a:pt x="37" y="100"/>
                    <a:pt x="39" y="93"/>
                  </a:cubicBezTo>
                  <a:cubicBezTo>
                    <a:pt x="40" y="87"/>
                    <a:pt x="44" y="81"/>
                    <a:pt x="50" y="78"/>
                  </a:cubicBezTo>
                  <a:cubicBezTo>
                    <a:pt x="113" y="41"/>
                    <a:pt x="113" y="41"/>
                    <a:pt x="113" y="41"/>
                  </a:cubicBezTo>
                  <a:cubicBezTo>
                    <a:pt x="118" y="38"/>
                    <a:pt x="125" y="37"/>
                    <a:pt x="131" y="39"/>
                  </a:cubicBezTo>
                  <a:cubicBezTo>
                    <a:pt x="138" y="40"/>
                    <a:pt x="144" y="45"/>
                    <a:pt x="147" y="50"/>
                  </a:cubicBezTo>
                  <a:cubicBezTo>
                    <a:pt x="153" y="61"/>
                    <a:pt x="153" y="61"/>
                    <a:pt x="153" y="61"/>
                  </a:cubicBezTo>
                  <a:cubicBezTo>
                    <a:pt x="157" y="67"/>
                    <a:pt x="158" y="73"/>
                    <a:pt x="156" y="79"/>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3" name="Freeform 24">
              <a:extLst>
                <a:ext uri="{FF2B5EF4-FFF2-40B4-BE49-F238E27FC236}">
                  <a16:creationId xmlns:a16="http://schemas.microsoft.com/office/drawing/2014/main" id="{6E09F61C-8B50-4187-B92C-42447A1E7A9E}"/>
                </a:ext>
              </a:extLst>
            </p:cNvPr>
            <p:cNvSpPr>
              <a:spLocks noEditPoints="1"/>
            </p:cNvSpPr>
            <p:nvPr/>
          </p:nvSpPr>
          <p:spPr bwMode="auto">
            <a:xfrm>
              <a:off x="2705250" y="4778222"/>
              <a:ext cx="105698" cy="95422"/>
            </a:xfrm>
            <a:custGeom>
              <a:avLst/>
              <a:gdLst>
                <a:gd name="T0" fmla="*/ 158 w 168"/>
                <a:gd name="T1" fmla="*/ 39 h 152"/>
                <a:gd name="T2" fmla="*/ 156 w 168"/>
                <a:gd name="T3" fmla="*/ 35 h 152"/>
                <a:gd name="T4" fmla="*/ 155 w 168"/>
                <a:gd name="T5" fmla="*/ 34 h 152"/>
                <a:gd name="T6" fmla="*/ 81 w 168"/>
                <a:gd name="T7" fmla="*/ 15 h 152"/>
                <a:gd name="T8" fmla="*/ 28 w 168"/>
                <a:gd name="T9" fmla="*/ 47 h 152"/>
                <a:gd name="T10" fmla="*/ 3 w 168"/>
                <a:gd name="T11" fmla="*/ 80 h 152"/>
                <a:gd name="T12" fmla="*/ 9 w 168"/>
                <a:gd name="T13" fmla="*/ 121 h 152"/>
                <a:gd name="T14" fmla="*/ 11 w 168"/>
                <a:gd name="T15" fmla="*/ 125 h 152"/>
                <a:gd name="T16" fmla="*/ 45 w 168"/>
                <a:gd name="T17" fmla="*/ 150 h 152"/>
                <a:gd name="T18" fmla="*/ 58 w 168"/>
                <a:gd name="T19" fmla="*/ 152 h 152"/>
                <a:gd name="T20" fmla="*/ 86 w 168"/>
                <a:gd name="T21" fmla="*/ 144 h 152"/>
                <a:gd name="T22" fmla="*/ 139 w 168"/>
                <a:gd name="T23" fmla="*/ 113 h 152"/>
                <a:gd name="T24" fmla="*/ 164 w 168"/>
                <a:gd name="T25" fmla="*/ 80 h 152"/>
                <a:gd name="T26" fmla="*/ 158 w 168"/>
                <a:gd name="T27" fmla="*/ 39 h 152"/>
                <a:gd name="T28" fmla="*/ 129 w 168"/>
                <a:gd name="T29" fmla="*/ 70 h 152"/>
                <a:gd name="T30" fmla="*/ 129 w 168"/>
                <a:gd name="T31" fmla="*/ 71 h 152"/>
                <a:gd name="T32" fmla="*/ 121 w 168"/>
                <a:gd name="T33" fmla="*/ 82 h 152"/>
                <a:gd name="T34" fmla="*/ 68 w 168"/>
                <a:gd name="T35" fmla="*/ 113 h 152"/>
                <a:gd name="T36" fmla="*/ 53 w 168"/>
                <a:gd name="T37" fmla="*/ 115 h 152"/>
                <a:gd name="T38" fmla="*/ 43 w 168"/>
                <a:gd name="T39" fmla="*/ 108 h 152"/>
                <a:gd name="T40" fmla="*/ 40 w 168"/>
                <a:gd name="T41" fmla="*/ 103 h 152"/>
                <a:gd name="T42" fmla="*/ 40 w 168"/>
                <a:gd name="T43" fmla="*/ 103 h 152"/>
                <a:gd name="T44" fmla="*/ 38 w 168"/>
                <a:gd name="T45" fmla="*/ 89 h 152"/>
                <a:gd name="T46" fmla="*/ 46 w 168"/>
                <a:gd name="T47" fmla="*/ 78 h 152"/>
                <a:gd name="T48" fmla="*/ 100 w 168"/>
                <a:gd name="T49" fmla="*/ 46 h 152"/>
                <a:gd name="T50" fmla="*/ 109 w 168"/>
                <a:gd name="T51" fmla="*/ 44 h 152"/>
                <a:gd name="T52" fmla="*/ 124 w 168"/>
                <a:gd name="T53" fmla="*/ 52 h 152"/>
                <a:gd name="T54" fmla="*/ 127 w 168"/>
                <a:gd name="T55" fmla="*/ 56 h 152"/>
                <a:gd name="T56" fmla="*/ 127 w 168"/>
                <a:gd name="T57" fmla="*/ 57 h 152"/>
                <a:gd name="T58" fmla="*/ 129 w 168"/>
                <a:gd name="T59" fmla="*/ 7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 h="152">
                  <a:moveTo>
                    <a:pt x="158" y="39"/>
                  </a:moveTo>
                  <a:cubicBezTo>
                    <a:pt x="156" y="35"/>
                    <a:pt x="156" y="35"/>
                    <a:pt x="156" y="35"/>
                  </a:cubicBezTo>
                  <a:cubicBezTo>
                    <a:pt x="156" y="35"/>
                    <a:pt x="156" y="34"/>
                    <a:pt x="155" y="34"/>
                  </a:cubicBezTo>
                  <a:cubicBezTo>
                    <a:pt x="140" y="9"/>
                    <a:pt x="107" y="0"/>
                    <a:pt x="81" y="15"/>
                  </a:cubicBezTo>
                  <a:cubicBezTo>
                    <a:pt x="28" y="47"/>
                    <a:pt x="28" y="47"/>
                    <a:pt x="28" y="47"/>
                  </a:cubicBezTo>
                  <a:cubicBezTo>
                    <a:pt x="16" y="54"/>
                    <a:pt x="7" y="66"/>
                    <a:pt x="3" y="80"/>
                  </a:cubicBezTo>
                  <a:cubicBezTo>
                    <a:pt x="0" y="94"/>
                    <a:pt x="2" y="109"/>
                    <a:pt x="9" y="121"/>
                  </a:cubicBezTo>
                  <a:cubicBezTo>
                    <a:pt x="11" y="125"/>
                    <a:pt x="11" y="125"/>
                    <a:pt x="11" y="125"/>
                  </a:cubicBezTo>
                  <a:cubicBezTo>
                    <a:pt x="19" y="138"/>
                    <a:pt x="30" y="147"/>
                    <a:pt x="45" y="150"/>
                  </a:cubicBezTo>
                  <a:cubicBezTo>
                    <a:pt x="49" y="151"/>
                    <a:pt x="54" y="152"/>
                    <a:pt x="58" y="152"/>
                  </a:cubicBezTo>
                  <a:cubicBezTo>
                    <a:pt x="68" y="152"/>
                    <a:pt x="78" y="149"/>
                    <a:pt x="86" y="144"/>
                  </a:cubicBezTo>
                  <a:cubicBezTo>
                    <a:pt x="139" y="113"/>
                    <a:pt x="139" y="113"/>
                    <a:pt x="139" y="113"/>
                  </a:cubicBezTo>
                  <a:cubicBezTo>
                    <a:pt x="151" y="106"/>
                    <a:pt x="160" y="94"/>
                    <a:pt x="164" y="80"/>
                  </a:cubicBezTo>
                  <a:cubicBezTo>
                    <a:pt x="168" y="66"/>
                    <a:pt x="166" y="51"/>
                    <a:pt x="158" y="39"/>
                  </a:cubicBezTo>
                  <a:close/>
                  <a:moveTo>
                    <a:pt x="129" y="70"/>
                  </a:moveTo>
                  <a:cubicBezTo>
                    <a:pt x="129" y="70"/>
                    <a:pt x="129" y="71"/>
                    <a:pt x="129" y="71"/>
                  </a:cubicBezTo>
                  <a:cubicBezTo>
                    <a:pt x="128" y="76"/>
                    <a:pt x="125" y="79"/>
                    <a:pt x="121" y="82"/>
                  </a:cubicBezTo>
                  <a:cubicBezTo>
                    <a:pt x="68" y="113"/>
                    <a:pt x="68" y="113"/>
                    <a:pt x="68" y="113"/>
                  </a:cubicBezTo>
                  <a:cubicBezTo>
                    <a:pt x="63" y="116"/>
                    <a:pt x="59" y="117"/>
                    <a:pt x="53" y="115"/>
                  </a:cubicBezTo>
                  <a:cubicBezTo>
                    <a:pt x="49" y="114"/>
                    <a:pt x="45" y="111"/>
                    <a:pt x="43" y="108"/>
                  </a:cubicBezTo>
                  <a:cubicBezTo>
                    <a:pt x="40" y="103"/>
                    <a:pt x="40" y="103"/>
                    <a:pt x="40" y="103"/>
                  </a:cubicBezTo>
                  <a:cubicBezTo>
                    <a:pt x="40" y="103"/>
                    <a:pt x="40" y="103"/>
                    <a:pt x="40" y="103"/>
                  </a:cubicBezTo>
                  <a:cubicBezTo>
                    <a:pt x="38" y="99"/>
                    <a:pt x="37" y="94"/>
                    <a:pt x="38" y="89"/>
                  </a:cubicBezTo>
                  <a:cubicBezTo>
                    <a:pt x="39" y="84"/>
                    <a:pt x="42" y="80"/>
                    <a:pt x="46" y="78"/>
                  </a:cubicBezTo>
                  <a:cubicBezTo>
                    <a:pt x="100" y="46"/>
                    <a:pt x="100" y="46"/>
                    <a:pt x="100" y="46"/>
                  </a:cubicBezTo>
                  <a:cubicBezTo>
                    <a:pt x="102" y="45"/>
                    <a:pt x="106" y="44"/>
                    <a:pt x="109" y="44"/>
                  </a:cubicBezTo>
                  <a:cubicBezTo>
                    <a:pt x="115" y="44"/>
                    <a:pt x="121" y="47"/>
                    <a:pt x="124" y="52"/>
                  </a:cubicBezTo>
                  <a:cubicBezTo>
                    <a:pt x="127" y="56"/>
                    <a:pt x="127" y="56"/>
                    <a:pt x="127" y="56"/>
                  </a:cubicBezTo>
                  <a:cubicBezTo>
                    <a:pt x="127" y="57"/>
                    <a:pt x="127" y="57"/>
                    <a:pt x="127" y="57"/>
                  </a:cubicBezTo>
                  <a:cubicBezTo>
                    <a:pt x="130" y="61"/>
                    <a:pt x="130" y="66"/>
                    <a:pt x="129" y="70"/>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4" name="Freeform 25">
              <a:extLst>
                <a:ext uri="{FF2B5EF4-FFF2-40B4-BE49-F238E27FC236}">
                  <a16:creationId xmlns:a16="http://schemas.microsoft.com/office/drawing/2014/main" id="{1292EBF5-DED1-488C-B912-D3DB17D96862}"/>
                </a:ext>
              </a:extLst>
            </p:cNvPr>
            <p:cNvSpPr>
              <a:spLocks noEditPoints="1"/>
            </p:cNvSpPr>
            <p:nvPr/>
          </p:nvSpPr>
          <p:spPr bwMode="auto">
            <a:xfrm>
              <a:off x="2756630" y="4828134"/>
              <a:ext cx="71934" cy="66062"/>
            </a:xfrm>
            <a:custGeom>
              <a:avLst/>
              <a:gdLst>
                <a:gd name="T0" fmla="*/ 107 w 115"/>
                <a:gd name="T1" fmla="*/ 28 h 106"/>
                <a:gd name="T2" fmla="*/ 107 w 115"/>
                <a:gd name="T3" fmla="*/ 27 h 106"/>
                <a:gd name="T4" fmla="*/ 42 w 115"/>
                <a:gd name="T5" fmla="*/ 13 h 106"/>
                <a:gd name="T6" fmla="*/ 27 w 115"/>
                <a:gd name="T7" fmla="*/ 21 h 106"/>
                <a:gd name="T8" fmla="*/ 27 w 115"/>
                <a:gd name="T9" fmla="*/ 21 h 106"/>
                <a:gd name="T10" fmla="*/ 4 w 115"/>
                <a:gd name="T11" fmla="*/ 49 h 106"/>
                <a:gd name="T12" fmla="*/ 8 w 115"/>
                <a:gd name="T13" fmla="*/ 85 h 106"/>
                <a:gd name="T14" fmla="*/ 38 w 115"/>
                <a:gd name="T15" fmla="*/ 105 h 106"/>
                <a:gd name="T16" fmla="*/ 39 w 115"/>
                <a:gd name="T17" fmla="*/ 105 h 106"/>
                <a:gd name="T18" fmla="*/ 48 w 115"/>
                <a:gd name="T19" fmla="*/ 106 h 106"/>
                <a:gd name="T20" fmla="*/ 74 w 115"/>
                <a:gd name="T21" fmla="*/ 99 h 106"/>
                <a:gd name="T22" fmla="*/ 88 w 115"/>
                <a:gd name="T23" fmla="*/ 91 h 106"/>
                <a:gd name="T24" fmla="*/ 111 w 115"/>
                <a:gd name="T25" fmla="*/ 63 h 106"/>
                <a:gd name="T26" fmla="*/ 107 w 115"/>
                <a:gd name="T27" fmla="*/ 28 h 106"/>
                <a:gd name="T28" fmla="*/ 77 w 115"/>
                <a:gd name="T29" fmla="*/ 52 h 106"/>
                <a:gd name="T30" fmla="*/ 71 w 115"/>
                <a:gd name="T31" fmla="*/ 60 h 106"/>
                <a:gd name="T32" fmla="*/ 70 w 115"/>
                <a:gd name="T33" fmla="*/ 60 h 106"/>
                <a:gd name="T34" fmla="*/ 56 w 115"/>
                <a:gd name="T35" fmla="*/ 68 h 106"/>
                <a:gd name="T36" fmla="*/ 48 w 115"/>
                <a:gd name="T37" fmla="*/ 70 h 106"/>
                <a:gd name="T38" fmla="*/ 45 w 115"/>
                <a:gd name="T39" fmla="*/ 70 h 106"/>
                <a:gd name="T40" fmla="*/ 39 w 115"/>
                <a:gd name="T41" fmla="*/ 66 h 106"/>
                <a:gd name="T42" fmla="*/ 39 w 115"/>
                <a:gd name="T43" fmla="*/ 65 h 106"/>
                <a:gd name="T44" fmla="*/ 38 w 115"/>
                <a:gd name="T45" fmla="*/ 60 h 106"/>
                <a:gd name="T46" fmla="*/ 45 w 115"/>
                <a:gd name="T47" fmla="*/ 52 h 106"/>
                <a:gd name="T48" fmla="*/ 59 w 115"/>
                <a:gd name="T49" fmla="*/ 44 h 106"/>
                <a:gd name="T50" fmla="*/ 76 w 115"/>
                <a:gd name="T51" fmla="*/ 46 h 106"/>
                <a:gd name="T52" fmla="*/ 77 w 115"/>
                <a:gd name="T53" fmla="*/ 5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5" h="106">
                  <a:moveTo>
                    <a:pt x="107" y="28"/>
                  </a:moveTo>
                  <a:cubicBezTo>
                    <a:pt x="107" y="27"/>
                    <a:pt x="107" y="27"/>
                    <a:pt x="107" y="27"/>
                  </a:cubicBezTo>
                  <a:cubicBezTo>
                    <a:pt x="94" y="6"/>
                    <a:pt x="65" y="0"/>
                    <a:pt x="42" y="13"/>
                  </a:cubicBezTo>
                  <a:cubicBezTo>
                    <a:pt x="27" y="21"/>
                    <a:pt x="27" y="21"/>
                    <a:pt x="27" y="21"/>
                  </a:cubicBezTo>
                  <a:cubicBezTo>
                    <a:pt x="27" y="21"/>
                    <a:pt x="27" y="21"/>
                    <a:pt x="27" y="21"/>
                  </a:cubicBezTo>
                  <a:cubicBezTo>
                    <a:pt x="16" y="28"/>
                    <a:pt x="8" y="37"/>
                    <a:pt x="4" y="49"/>
                  </a:cubicBezTo>
                  <a:cubicBezTo>
                    <a:pt x="0" y="61"/>
                    <a:pt x="2" y="74"/>
                    <a:pt x="8" y="85"/>
                  </a:cubicBezTo>
                  <a:cubicBezTo>
                    <a:pt x="15" y="95"/>
                    <a:pt x="25" y="103"/>
                    <a:pt x="38" y="105"/>
                  </a:cubicBezTo>
                  <a:cubicBezTo>
                    <a:pt x="39" y="105"/>
                    <a:pt x="39" y="105"/>
                    <a:pt x="39" y="105"/>
                  </a:cubicBezTo>
                  <a:cubicBezTo>
                    <a:pt x="42" y="106"/>
                    <a:pt x="45" y="106"/>
                    <a:pt x="48" y="106"/>
                  </a:cubicBezTo>
                  <a:cubicBezTo>
                    <a:pt x="57" y="106"/>
                    <a:pt x="66" y="104"/>
                    <a:pt x="74" y="99"/>
                  </a:cubicBezTo>
                  <a:cubicBezTo>
                    <a:pt x="88" y="91"/>
                    <a:pt x="88" y="91"/>
                    <a:pt x="88" y="91"/>
                  </a:cubicBezTo>
                  <a:cubicBezTo>
                    <a:pt x="99" y="85"/>
                    <a:pt x="108" y="75"/>
                    <a:pt x="111" y="63"/>
                  </a:cubicBezTo>
                  <a:cubicBezTo>
                    <a:pt x="115" y="51"/>
                    <a:pt x="114" y="39"/>
                    <a:pt x="107" y="28"/>
                  </a:cubicBezTo>
                  <a:close/>
                  <a:moveTo>
                    <a:pt x="77" y="52"/>
                  </a:moveTo>
                  <a:cubicBezTo>
                    <a:pt x="76" y="55"/>
                    <a:pt x="74" y="58"/>
                    <a:pt x="71" y="60"/>
                  </a:cubicBezTo>
                  <a:cubicBezTo>
                    <a:pt x="71" y="60"/>
                    <a:pt x="70" y="60"/>
                    <a:pt x="70" y="60"/>
                  </a:cubicBezTo>
                  <a:cubicBezTo>
                    <a:pt x="56" y="68"/>
                    <a:pt x="56" y="68"/>
                    <a:pt x="56" y="68"/>
                  </a:cubicBezTo>
                  <a:cubicBezTo>
                    <a:pt x="54" y="69"/>
                    <a:pt x="51" y="70"/>
                    <a:pt x="48" y="70"/>
                  </a:cubicBezTo>
                  <a:cubicBezTo>
                    <a:pt x="47" y="70"/>
                    <a:pt x="46" y="70"/>
                    <a:pt x="45" y="70"/>
                  </a:cubicBezTo>
                  <a:cubicBezTo>
                    <a:pt x="42" y="69"/>
                    <a:pt x="40" y="68"/>
                    <a:pt x="39" y="66"/>
                  </a:cubicBezTo>
                  <a:cubicBezTo>
                    <a:pt x="39" y="66"/>
                    <a:pt x="39" y="66"/>
                    <a:pt x="39" y="65"/>
                  </a:cubicBezTo>
                  <a:cubicBezTo>
                    <a:pt x="38" y="64"/>
                    <a:pt x="38" y="62"/>
                    <a:pt x="38" y="60"/>
                  </a:cubicBezTo>
                  <a:cubicBezTo>
                    <a:pt x="39" y="57"/>
                    <a:pt x="42" y="54"/>
                    <a:pt x="45" y="52"/>
                  </a:cubicBezTo>
                  <a:cubicBezTo>
                    <a:pt x="59" y="44"/>
                    <a:pt x="59" y="44"/>
                    <a:pt x="59" y="44"/>
                  </a:cubicBezTo>
                  <a:cubicBezTo>
                    <a:pt x="66" y="40"/>
                    <a:pt x="74" y="42"/>
                    <a:pt x="76" y="46"/>
                  </a:cubicBezTo>
                  <a:cubicBezTo>
                    <a:pt x="78" y="48"/>
                    <a:pt x="78" y="50"/>
                    <a:pt x="77" y="52"/>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5" name="Freeform 26">
              <a:extLst>
                <a:ext uri="{FF2B5EF4-FFF2-40B4-BE49-F238E27FC236}">
                  <a16:creationId xmlns:a16="http://schemas.microsoft.com/office/drawing/2014/main" id="{03E31498-8D68-487B-9A7E-478C89A593CE}"/>
                </a:ext>
              </a:extLst>
            </p:cNvPr>
            <p:cNvSpPr>
              <a:spLocks noEditPoints="1"/>
            </p:cNvSpPr>
            <p:nvPr/>
          </p:nvSpPr>
          <p:spPr bwMode="auto">
            <a:xfrm>
              <a:off x="2442473" y="4400940"/>
              <a:ext cx="190843" cy="352326"/>
            </a:xfrm>
            <a:custGeom>
              <a:avLst/>
              <a:gdLst>
                <a:gd name="T0" fmla="*/ 296 w 305"/>
                <a:gd name="T1" fmla="*/ 53 h 565"/>
                <a:gd name="T2" fmla="*/ 293 w 305"/>
                <a:gd name="T3" fmla="*/ 46 h 565"/>
                <a:gd name="T4" fmla="*/ 262 w 305"/>
                <a:gd name="T5" fmla="*/ 22 h 565"/>
                <a:gd name="T6" fmla="*/ 193 w 305"/>
                <a:gd name="T7" fmla="*/ 4 h 565"/>
                <a:gd name="T8" fmla="*/ 155 w 305"/>
                <a:gd name="T9" fmla="*/ 9 h 565"/>
                <a:gd name="T10" fmla="*/ 148 w 305"/>
                <a:gd name="T11" fmla="*/ 13 h 565"/>
                <a:gd name="T12" fmla="*/ 124 w 305"/>
                <a:gd name="T13" fmla="*/ 43 h 565"/>
                <a:gd name="T14" fmla="*/ 4 w 305"/>
                <a:gd name="T15" fmla="*/ 474 h 565"/>
                <a:gd name="T16" fmla="*/ 9 w 305"/>
                <a:gd name="T17" fmla="*/ 513 h 565"/>
                <a:gd name="T18" fmla="*/ 13 w 305"/>
                <a:gd name="T19" fmla="*/ 519 h 565"/>
                <a:gd name="T20" fmla="*/ 44 w 305"/>
                <a:gd name="T21" fmla="*/ 543 h 565"/>
                <a:gd name="T22" fmla="*/ 117 w 305"/>
                <a:gd name="T23" fmla="*/ 563 h 565"/>
                <a:gd name="T24" fmla="*/ 131 w 305"/>
                <a:gd name="T25" fmla="*/ 565 h 565"/>
                <a:gd name="T26" fmla="*/ 180 w 305"/>
                <a:gd name="T27" fmla="*/ 528 h 565"/>
                <a:gd name="T28" fmla="*/ 301 w 305"/>
                <a:gd name="T29" fmla="*/ 92 h 565"/>
                <a:gd name="T30" fmla="*/ 296 w 305"/>
                <a:gd name="T31" fmla="*/ 53 h 565"/>
                <a:gd name="T32" fmla="*/ 267 w 305"/>
                <a:gd name="T33" fmla="*/ 82 h 565"/>
                <a:gd name="T34" fmla="*/ 145 w 305"/>
                <a:gd name="T35" fmla="*/ 518 h 565"/>
                <a:gd name="T36" fmla="*/ 127 w 305"/>
                <a:gd name="T37" fmla="*/ 529 h 565"/>
                <a:gd name="T38" fmla="*/ 53 w 305"/>
                <a:gd name="T39" fmla="*/ 509 h 565"/>
                <a:gd name="T40" fmla="*/ 44 w 305"/>
                <a:gd name="T41" fmla="*/ 502 h 565"/>
                <a:gd name="T42" fmla="*/ 44 w 305"/>
                <a:gd name="T43" fmla="*/ 502 h 565"/>
                <a:gd name="T44" fmla="*/ 40 w 305"/>
                <a:gd name="T45" fmla="*/ 495 h 565"/>
                <a:gd name="T46" fmla="*/ 39 w 305"/>
                <a:gd name="T47" fmla="*/ 484 h 565"/>
                <a:gd name="T48" fmla="*/ 159 w 305"/>
                <a:gd name="T49" fmla="*/ 53 h 565"/>
                <a:gd name="T50" fmla="*/ 166 w 305"/>
                <a:gd name="T51" fmla="*/ 44 h 565"/>
                <a:gd name="T52" fmla="*/ 173 w 305"/>
                <a:gd name="T53" fmla="*/ 40 h 565"/>
                <a:gd name="T54" fmla="*/ 180 w 305"/>
                <a:gd name="T55" fmla="*/ 38 h 565"/>
                <a:gd name="T56" fmla="*/ 184 w 305"/>
                <a:gd name="T57" fmla="*/ 39 h 565"/>
                <a:gd name="T58" fmla="*/ 252 w 305"/>
                <a:gd name="T59" fmla="*/ 57 h 565"/>
                <a:gd name="T60" fmla="*/ 261 w 305"/>
                <a:gd name="T61" fmla="*/ 64 h 565"/>
                <a:gd name="T62" fmla="*/ 265 w 305"/>
                <a:gd name="T63" fmla="*/ 71 h 565"/>
                <a:gd name="T64" fmla="*/ 267 w 305"/>
                <a:gd name="T65" fmla="*/ 82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5" h="565">
                  <a:moveTo>
                    <a:pt x="296" y="53"/>
                  </a:moveTo>
                  <a:cubicBezTo>
                    <a:pt x="293" y="46"/>
                    <a:pt x="293" y="46"/>
                    <a:pt x="293" y="46"/>
                  </a:cubicBezTo>
                  <a:cubicBezTo>
                    <a:pt x="286" y="35"/>
                    <a:pt x="275" y="26"/>
                    <a:pt x="262" y="22"/>
                  </a:cubicBezTo>
                  <a:cubicBezTo>
                    <a:pt x="193" y="4"/>
                    <a:pt x="193" y="4"/>
                    <a:pt x="193" y="4"/>
                  </a:cubicBezTo>
                  <a:cubicBezTo>
                    <a:pt x="180" y="0"/>
                    <a:pt x="167" y="2"/>
                    <a:pt x="155" y="9"/>
                  </a:cubicBezTo>
                  <a:cubicBezTo>
                    <a:pt x="148" y="13"/>
                    <a:pt x="148" y="13"/>
                    <a:pt x="148" y="13"/>
                  </a:cubicBezTo>
                  <a:cubicBezTo>
                    <a:pt x="136" y="19"/>
                    <a:pt x="128" y="30"/>
                    <a:pt x="124" y="43"/>
                  </a:cubicBezTo>
                  <a:cubicBezTo>
                    <a:pt x="4" y="474"/>
                    <a:pt x="4" y="474"/>
                    <a:pt x="4" y="474"/>
                  </a:cubicBezTo>
                  <a:cubicBezTo>
                    <a:pt x="0" y="487"/>
                    <a:pt x="2" y="501"/>
                    <a:pt x="9" y="513"/>
                  </a:cubicBezTo>
                  <a:cubicBezTo>
                    <a:pt x="13" y="519"/>
                    <a:pt x="13" y="519"/>
                    <a:pt x="13" y="519"/>
                  </a:cubicBezTo>
                  <a:cubicBezTo>
                    <a:pt x="19" y="531"/>
                    <a:pt x="31" y="540"/>
                    <a:pt x="44" y="543"/>
                  </a:cubicBezTo>
                  <a:cubicBezTo>
                    <a:pt x="117" y="563"/>
                    <a:pt x="117" y="563"/>
                    <a:pt x="117" y="563"/>
                  </a:cubicBezTo>
                  <a:cubicBezTo>
                    <a:pt x="122" y="565"/>
                    <a:pt x="126" y="565"/>
                    <a:pt x="131" y="565"/>
                  </a:cubicBezTo>
                  <a:cubicBezTo>
                    <a:pt x="153" y="565"/>
                    <a:pt x="173" y="550"/>
                    <a:pt x="180" y="528"/>
                  </a:cubicBezTo>
                  <a:cubicBezTo>
                    <a:pt x="301" y="92"/>
                    <a:pt x="301" y="92"/>
                    <a:pt x="301" y="92"/>
                  </a:cubicBezTo>
                  <a:cubicBezTo>
                    <a:pt x="305" y="79"/>
                    <a:pt x="303" y="65"/>
                    <a:pt x="296" y="53"/>
                  </a:cubicBezTo>
                  <a:close/>
                  <a:moveTo>
                    <a:pt x="267" y="82"/>
                  </a:moveTo>
                  <a:cubicBezTo>
                    <a:pt x="145" y="518"/>
                    <a:pt x="145" y="518"/>
                    <a:pt x="145" y="518"/>
                  </a:cubicBezTo>
                  <a:cubicBezTo>
                    <a:pt x="143" y="526"/>
                    <a:pt x="135" y="531"/>
                    <a:pt x="127" y="529"/>
                  </a:cubicBezTo>
                  <a:cubicBezTo>
                    <a:pt x="53" y="509"/>
                    <a:pt x="53" y="509"/>
                    <a:pt x="53" y="509"/>
                  </a:cubicBezTo>
                  <a:cubicBezTo>
                    <a:pt x="49" y="508"/>
                    <a:pt x="46" y="505"/>
                    <a:pt x="44" y="502"/>
                  </a:cubicBezTo>
                  <a:cubicBezTo>
                    <a:pt x="44" y="502"/>
                    <a:pt x="44" y="502"/>
                    <a:pt x="44" y="502"/>
                  </a:cubicBezTo>
                  <a:cubicBezTo>
                    <a:pt x="40" y="495"/>
                    <a:pt x="40" y="495"/>
                    <a:pt x="40" y="495"/>
                  </a:cubicBezTo>
                  <a:cubicBezTo>
                    <a:pt x="38" y="491"/>
                    <a:pt x="38" y="487"/>
                    <a:pt x="39" y="484"/>
                  </a:cubicBezTo>
                  <a:cubicBezTo>
                    <a:pt x="159" y="53"/>
                    <a:pt x="159" y="53"/>
                    <a:pt x="159" y="53"/>
                  </a:cubicBezTo>
                  <a:cubicBezTo>
                    <a:pt x="160" y="49"/>
                    <a:pt x="162" y="46"/>
                    <a:pt x="166" y="44"/>
                  </a:cubicBezTo>
                  <a:cubicBezTo>
                    <a:pt x="173" y="40"/>
                    <a:pt x="173" y="40"/>
                    <a:pt x="173" y="40"/>
                  </a:cubicBezTo>
                  <a:cubicBezTo>
                    <a:pt x="175" y="39"/>
                    <a:pt x="178" y="38"/>
                    <a:pt x="180" y="38"/>
                  </a:cubicBezTo>
                  <a:cubicBezTo>
                    <a:pt x="181" y="38"/>
                    <a:pt x="183" y="38"/>
                    <a:pt x="184" y="39"/>
                  </a:cubicBezTo>
                  <a:cubicBezTo>
                    <a:pt x="252" y="57"/>
                    <a:pt x="252" y="57"/>
                    <a:pt x="252" y="57"/>
                  </a:cubicBezTo>
                  <a:cubicBezTo>
                    <a:pt x="256" y="58"/>
                    <a:pt x="259" y="61"/>
                    <a:pt x="261" y="64"/>
                  </a:cubicBezTo>
                  <a:cubicBezTo>
                    <a:pt x="265" y="71"/>
                    <a:pt x="265" y="71"/>
                    <a:pt x="265" y="71"/>
                  </a:cubicBezTo>
                  <a:cubicBezTo>
                    <a:pt x="267" y="74"/>
                    <a:pt x="268" y="78"/>
                    <a:pt x="267" y="82"/>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6" name="Freeform 27">
              <a:extLst>
                <a:ext uri="{FF2B5EF4-FFF2-40B4-BE49-F238E27FC236}">
                  <a16:creationId xmlns:a16="http://schemas.microsoft.com/office/drawing/2014/main" id="{3FDEA839-953C-408B-A4A5-202ED29C22F5}"/>
                </a:ext>
              </a:extLst>
            </p:cNvPr>
            <p:cNvSpPr>
              <a:spLocks noEditPoints="1"/>
            </p:cNvSpPr>
            <p:nvPr/>
          </p:nvSpPr>
          <p:spPr bwMode="auto">
            <a:xfrm>
              <a:off x="3054639" y="4400940"/>
              <a:ext cx="189376" cy="352326"/>
            </a:xfrm>
            <a:custGeom>
              <a:avLst/>
              <a:gdLst>
                <a:gd name="T0" fmla="*/ 301 w 305"/>
                <a:gd name="T1" fmla="*/ 474 h 565"/>
                <a:gd name="T2" fmla="*/ 181 w 305"/>
                <a:gd name="T3" fmla="*/ 43 h 565"/>
                <a:gd name="T4" fmla="*/ 157 w 305"/>
                <a:gd name="T5" fmla="*/ 13 h 565"/>
                <a:gd name="T6" fmla="*/ 150 w 305"/>
                <a:gd name="T7" fmla="*/ 9 h 565"/>
                <a:gd name="T8" fmla="*/ 112 w 305"/>
                <a:gd name="T9" fmla="*/ 4 h 565"/>
                <a:gd name="T10" fmla="*/ 43 w 305"/>
                <a:gd name="T11" fmla="*/ 22 h 565"/>
                <a:gd name="T12" fmla="*/ 12 w 305"/>
                <a:gd name="T13" fmla="*/ 46 h 565"/>
                <a:gd name="T14" fmla="*/ 8 w 305"/>
                <a:gd name="T15" fmla="*/ 53 h 565"/>
                <a:gd name="T16" fmla="*/ 4 w 305"/>
                <a:gd name="T17" fmla="*/ 92 h 565"/>
                <a:gd name="T18" fmla="*/ 125 w 305"/>
                <a:gd name="T19" fmla="*/ 528 h 565"/>
                <a:gd name="T20" fmla="*/ 174 w 305"/>
                <a:gd name="T21" fmla="*/ 565 h 565"/>
                <a:gd name="T22" fmla="*/ 188 w 305"/>
                <a:gd name="T23" fmla="*/ 563 h 565"/>
                <a:gd name="T24" fmla="*/ 261 w 305"/>
                <a:gd name="T25" fmla="*/ 543 h 565"/>
                <a:gd name="T26" fmla="*/ 261 w 305"/>
                <a:gd name="T27" fmla="*/ 543 h 565"/>
                <a:gd name="T28" fmla="*/ 292 w 305"/>
                <a:gd name="T29" fmla="*/ 519 h 565"/>
                <a:gd name="T30" fmla="*/ 296 w 305"/>
                <a:gd name="T31" fmla="*/ 513 h 565"/>
                <a:gd name="T32" fmla="*/ 301 w 305"/>
                <a:gd name="T33" fmla="*/ 474 h 565"/>
                <a:gd name="T34" fmla="*/ 265 w 305"/>
                <a:gd name="T35" fmla="*/ 495 h 565"/>
                <a:gd name="T36" fmla="*/ 261 w 305"/>
                <a:gd name="T37" fmla="*/ 502 h 565"/>
                <a:gd name="T38" fmla="*/ 252 w 305"/>
                <a:gd name="T39" fmla="*/ 509 h 565"/>
                <a:gd name="T40" fmla="*/ 252 w 305"/>
                <a:gd name="T41" fmla="*/ 509 h 565"/>
                <a:gd name="T42" fmla="*/ 178 w 305"/>
                <a:gd name="T43" fmla="*/ 529 h 565"/>
                <a:gd name="T44" fmla="*/ 160 w 305"/>
                <a:gd name="T45" fmla="*/ 518 h 565"/>
                <a:gd name="T46" fmla="*/ 38 w 305"/>
                <a:gd name="T47" fmla="*/ 82 h 565"/>
                <a:gd name="T48" fmla="*/ 40 w 305"/>
                <a:gd name="T49" fmla="*/ 71 h 565"/>
                <a:gd name="T50" fmla="*/ 44 w 305"/>
                <a:gd name="T51" fmla="*/ 64 h 565"/>
                <a:gd name="T52" fmla="*/ 53 w 305"/>
                <a:gd name="T53" fmla="*/ 57 h 565"/>
                <a:gd name="T54" fmla="*/ 121 w 305"/>
                <a:gd name="T55" fmla="*/ 39 h 565"/>
                <a:gd name="T56" fmla="*/ 125 w 305"/>
                <a:gd name="T57" fmla="*/ 38 h 565"/>
                <a:gd name="T58" fmla="*/ 132 w 305"/>
                <a:gd name="T59" fmla="*/ 40 h 565"/>
                <a:gd name="T60" fmla="*/ 139 w 305"/>
                <a:gd name="T61" fmla="*/ 44 h 565"/>
                <a:gd name="T62" fmla="*/ 146 w 305"/>
                <a:gd name="T63" fmla="*/ 53 h 565"/>
                <a:gd name="T64" fmla="*/ 266 w 305"/>
                <a:gd name="T65" fmla="*/ 484 h 565"/>
                <a:gd name="T66" fmla="*/ 265 w 305"/>
                <a:gd name="T67" fmla="*/ 495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565">
                  <a:moveTo>
                    <a:pt x="301" y="474"/>
                  </a:moveTo>
                  <a:cubicBezTo>
                    <a:pt x="181" y="43"/>
                    <a:pt x="181" y="43"/>
                    <a:pt x="181" y="43"/>
                  </a:cubicBezTo>
                  <a:cubicBezTo>
                    <a:pt x="177" y="30"/>
                    <a:pt x="169" y="19"/>
                    <a:pt x="157" y="13"/>
                  </a:cubicBezTo>
                  <a:cubicBezTo>
                    <a:pt x="150" y="9"/>
                    <a:pt x="150" y="9"/>
                    <a:pt x="150" y="9"/>
                  </a:cubicBezTo>
                  <a:cubicBezTo>
                    <a:pt x="138" y="2"/>
                    <a:pt x="125" y="0"/>
                    <a:pt x="112" y="4"/>
                  </a:cubicBezTo>
                  <a:cubicBezTo>
                    <a:pt x="43" y="22"/>
                    <a:pt x="43" y="22"/>
                    <a:pt x="43" y="22"/>
                  </a:cubicBezTo>
                  <a:cubicBezTo>
                    <a:pt x="30" y="26"/>
                    <a:pt x="19" y="35"/>
                    <a:pt x="12" y="46"/>
                  </a:cubicBezTo>
                  <a:cubicBezTo>
                    <a:pt x="8" y="53"/>
                    <a:pt x="8" y="53"/>
                    <a:pt x="8" y="53"/>
                  </a:cubicBezTo>
                  <a:cubicBezTo>
                    <a:pt x="2" y="65"/>
                    <a:pt x="0" y="79"/>
                    <a:pt x="4" y="92"/>
                  </a:cubicBezTo>
                  <a:cubicBezTo>
                    <a:pt x="125" y="528"/>
                    <a:pt x="125" y="528"/>
                    <a:pt x="125" y="528"/>
                  </a:cubicBezTo>
                  <a:cubicBezTo>
                    <a:pt x="132" y="550"/>
                    <a:pt x="152" y="565"/>
                    <a:pt x="174" y="565"/>
                  </a:cubicBezTo>
                  <a:cubicBezTo>
                    <a:pt x="179" y="565"/>
                    <a:pt x="183" y="565"/>
                    <a:pt x="188" y="563"/>
                  </a:cubicBezTo>
                  <a:cubicBezTo>
                    <a:pt x="261" y="543"/>
                    <a:pt x="261" y="543"/>
                    <a:pt x="261" y="543"/>
                  </a:cubicBezTo>
                  <a:cubicBezTo>
                    <a:pt x="261" y="543"/>
                    <a:pt x="261" y="543"/>
                    <a:pt x="261" y="543"/>
                  </a:cubicBezTo>
                  <a:cubicBezTo>
                    <a:pt x="274" y="540"/>
                    <a:pt x="286" y="531"/>
                    <a:pt x="292" y="519"/>
                  </a:cubicBezTo>
                  <a:cubicBezTo>
                    <a:pt x="296" y="513"/>
                    <a:pt x="296" y="513"/>
                    <a:pt x="296" y="513"/>
                  </a:cubicBezTo>
                  <a:cubicBezTo>
                    <a:pt x="303" y="501"/>
                    <a:pt x="305" y="487"/>
                    <a:pt x="301" y="474"/>
                  </a:cubicBezTo>
                  <a:close/>
                  <a:moveTo>
                    <a:pt x="265" y="495"/>
                  </a:moveTo>
                  <a:cubicBezTo>
                    <a:pt x="261" y="502"/>
                    <a:pt x="261" y="502"/>
                    <a:pt x="261" y="502"/>
                  </a:cubicBezTo>
                  <a:cubicBezTo>
                    <a:pt x="259" y="505"/>
                    <a:pt x="256" y="508"/>
                    <a:pt x="252" y="509"/>
                  </a:cubicBezTo>
                  <a:cubicBezTo>
                    <a:pt x="252" y="509"/>
                    <a:pt x="252" y="509"/>
                    <a:pt x="252" y="509"/>
                  </a:cubicBezTo>
                  <a:cubicBezTo>
                    <a:pt x="178" y="529"/>
                    <a:pt x="178" y="529"/>
                    <a:pt x="178" y="529"/>
                  </a:cubicBezTo>
                  <a:cubicBezTo>
                    <a:pt x="170" y="531"/>
                    <a:pt x="162" y="526"/>
                    <a:pt x="160" y="518"/>
                  </a:cubicBezTo>
                  <a:cubicBezTo>
                    <a:pt x="38" y="82"/>
                    <a:pt x="38" y="82"/>
                    <a:pt x="38" y="82"/>
                  </a:cubicBezTo>
                  <a:cubicBezTo>
                    <a:pt x="37" y="78"/>
                    <a:pt x="38" y="74"/>
                    <a:pt x="40" y="71"/>
                  </a:cubicBezTo>
                  <a:cubicBezTo>
                    <a:pt x="44" y="64"/>
                    <a:pt x="44" y="64"/>
                    <a:pt x="44" y="64"/>
                  </a:cubicBezTo>
                  <a:cubicBezTo>
                    <a:pt x="46" y="61"/>
                    <a:pt x="49" y="58"/>
                    <a:pt x="53" y="57"/>
                  </a:cubicBezTo>
                  <a:cubicBezTo>
                    <a:pt x="121" y="39"/>
                    <a:pt x="121" y="39"/>
                    <a:pt x="121" y="39"/>
                  </a:cubicBezTo>
                  <a:cubicBezTo>
                    <a:pt x="122" y="38"/>
                    <a:pt x="124" y="38"/>
                    <a:pt x="125" y="38"/>
                  </a:cubicBezTo>
                  <a:cubicBezTo>
                    <a:pt x="127" y="38"/>
                    <a:pt x="130" y="39"/>
                    <a:pt x="132" y="40"/>
                  </a:cubicBezTo>
                  <a:cubicBezTo>
                    <a:pt x="139" y="44"/>
                    <a:pt x="139" y="44"/>
                    <a:pt x="139" y="44"/>
                  </a:cubicBezTo>
                  <a:cubicBezTo>
                    <a:pt x="143" y="46"/>
                    <a:pt x="145" y="49"/>
                    <a:pt x="146" y="53"/>
                  </a:cubicBezTo>
                  <a:cubicBezTo>
                    <a:pt x="266" y="484"/>
                    <a:pt x="266" y="484"/>
                    <a:pt x="266" y="484"/>
                  </a:cubicBezTo>
                  <a:cubicBezTo>
                    <a:pt x="267" y="487"/>
                    <a:pt x="267" y="491"/>
                    <a:pt x="265" y="495"/>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7" name="Freeform 28">
              <a:extLst>
                <a:ext uri="{FF2B5EF4-FFF2-40B4-BE49-F238E27FC236}">
                  <a16:creationId xmlns:a16="http://schemas.microsoft.com/office/drawing/2014/main" id="{67FCDC61-12C7-4E8A-8342-44FB8CE4B961}"/>
                </a:ext>
              </a:extLst>
            </p:cNvPr>
            <p:cNvSpPr>
              <a:spLocks/>
            </p:cNvSpPr>
            <p:nvPr/>
          </p:nvSpPr>
          <p:spPr bwMode="auto">
            <a:xfrm>
              <a:off x="2860860" y="4665184"/>
              <a:ext cx="206992" cy="126250"/>
            </a:xfrm>
            <a:custGeom>
              <a:avLst/>
              <a:gdLst>
                <a:gd name="T0" fmla="*/ 241 w 333"/>
                <a:gd name="T1" fmla="*/ 202 h 202"/>
                <a:gd name="T2" fmla="*/ 178 w 333"/>
                <a:gd name="T3" fmla="*/ 179 h 202"/>
                <a:gd name="T4" fmla="*/ 8 w 333"/>
                <a:gd name="T5" fmla="*/ 34 h 202"/>
                <a:gd name="T6" fmla="*/ 6 w 333"/>
                <a:gd name="T7" fmla="*/ 9 h 202"/>
                <a:gd name="T8" fmla="*/ 32 w 333"/>
                <a:gd name="T9" fmla="*/ 7 h 202"/>
                <a:gd name="T10" fmla="*/ 201 w 333"/>
                <a:gd name="T11" fmla="*/ 152 h 202"/>
                <a:gd name="T12" fmla="*/ 246 w 333"/>
                <a:gd name="T13" fmla="*/ 166 h 202"/>
                <a:gd name="T14" fmla="*/ 288 w 333"/>
                <a:gd name="T15" fmla="*/ 145 h 202"/>
                <a:gd name="T16" fmla="*/ 291 w 333"/>
                <a:gd name="T17" fmla="*/ 134 h 202"/>
                <a:gd name="T18" fmla="*/ 286 w 333"/>
                <a:gd name="T19" fmla="*/ 124 h 202"/>
                <a:gd name="T20" fmla="*/ 268 w 333"/>
                <a:gd name="T21" fmla="*/ 109 h 202"/>
                <a:gd name="T22" fmla="*/ 266 w 333"/>
                <a:gd name="T23" fmla="*/ 84 h 202"/>
                <a:gd name="T24" fmla="*/ 291 w 333"/>
                <a:gd name="T25" fmla="*/ 82 h 202"/>
                <a:gd name="T26" fmla="*/ 309 w 333"/>
                <a:gd name="T27" fmla="*/ 96 h 202"/>
                <a:gd name="T28" fmla="*/ 315 w 333"/>
                <a:gd name="T29" fmla="*/ 168 h 202"/>
                <a:gd name="T30" fmla="*/ 249 w 333"/>
                <a:gd name="T31" fmla="*/ 202 h 202"/>
                <a:gd name="T32" fmla="*/ 241 w 333"/>
                <a:gd name="T33"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3" h="202">
                  <a:moveTo>
                    <a:pt x="241" y="202"/>
                  </a:moveTo>
                  <a:cubicBezTo>
                    <a:pt x="218" y="202"/>
                    <a:pt x="196" y="194"/>
                    <a:pt x="178" y="179"/>
                  </a:cubicBezTo>
                  <a:cubicBezTo>
                    <a:pt x="8" y="34"/>
                    <a:pt x="8" y="34"/>
                    <a:pt x="8" y="34"/>
                  </a:cubicBezTo>
                  <a:cubicBezTo>
                    <a:pt x="1" y="27"/>
                    <a:pt x="0" y="16"/>
                    <a:pt x="6" y="9"/>
                  </a:cubicBezTo>
                  <a:cubicBezTo>
                    <a:pt x="13" y="1"/>
                    <a:pt x="24" y="0"/>
                    <a:pt x="32" y="7"/>
                  </a:cubicBezTo>
                  <a:cubicBezTo>
                    <a:pt x="201" y="152"/>
                    <a:pt x="201" y="152"/>
                    <a:pt x="201" y="152"/>
                  </a:cubicBezTo>
                  <a:cubicBezTo>
                    <a:pt x="214" y="162"/>
                    <a:pt x="230" y="167"/>
                    <a:pt x="246" y="166"/>
                  </a:cubicBezTo>
                  <a:cubicBezTo>
                    <a:pt x="262" y="165"/>
                    <a:pt x="277" y="157"/>
                    <a:pt x="288" y="145"/>
                  </a:cubicBezTo>
                  <a:cubicBezTo>
                    <a:pt x="290" y="142"/>
                    <a:pt x="292" y="138"/>
                    <a:pt x="291" y="134"/>
                  </a:cubicBezTo>
                  <a:cubicBezTo>
                    <a:pt x="291" y="130"/>
                    <a:pt x="289" y="127"/>
                    <a:pt x="286" y="124"/>
                  </a:cubicBezTo>
                  <a:cubicBezTo>
                    <a:pt x="268" y="109"/>
                    <a:pt x="268" y="109"/>
                    <a:pt x="268" y="109"/>
                  </a:cubicBezTo>
                  <a:cubicBezTo>
                    <a:pt x="261" y="103"/>
                    <a:pt x="260" y="92"/>
                    <a:pt x="266" y="84"/>
                  </a:cubicBezTo>
                  <a:cubicBezTo>
                    <a:pt x="272" y="76"/>
                    <a:pt x="284" y="75"/>
                    <a:pt x="291" y="82"/>
                  </a:cubicBezTo>
                  <a:cubicBezTo>
                    <a:pt x="309" y="96"/>
                    <a:pt x="309" y="96"/>
                    <a:pt x="309" y="96"/>
                  </a:cubicBezTo>
                  <a:cubicBezTo>
                    <a:pt x="331" y="115"/>
                    <a:pt x="333" y="147"/>
                    <a:pt x="315" y="168"/>
                  </a:cubicBezTo>
                  <a:cubicBezTo>
                    <a:pt x="298" y="188"/>
                    <a:pt x="275" y="200"/>
                    <a:pt x="249" y="202"/>
                  </a:cubicBezTo>
                  <a:cubicBezTo>
                    <a:pt x="246" y="202"/>
                    <a:pt x="244" y="202"/>
                    <a:pt x="241" y="202"/>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8" name="Freeform 29">
              <a:extLst>
                <a:ext uri="{FF2B5EF4-FFF2-40B4-BE49-F238E27FC236}">
                  <a16:creationId xmlns:a16="http://schemas.microsoft.com/office/drawing/2014/main" id="{FBB19207-F2CE-4301-88D9-36867D9049A2}"/>
                </a:ext>
              </a:extLst>
            </p:cNvPr>
            <p:cNvSpPr>
              <a:spLocks/>
            </p:cNvSpPr>
            <p:nvPr/>
          </p:nvSpPr>
          <p:spPr bwMode="auto">
            <a:xfrm>
              <a:off x="2840308" y="4649036"/>
              <a:ext cx="171759" cy="190843"/>
            </a:xfrm>
            <a:custGeom>
              <a:avLst/>
              <a:gdLst>
                <a:gd name="T0" fmla="*/ 199 w 275"/>
                <a:gd name="T1" fmla="*/ 306 h 306"/>
                <a:gd name="T2" fmla="*/ 155 w 275"/>
                <a:gd name="T3" fmla="*/ 290 h 306"/>
                <a:gd name="T4" fmla="*/ 139 w 275"/>
                <a:gd name="T5" fmla="*/ 276 h 306"/>
                <a:gd name="T6" fmla="*/ 137 w 275"/>
                <a:gd name="T7" fmla="*/ 251 h 306"/>
                <a:gd name="T8" fmla="*/ 163 w 275"/>
                <a:gd name="T9" fmla="*/ 249 h 306"/>
                <a:gd name="T10" fmla="*/ 179 w 275"/>
                <a:gd name="T11" fmla="*/ 262 h 306"/>
                <a:gd name="T12" fmla="*/ 202 w 275"/>
                <a:gd name="T13" fmla="*/ 270 h 306"/>
                <a:gd name="T14" fmla="*/ 223 w 275"/>
                <a:gd name="T15" fmla="*/ 259 h 306"/>
                <a:gd name="T16" fmla="*/ 231 w 275"/>
                <a:gd name="T17" fmla="*/ 236 h 306"/>
                <a:gd name="T18" fmla="*/ 220 w 275"/>
                <a:gd name="T19" fmla="*/ 214 h 306"/>
                <a:gd name="T20" fmla="*/ 8 w 275"/>
                <a:gd name="T21" fmla="*/ 34 h 306"/>
                <a:gd name="T22" fmla="*/ 6 w 275"/>
                <a:gd name="T23" fmla="*/ 8 h 306"/>
                <a:gd name="T24" fmla="*/ 32 w 275"/>
                <a:gd name="T25" fmla="*/ 6 h 306"/>
                <a:gd name="T26" fmla="*/ 243 w 275"/>
                <a:gd name="T27" fmla="*/ 187 h 306"/>
                <a:gd name="T28" fmla="*/ 251 w 275"/>
                <a:gd name="T29" fmla="*/ 282 h 306"/>
                <a:gd name="T30" fmla="*/ 205 w 275"/>
                <a:gd name="T31" fmla="*/ 306 h 306"/>
                <a:gd name="T32" fmla="*/ 199 w 275"/>
                <a:gd name="T33"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5" h="306">
                  <a:moveTo>
                    <a:pt x="199" y="306"/>
                  </a:moveTo>
                  <a:cubicBezTo>
                    <a:pt x="183" y="306"/>
                    <a:pt x="168" y="300"/>
                    <a:pt x="155" y="290"/>
                  </a:cubicBezTo>
                  <a:cubicBezTo>
                    <a:pt x="139" y="276"/>
                    <a:pt x="139" y="276"/>
                    <a:pt x="139" y="276"/>
                  </a:cubicBezTo>
                  <a:cubicBezTo>
                    <a:pt x="132" y="270"/>
                    <a:pt x="131" y="258"/>
                    <a:pt x="137" y="251"/>
                  </a:cubicBezTo>
                  <a:cubicBezTo>
                    <a:pt x="144" y="243"/>
                    <a:pt x="155" y="242"/>
                    <a:pt x="163" y="249"/>
                  </a:cubicBezTo>
                  <a:cubicBezTo>
                    <a:pt x="179" y="262"/>
                    <a:pt x="179" y="262"/>
                    <a:pt x="179" y="262"/>
                  </a:cubicBezTo>
                  <a:cubicBezTo>
                    <a:pt x="185" y="268"/>
                    <a:pt x="193" y="270"/>
                    <a:pt x="202" y="270"/>
                  </a:cubicBezTo>
                  <a:cubicBezTo>
                    <a:pt x="210" y="269"/>
                    <a:pt x="218" y="265"/>
                    <a:pt x="223" y="259"/>
                  </a:cubicBezTo>
                  <a:cubicBezTo>
                    <a:pt x="229" y="252"/>
                    <a:pt x="231" y="244"/>
                    <a:pt x="231" y="236"/>
                  </a:cubicBezTo>
                  <a:cubicBezTo>
                    <a:pt x="230" y="227"/>
                    <a:pt x="226" y="220"/>
                    <a:pt x="220" y="214"/>
                  </a:cubicBezTo>
                  <a:cubicBezTo>
                    <a:pt x="8" y="34"/>
                    <a:pt x="8" y="34"/>
                    <a:pt x="8" y="34"/>
                  </a:cubicBezTo>
                  <a:cubicBezTo>
                    <a:pt x="1" y="27"/>
                    <a:pt x="0" y="16"/>
                    <a:pt x="6" y="8"/>
                  </a:cubicBezTo>
                  <a:cubicBezTo>
                    <a:pt x="13" y="1"/>
                    <a:pt x="24" y="0"/>
                    <a:pt x="32" y="6"/>
                  </a:cubicBezTo>
                  <a:cubicBezTo>
                    <a:pt x="243" y="187"/>
                    <a:pt x="243" y="187"/>
                    <a:pt x="243" y="187"/>
                  </a:cubicBezTo>
                  <a:cubicBezTo>
                    <a:pt x="271" y="211"/>
                    <a:pt x="275" y="254"/>
                    <a:pt x="251" y="282"/>
                  </a:cubicBezTo>
                  <a:cubicBezTo>
                    <a:pt x="239" y="296"/>
                    <a:pt x="223" y="304"/>
                    <a:pt x="205" y="306"/>
                  </a:cubicBezTo>
                  <a:cubicBezTo>
                    <a:pt x="203" y="306"/>
                    <a:pt x="201" y="306"/>
                    <a:pt x="199" y="306"/>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29" name="Freeform 30">
              <a:extLst>
                <a:ext uri="{FF2B5EF4-FFF2-40B4-BE49-F238E27FC236}">
                  <a16:creationId xmlns:a16="http://schemas.microsoft.com/office/drawing/2014/main" id="{CC908F58-EDCE-4706-8D9E-C95345ADDF48}"/>
                </a:ext>
              </a:extLst>
            </p:cNvPr>
            <p:cNvSpPr>
              <a:spLocks/>
            </p:cNvSpPr>
            <p:nvPr/>
          </p:nvSpPr>
          <p:spPr bwMode="auto">
            <a:xfrm>
              <a:off x="2809479" y="4709225"/>
              <a:ext cx="143866" cy="164419"/>
            </a:xfrm>
            <a:custGeom>
              <a:avLst/>
              <a:gdLst>
                <a:gd name="T0" fmla="*/ 151 w 231"/>
                <a:gd name="T1" fmla="*/ 265 h 265"/>
                <a:gd name="T2" fmla="*/ 104 w 231"/>
                <a:gd name="T3" fmla="*/ 248 h 265"/>
                <a:gd name="T4" fmla="*/ 9 w 231"/>
                <a:gd name="T5" fmla="*/ 166 h 265"/>
                <a:gd name="T6" fmla="*/ 7 w 231"/>
                <a:gd name="T7" fmla="*/ 141 h 265"/>
                <a:gd name="T8" fmla="*/ 32 w 231"/>
                <a:gd name="T9" fmla="*/ 139 h 265"/>
                <a:gd name="T10" fmla="*/ 128 w 231"/>
                <a:gd name="T11" fmla="*/ 221 h 265"/>
                <a:gd name="T12" fmla="*/ 178 w 231"/>
                <a:gd name="T13" fmla="*/ 217 h 265"/>
                <a:gd name="T14" fmla="*/ 174 w 231"/>
                <a:gd name="T15" fmla="*/ 167 h 265"/>
                <a:gd name="T16" fmla="*/ 18 w 231"/>
                <a:gd name="T17" fmla="*/ 34 h 265"/>
                <a:gd name="T18" fmla="*/ 16 w 231"/>
                <a:gd name="T19" fmla="*/ 8 h 265"/>
                <a:gd name="T20" fmla="*/ 42 w 231"/>
                <a:gd name="T21" fmla="*/ 6 h 265"/>
                <a:gd name="T22" fmla="*/ 197 w 231"/>
                <a:gd name="T23" fmla="*/ 139 h 265"/>
                <a:gd name="T24" fmla="*/ 205 w 231"/>
                <a:gd name="T25" fmla="*/ 240 h 265"/>
                <a:gd name="T26" fmla="*/ 151 w 231"/>
                <a:gd name="T27" fmla="*/ 265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 h="265">
                  <a:moveTo>
                    <a:pt x="151" y="265"/>
                  </a:moveTo>
                  <a:cubicBezTo>
                    <a:pt x="134" y="265"/>
                    <a:pt x="118" y="259"/>
                    <a:pt x="104" y="248"/>
                  </a:cubicBezTo>
                  <a:cubicBezTo>
                    <a:pt x="9" y="166"/>
                    <a:pt x="9" y="166"/>
                    <a:pt x="9" y="166"/>
                  </a:cubicBezTo>
                  <a:cubicBezTo>
                    <a:pt x="1" y="160"/>
                    <a:pt x="0" y="149"/>
                    <a:pt x="7" y="141"/>
                  </a:cubicBezTo>
                  <a:cubicBezTo>
                    <a:pt x="13" y="133"/>
                    <a:pt x="24" y="133"/>
                    <a:pt x="32" y="139"/>
                  </a:cubicBezTo>
                  <a:cubicBezTo>
                    <a:pt x="128" y="221"/>
                    <a:pt x="128" y="221"/>
                    <a:pt x="128" y="221"/>
                  </a:cubicBezTo>
                  <a:cubicBezTo>
                    <a:pt x="142" y="233"/>
                    <a:pt x="165" y="232"/>
                    <a:pt x="178" y="217"/>
                  </a:cubicBezTo>
                  <a:cubicBezTo>
                    <a:pt x="190" y="202"/>
                    <a:pt x="189" y="179"/>
                    <a:pt x="174" y="167"/>
                  </a:cubicBezTo>
                  <a:cubicBezTo>
                    <a:pt x="18" y="34"/>
                    <a:pt x="18" y="34"/>
                    <a:pt x="18" y="34"/>
                  </a:cubicBezTo>
                  <a:cubicBezTo>
                    <a:pt x="11" y="27"/>
                    <a:pt x="10" y="16"/>
                    <a:pt x="16" y="8"/>
                  </a:cubicBezTo>
                  <a:cubicBezTo>
                    <a:pt x="23" y="1"/>
                    <a:pt x="34" y="0"/>
                    <a:pt x="42" y="6"/>
                  </a:cubicBezTo>
                  <a:cubicBezTo>
                    <a:pt x="197" y="139"/>
                    <a:pt x="197" y="139"/>
                    <a:pt x="197" y="139"/>
                  </a:cubicBezTo>
                  <a:cubicBezTo>
                    <a:pt x="227" y="165"/>
                    <a:pt x="231" y="210"/>
                    <a:pt x="205" y="240"/>
                  </a:cubicBezTo>
                  <a:cubicBezTo>
                    <a:pt x="191" y="257"/>
                    <a:pt x="171" y="265"/>
                    <a:pt x="151" y="265"/>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230" name="Freeform 31">
              <a:extLst>
                <a:ext uri="{FF2B5EF4-FFF2-40B4-BE49-F238E27FC236}">
                  <a16:creationId xmlns:a16="http://schemas.microsoft.com/office/drawing/2014/main" id="{695377DD-7DA1-4877-95DF-1D6C7B64E348}"/>
                </a:ext>
              </a:extLst>
            </p:cNvPr>
            <p:cNvSpPr>
              <a:spLocks/>
            </p:cNvSpPr>
            <p:nvPr/>
          </p:nvSpPr>
          <p:spPr bwMode="auto">
            <a:xfrm>
              <a:off x="2803607" y="4829603"/>
              <a:ext cx="85145" cy="70465"/>
            </a:xfrm>
            <a:custGeom>
              <a:avLst/>
              <a:gdLst>
                <a:gd name="T0" fmla="*/ 65 w 136"/>
                <a:gd name="T1" fmla="*/ 112 h 112"/>
                <a:gd name="T2" fmla="*/ 33 w 136"/>
                <a:gd name="T3" fmla="*/ 99 h 112"/>
                <a:gd name="T4" fmla="*/ 9 w 136"/>
                <a:gd name="T5" fmla="*/ 79 h 112"/>
                <a:gd name="T6" fmla="*/ 7 w 136"/>
                <a:gd name="T7" fmla="*/ 54 h 112"/>
                <a:gd name="T8" fmla="*/ 32 w 136"/>
                <a:gd name="T9" fmla="*/ 52 h 112"/>
                <a:gd name="T10" fmla="*/ 56 w 136"/>
                <a:gd name="T11" fmla="*/ 72 h 112"/>
                <a:gd name="T12" fmla="*/ 67 w 136"/>
                <a:gd name="T13" fmla="*/ 75 h 112"/>
                <a:gd name="T14" fmla="*/ 77 w 136"/>
                <a:gd name="T15" fmla="*/ 70 h 112"/>
                <a:gd name="T16" fmla="*/ 90 w 136"/>
                <a:gd name="T17" fmla="*/ 55 h 112"/>
                <a:gd name="T18" fmla="*/ 94 w 136"/>
                <a:gd name="T19" fmla="*/ 44 h 112"/>
                <a:gd name="T20" fmla="*/ 89 w 136"/>
                <a:gd name="T21" fmla="*/ 34 h 112"/>
                <a:gd name="T22" fmla="*/ 87 w 136"/>
                <a:gd name="T23" fmla="*/ 8 h 112"/>
                <a:gd name="T24" fmla="*/ 112 w 136"/>
                <a:gd name="T25" fmla="*/ 6 h 112"/>
                <a:gd name="T26" fmla="*/ 118 w 136"/>
                <a:gd name="T27" fmla="*/ 78 h 112"/>
                <a:gd name="T28" fmla="*/ 104 w 136"/>
                <a:gd name="T29" fmla="*/ 94 h 112"/>
                <a:gd name="T30" fmla="*/ 70 w 136"/>
                <a:gd name="T31" fmla="*/ 111 h 112"/>
                <a:gd name="T32" fmla="*/ 65 w 136"/>
                <a:gd name="T33"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112">
                  <a:moveTo>
                    <a:pt x="65" y="112"/>
                  </a:moveTo>
                  <a:cubicBezTo>
                    <a:pt x="53" y="112"/>
                    <a:pt x="42" y="107"/>
                    <a:pt x="33" y="99"/>
                  </a:cubicBezTo>
                  <a:cubicBezTo>
                    <a:pt x="9" y="79"/>
                    <a:pt x="9" y="79"/>
                    <a:pt x="9" y="79"/>
                  </a:cubicBezTo>
                  <a:cubicBezTo>
                    <a:pt x="1" y="73"/>
                    <a:pt x="0" y="61"/>
                    <a:pt x="7" y="54"/>
                  </a:cubicBezTo>
                  <a:cubicBezTo>
                    <a:pt x="13" y="46"/>
                    <a:pt x="25" y="45"/>
                    <a:pt x="32" y="52"/>
                  </a:cubicBezTo>
                  <a:cubicBezTo>
                    <a:pt x="56" y="72"/>
                    <a:pt x="56" y="72"/>
                    <a:pt x="56" y="72"/>
                  </a:cubicBezTo>
                  <a:cubicBezTo>
                    <a:pt x="59" y="75"/>
                    <a:pt x="63" y="76"/>
                    <a:pt x="67" y="75"/>
                  </a:cubicBezTo>
                  <a:cubicBezTo>
                    <a:pt x="71" y="75"/>
                    <a:pt x="74" y="73"/>
                    <a:pt x="77" y="70"/>
                  </a:cubicBezTo>
                  <a:cubicBezTo>
                    <a:pt x="90" y="55"/>
                    <a:pt x="90" y="55"/>
                    <a:pt x="90" y="55"/>
                  </a:cubicBezTo>
                  <a:cubicBezTo>
                    <a:pt x="93" y="52"/>
                    <a:pt x="94" y="48"/>
                    <a:pt x="94" y="44"/>
                  </a:cubicBezTo>
                  <a:cubicBezTo>
                    <a:pt x="93" y="40"/>
                    <a:pt x="92" y="36"/>
                    <a:pt x="89" y="34"/>
                  </a:cubicBezTo>
                  <a:cubicBezTo>
                    <a:pt x="81" y="27"/>
                    <a:pt x="80" y="16"/>
                    <a:pt x="87" y="8"/>
                  </a:cubicBezTo>
                  <a:cubicBezTo>
                    <a:pt x="93" y="1"/>
                    <a:pt x="104" y="0"/>
                    <a:pt x="112" y="6"/>
                  </a:cubicBezTo>
                  <a:cubicBezTo>
                    <a:pt x="133" y="25"/>
                    <a:pt x="136" y="57"/>
                    <a:pt x="118" y="78"/>
                  </a:cubicBezTo>
                  <a:cubicBezTo>
                    <a:pt x="104" y="94"/>
                    <a:pt x="104" y="94"/>
                    <a:pt x="104" y="94"/>
                  </a:cubicBezTo>
                  <a:cubicBezTo>
                    <a:pt x="95" y="104"/>
                    <a:pt x="83" y="110"/>
                    <a:pt x="70" y="111"/>
                  </a:cubicBezTo>
                  <a:cubicBezTo>
                    <a:pt x="68" y="111"/>
                    <a:pt x="67" y="112"/>
                    <a:pt x="65" y="112"/>
                  </a:cubicBezTo>
                  <a:close/>
                </a:path>
              </a:pathLst>
            </a:custGeom>
            <a:grpFill/>
            <a:ln>
              <a:no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grpSp>
      <p:grpSp>
        <p:nvGrpSpPr>
          <p:cNvPr id="19" name="Group 18">
            <a:extLst>
              <a:ext uri="{FF2B5EF4-FFF2-40B4-BE49-F238E27FC236}">
                <a16:creationId xmlns:a16="http://schemas.microsoft.com/office/drawing/2014/main" id="{3537CF20-DB7E-4C76-84AD-C9728E419782}"/>
              </a:ext>
            </a:extLst>
          </p:cNvPr>
          <p:cNvGrpSpPr/>
          <p:nvPr/>
        </p:nvGrpSpPr>
        <p:grpSpPr>
          <a:xfrm rot="16200000">
            <a:off x="2986766" y="5525375"/>
            <a:ext cx="172897" cy="277822"/>
            <a:chOff x="4763716" y="2733294"/>
            <a:chExt cx="561975" cy="771525"/>
          </a:xfrm>
        </p:grpSpPr>
        <p:sp>
          <p:nvSpPr>
            <p:cNvPr id="16" name="Freeform: Shape 15">
              <a:extLst>
                <a:ext uri="{FF2B5EF4-FFF2-40B4-BE49-F238E27FC236}">
                  <a16:creationId xmlns:a16="http://schemas.microsoft.com/office/drawing/2014/main" id="{07C15C75-85A3-412C-881F-9C10C4F626E3}"/>
                </a:ext>
              </a:extLst>
            </p:cNvPr>
            <p:cNvSpPr/>
            <p:nvPr/>
          </p:nvSpPr>
          <p:spPr>
            <a:xfrm>
              <a:off x="4763716" y="2733294"/>
              <a:ext cx="561975" cy="771525"/>
            </a:xfrm>
            <a:custGeom>
              <a:avLst/>
              <a:gdLst/>
              <a:ahLst/>
              <a:cxnLst/>
              <a:rect l="0" t="0" r="0" b="0"/>
              <a:pathLst>
                <a:path w="561975" h="771525">
                  <a:moveTo>
                    <a:pt x="548726" y="733282"/>
                  </a:moveTo>
                  <a:cubicBezTo>
                    <a:pt x="548726" y="748998"/>
                    <a:pt x="535867" y="761857"/>
                    <a:pt x="520151" y="761857"/>
                  </a:cubicBezTo>
                  <a:lnTo>
                    <a:pt x="46434" y="761857"/>
                  </a:lnTo>
                  <a:cubicBezTo>
                    <a:pt x="30718" y="761857"/>
                    <a:pt x="17859" y="748998"/>
                    <a:pt x="17859" y="733282"/>
                  </a:cubicBezTo>
                  <a:lnTo>
                    <a:pt x="17859" y="46434"/>
                  </a:lnTo>
                  <a:cubicBezTo>
                    <a:pt x="17859" y="30718"/>
                    <a:pt x="30718" y="17859"/>
                    <a:pt x="46434" y="17859"/>
                  </a:cubicBezTo>
                  <a:lnTo>
                    <a:pt x="520141" y="17859"/>
                  </a:lnTo>
                  <a:cubicBezTo>
                    <a:pt x="535857" y="17859"/>
                    <a:pt x="548716" y="30718"/>
                    <a:pt x="548716" y="46434"/>
                  </a:cubicBezTo>
                  <a:lnTo>
                    <a:pt x="548716" y="733282"/>
                  </a:lnTo>
                  <a:close/>
                </a:path>
              </a:pathLst>
            </a:custGeom>
            <a:noFill/>
            <a:ln w="6350" cap="rnd">
              <a:solidFill>
                <a:schemeClr val="accent1"/>
              </a:solidFill>
              <a:prstDash val="solid"/>
              <a:round/>
            </a:ln>
          </p:spPr>
          <p:txBody>
            <a:bodyPr/>
            <a:lstStyle/>
            <a:p>
              <a:pPr defTabSz="932418"/>
              <a:endParaRPr lang="en-US" sz="1836">
                <a:solidFill>
                  <a:srgbClr val="505050"/>
                </a:solidFill>
                <a:latin typeface="Segoe UI"/>
              </a:endParaRPr>
            </a:p>
          </p:txBody>
        </p:sp>
        <p:sp>
          <p:nvSpPr>
            <p:cNvPr id="17" name="Freeform: Shape 16">
              <a:extLst>
                <a:ext uri="{FF2B5EF4-FFF2-40B4-BE49-F238E27FC236}">
                  <a16:creationId xmlns:a16="http://schemas.microsoft.com/office/drawing/2014/main" id="{ADDD840C-FBDA-4651-BA43-1A181E043324}"/>
                </a:ext>
              </a:extLst>
            </p:cNvPr>
            <p:cNvSpPr/>
            <p:nvPr/>
          </p:nvSpPr>
          <p:spPr>
            <a:xfrm>
              <a:off x="5009709" y="3399558"/>
              <a:ext cx="66675" cy="66675"/>
            </a:xfrm>
            <a:custGeom>
              <a:avLst/>
              <a:gdLst/>
              <a:ahLst/>
              <a:cxnLst/>
              <a:rect l="0" t="0" r="0" b="0"/>
              <a:pathLst>
                <a:path w="66675" h="66675">
                  <a:moveTo>
                    <a:pt x="56740" y="37300"/>
                  </a:moveTo>
                  <a:cubicBezTo>
                    <a:pt x="56740" y="48037"/>
                    <a:pt x="48037" y="56740"/>
                    <a:pt x="37300" y="56740"/>
                  </a:cubicBezTo>
                  <a:cubicBezTo>
                    <a:pt x="26563" y="56740"/>
                    <a:pt x="17859" y="48037"/>
                    <a:pt x="17859" y="37300"/>
                  </a:cubicBezTo>
                  <a:cubicBezTo>
                    <a:pt x="17859" y="26563"/>
                    <a:pt x="26563" y="17859"/>
                    <a:pt x="37300" y="17859"/>
                  </a:cubicBezTo>
                  <a:cubicBezTo>
                    <a:pt x="48037" y="17859"/>
                    <a:pt x="56740" y="26563"/>
                    <a:pt x="56740" y="37300"/>
                  </a:cubicBezTo>
                  <a:close/>
                </a:path>
              </a:pathLst>
            </a:custGeom>
            <a:noFill/>
            <a:ln w="6350" cap="rnd">
              <a:solidFill>
                <a:schemeClr val="accent1"/>
              </a:solidFill>
              <a:prstDash val="solid"/>
              <a:round/>
            </a:ln>
          </p:spPr>
          <p:txBody>
            <a:bodyPr/>
            <a:lstStyle/>
            <a:p>
              <a:pPr defTabSz="932418"/>
              <a:endParaRPr lang="en-US" sz="1836">
                <a:solidFill>
                  <a:srgbClr val="505050"/>
                </a:solidFill>
                <a:latin typeface="Segoe UI"/>
              </a:endParaRPr>
            </a:p>
          </p:txBody>
        </p:sp>
        <p:sp>
          <p:nvSpPr>
            <p:cNvPr id="18" name="Freeform: Shape 17">
              <a:extLst>
                <a:ext uri="{FF2B5EF4-FFF2-40B4-BE49-F238E27FC236}">
                  <a16:creationId xmlns:a16="http://schemas.microsoft.com/office/drawing/2014/main" id="{76D96AA2-308A-42E0-A478-A8B2AC7B5147}"/>
                </a:ext>
              </a:extLst>
            </p:cNvPr>
            <p:cNvSpPr/>
            <p:nvPr/>
          </p:nvSpPr>
          <p:spPr>
            <a:xfrm>
              <a:off x="4767774" y="3348199"/>
              <a:ext cx="552450" cy="28575"/>
            </a:xfrm>
            <a:custGeom>
              <a:avLst/>
              <a:gdLst/>
              <a:ahLst/>
              <a:cxnLst/>
              <a:rect l="0" t="0" r="0" b="0"/>
              <a:pathLst>
                <a:path w="552450" h="28575">
                  <a:moveTo>
                    <a:pt x="17859" y="17859"/>
                  </a:moveTo>
                  <a:lnTo>
                    <a:pt x="540610" y="17859"/>
                  </a:lnTo>
                </a:path>
              </a:pathLst>
            </a:custGeom>
            <a:ln w="6350" cap="rnd">
              <a:solidFill>
                <a:schemeClr val="accent1"/>
              </a:solidFill>
              <a:prstDash val="solid"/>
              <a:round/>
            </a:ln>
          </p:spPr>
          <p:txBody>
            <a:bodyPr/>
            <a:lstStyle/>
            <a:p>
              <a:pPr defTabSz="932418"/>
              <a:endParaRPr lang="en-US" sz="1836">
                <a:solidFill>
                  <a:srgbClr val="505050"/>
                </a:solidFill>
                <a:latin typeface="Segoe UI"/>
              </a:endParaRPr>
            </a:p>
          </p:txBody>
        </p:sp>
      </p:grpSp>
      <p:grpSp>
        <p:nvGrpSpPr>
          <p:cNvPr id="27" name="Group 26">
            <a:extLst>
              <a:ext uri="{FF2B5EF4-FFF2-40B4-BE49-F238E27FC236}">
                <a16:creationId xmlns:a16="http://schemas.microsoft.com/office/drawing/2014/main" id="{A3E3DF54-D3E1-42BC-8BCC-591FE10324E1}"/>
              </a:ext>
            </a:extLst>
          </p:cNvPr>
          <p:cNvGrpSpPr/>
          <p:nvPr/>
        </p:nvGrpSpPr>
        <p:grpSpPr>
          <a:xfrm>
            <a:off x="2995048" y="5597845"/>
            <a:ext cx="128551" cy="125541"/>
            <a:chOff x="5090427" y="4945266"/>
            <a:chExt cx="254317" cy="248364"/>
          </a:xfrm>
          <a:solidFill>
            <a:schemeClr val="accent1"/>
          </a:solidFill>
        </p:grpSpPr>
        <p:sp>
          <p:nvSpPr>
            <p:cNvPr id="23" name="Freeform: Shape 22">
              <a:extLst>
                <a:ext uri="{FF2B5EF4-FFF2-40B4-BE49-F238E27FC236}">
                  <a16:creationId xmlns:a16="http://schemas.microsoft.com/office/drawing/2014/main" id="{04CBAAD1-81DB-4FE7-BC82-07583AFB93A5}"/>
                </a:ext>
              </a:extLst>
            </p:cNvPr>
            <p:cNvSpPr/>
            <p:nvPr/>
          </p:nvSpPr>
          <p:spPr>
            <a:xfrm>
              <a:off x="5090427" y="4965030"/>
              <a:ext cx="228600" cy="228600"/>
            </a:xfrm>
            <a:custGeom>
              <a:avLst/>
              <a:gdLst/>
              <a:ahLst/>
              <a:cxnLst/>
              <a:rect l="0" t="0" r="0" b="0"/>
              <a:pathLst>
                <a:path w="228600" h="228600">
                  <a:moveTo>
                    <a:pt x="117862" y="7144"/>
                  </a:moveTo>
                  <a:cubicBezTo>
                    <a:pt x="56721" y="7144"/>
                    <a:pt x="7144" y="56712"/>
                    <a:pt x="7144" y="117862"/>
                  </a:cubicBezTo>
                  <a:cubicBezTo>
                    <a:pt x="7144" y="179013"/>
                    <a:pt x="56721" y="228571"/>
                    <a:pt x="117862" y="228571"/>
                  </a:cubicBezTo>
                  <a:cubicBezTo>
                    <a:pt x="178984" y="228571"/>
                    <a:pt x="228533" y="179041"/>
                    <a:pt x="228571" y="117939"/>
                  </a:cubicBezTo>
                  <a:lnTo>
                    <a:pt x="117862" y="117939"/>
                  </a:lnTo>
                  <a:lnTo>
                    <a:pt x="117862" y="7144"/>
                  </a:lnTo>
                  <a:close/>
                  <a:moveTo>
                    <a:pt x="218599" y="127464"/>
                  </a:moveTo>
                  <a:cubicBezTo>
                    <a:pt x="213751" y="178765"/>
                    <a:pt x="170402" y="219046"/>
                    <a:pt x="117862" y="219046"/>
                  </a:cubicBezTo>
                  <a:cubicBezTo>
                    <a:pt x="62065" y="219046"/>
                    <a:pt x="16669" y="173650"/>
                    <a:pt x="16669" y="117853"/>
                  </a:cubicBezTo>
                  <a:cubicBezTo>
                    <a:pt x="16669" y="65265"/>
                    <a:pt x="56988" y="21927"/>
                    <a:pt x="108337" y="17107"/>
                  </a:cubicBezTo>
                  <a:lnTo>
                    <a:pt x="108337" y="117929"/>
                  </a:lnTo>
                  <a:lnTo>
                    <a:pt x="108337" y="127454"/>
                  </a:lnTo>
                  <a:lnTo>
                    <a:pt x="117862" y="127454"/>
                  </a:lnTo>
                  <a:lnTo>
                    <a:pt x="218599" y="12745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4" name="Freeform: Shape 23">
              <a:extLst>
                <a:ext uri="{FF2B5EF4-FFF2-40B4-BE49-F238E27FC236}">
                  <a16:creationId xmlns:a16="http://schemas.microsoft.com/office/drawing/2014/main" id="{109FB439-A7AF-40CC-A2EF-99FCE76D858C}"/>
                </a:ext>
              </a:extLst>
            </p:cNvPr>
            <p:cNvSpPr/>
            <p:nvPr/>
          </p:nvSpPr>
          <p:spPr>
            <a:xfrm>
              <a:off x="5220919" y="4945266"/>
              <a:ext cx="123825" cy="123825"/>
            </a:xfrm>
            <a:custGeom>
              <a:avLst/>
              <a:gdLst/>
              <a:ahLst/>
              <a:cxnLst/>
              <a:rect l="0" t="0" r="0" b="0"/>
              <a:pathLst>
                <a:path w="123825" h="123825">
                  <a:moveTo>
                    <a:pt x="7144" y="7144"/>
                  </a:moveTo>
                  <a:lnTo>
                    <a:pt x="7144" y="117939"/>
                  </a:lnTo>
                  <a:lnTo>
                    <a:pt x="117853" y="117939"/>
                  </a:lnTo>
                  <a:cubicBezTo>
                    <a:pt x="117853" y="117910"/>
                    <a:pt x="117853" y="117881"/>
                    <a:pt x="117853" y="117862"/>
                  </a:cubicBezTo>
                  <a:cubicBezTo>
                    <a:pt x="117853" y="87306"/>
                    <a:pt x="105480" y="59646"/>
                    <a:pt x="85468" y="39614"/>
                  </a:cubicBezTo>
                  <a:cubicBezTo>
                    <a:pt x="65427" y="19555"/>
                    <a:pt x="37729" y="7144"/>
                    <a:pt x="7144" y="7144"/>
                  </a:cubicBezTo>
                  <a:close/>
                  <a:moveTo>
                    <a:pt x="16669" y="108414"/>
                  </a:moveTo>
                  <a:lnTo>
                    <a:pt x="16669" y="17107"/>
                  </a:lnTo>
                  <a:cubicBezTo>
                    <a:pt x="40119" y="19279"/>
                    <a:pt x="61874" y="29470"/>
                    <a:pt x="78734" y="46339"/>
                  </a:cubicBezTo>
                  <a:cubicBezTo>
                    <a:pt x="95564" y="63189"/>
                    <a:pt x="105728" y="84934"/>
                    <a:pt x="107899" y="108414"/>
                  </a:cubicBezTo>
                  <a:lnTo>
                    <a:pt x="16669" y="10841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381" name="Group 380">
            <a:extLst>
              <a:ext uri="{FF2B5EF4-FFF2-40B4-BE49-F238E27FC236}">
                <a16:creationId xmlns:a16="http://schemas.microsoft.com/office/drawing/2014/main" id="{E4A46A0F-49D2-489E-8E13-29C7F0900168}"/>
              </a:ext>
            </a:extLst>
          </p:cNvPr>
          <p:cNvGrpSpPr/>
          <p:nvPr/>
        </p:nvGrpSpPr>
        <p:grpSpPr>
          <a:xfrm>
            <a:off x="1643775" y="5175711"/>
            <a:ext cx="284457" cy="277798"/>
            <a:chOff x="5090427" y="4945266"/>
            <a:chExt cx="254317" cy="248364"/>
          </a:xfrm>
          <a:solidFill>
            <a:schemeClr val="accent1"/>
          </a:solidFill>
        </p:grpSpPr>
        <p:sp>
          <p:nvSpPr>
            <p:cNvPr id="382" name="Freeform: Shape 381">
              <a:extLst>
                <a:ext uri="{FF2B5EF4-FFF2-40B4-BE49-F238E27FC236}">
                  <a16:creationId xmlns:a16="http://schemas.microsoft.com/office/drawing/2014/main" id="{137B14C6-5864-4B46-9AC9-7BF56A45B96F}"/>
                </a:ext>
              </a:extLst>
            </p:cNvPr>
            <p:cNvSpPr/>
            <p:nvPr/>
          </p:nvSpPr>
          <p:spPr>
            <a:xfrm>
              <a:off x="5090427" y="4965030"/>
              <a:ext cx="228600" cy="228600"/>
            </a:xfrm>
            <a:custGeom>
              <a:avLst/>
              <a:gdLst/>
              <a:ahLst/>
              <a:cxnLst/>
              <a:rect l="0" t="0" r="0" b="0"/>
              <a:pathLst>
                <a:path w="228600" h="228600">
                  <a:moveTo>
                    <a:pt x="117862" y="7144"/>
                  </a:moveTo>
                  <a:cubicBezTo>
                    <a:pt x="56721" y="7144"/>
                    <a:pt x="7144" y="56712"/>
                    <a:pt x="7144" y="117862"/>
                  </a:cubicBezTo>
                  <a:cubicBezTo>
                    <a:pt x="7144" y="179013"/>
                    <a:pt x="56721" y="228571"/>
                    <a:pt x="117862" y="228571"/>
                  </a:cubicBezTo>
                  <a:cubicBezTo>
                    <a:pt x="178984" y="228571"/>
                    <a:pt x="228533" y="179041"/>
                    <a:pt x="228571" y="117939"/>
                  </a:cubicBezTo>
                  <a:lnTo>
                    <a:pt x="117862" y="117939"/>
                  </a:lnTo>
                  <a:lnTo>
                    <a:pt x="117862" y="7144"/>
                  </a:lnTo>
                  <a:close/>
                  <a:moveTo>
                    <a:pt x="218599" y="127464"/>
                  </a:moveTo>
                  <a:cubicBezTo>
                    <a:pt x="213751" y="178765"/>
                    <a:pt x="170402" y="219046"/>
                    <a:pt x="117862" y="219046"/>
                  </a:cubicBezTo>
                  <a:cubicBezTo>
                    <a:pt x="62065" y="219046"/>
                    <a:pt x="16669" y="173650"/>
                    <a:pt x="16669" y="117853"/>
                  </a:cubicBezTo>
                  <a:cubicBezTo>
                    <a:pt x="16669" y="65265"/>
                    <a:pt x="56988" y="21927"/>
                    <a:pt x="108337" y="17107"/>
                  </a:cubicBezTo>
                  <a:lnTo>
                    <a:pt x="108337" y="117929"/>
                  </a:lnTo>
                  <a:lnTo>
                    <a:pt x="108337" y="127454"/>
                  </a:lnTo>
                  <a:lnTo>
                    <a:pt x="117862" y="127454"/>
                  </a:lnTo>
                  <a:lnTo>
                    <a:pt x="218599" y="12745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83" name="Freeform: Shape 382">
              <a:extLst>
                <a:ext uri="{FF2B5EF4-FFF2-40B4-BE49-F238E27FC236}">
                  <a16:creationId xmlns:a16="http://schemas.microsoft.com/office/drawing/2014/main" id="{24797DAA-7D20-4D9D-8D37-A939292D881B}"/>
                </a:ext>
              </a:extLst>
            </p:cNvPr>
            <p:cNvSpPr/>
            <p:nvPr/>
          </p:nvSpPr>
          <p:spPr>
            <a:xfrm>
              <a:off x="5220919" y="4945266"/>
              <a:ext cx="123825" cy="123825"/>
            </a:xfrm>
            <a:custGeom>
              <a:avLst/>
              <a:gdLst/>
              <a:ahLst/>
              <a:cxnLst/>
              <a:rect l="0" t="0" r="0" b="0"/>
              <a:pathLst>
                <a:path w="123825" h="123825">
                  <a:moveTo>
                    <a:pt x="7144" y="7144"/>
                  </a:moveTo>
                  <a:lnTo>
                    <a:pt x="7144" y="117939"/>
                  </a:lnTo>
                  <a:lnTo>
                    <a:pt x="117853" y="117939"/>
                  </a:lnTo>
                  <a:cubicBezTo>
                    <a:pt x="117853" y="117910"/>
                    <a:pt x="117853" y="117881"/>
                    <a:pt x="117853" y="117862"/>
                  </a:cubicBezTo>
                  <a:cubicBezTo>
                    <a:pt x="117853" y="87306"/>
                    <a:pt x="105480" y="59646"/>
                    <a:pt x="85468" y="39614"/>
                  </a:cubicBezTo>
                  <a:cubicBezTo>
                    <a:pt x="65427" y="19555"/>
                    <a:pt x="37729" y="7144"/>
                    <a:pt x="7144" y="7144"/>
                  </a:cubicBezTo>
                  <a:close/>
                  <a:moveTo>
                    <a:pt x="16669" y="108414"/>
                  </a:moveTo>
                  <a:lnTo>
                    <a:pt x="16669" y="17107"/>
                  </a:lnTo>
                  <a:cubicBezTo>
                    <a:pt x="40119" y="19279"/>
                    <a:pt x="61874" y="29470"/>
                    <a:pt x="78734" y="46339"/>
                  </a:cubicBezTo>
                  <a:cubicBezTo>
                    <a:pt x="95564" y="63189"/>
                    <a:pt x="105728" y="84934"/>
                    <a:pt x="107899" y="108414"/>
                  </a:cubicBezTo>
                  <a:lnTo>
                    <a:pt x="16669" y="10841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385" name="Graphic 383">
            <a:extLst>
              <a:ext uri="{FF2B5EF4-FFF2-40B4-BE49-F238E27FC236}">
                <a16:creationId xmlns:a16="http://schemas.microsoft.com/office/drawing/2014/main" id="{DE796512-02C5-46D4-9C6A-7CD69B6A76BC}"/>
              </a:ext>
            </a:extLst>
          </p:cNvPr>
          <p:cNvGrpSpPr/>
          <p:nvPr/>
        </p:nvGrpSpPr>
        <p:grpSpPr>
          <a:xfrm>
            <a:off x="1603012" y="4361741"/>
            <a:ext cx="346199" cy="277841"/>
            <a:chOff x="-1746649" y="4833559"/>
            <a:chExt cx="1495425" cy="1200150"/>
          </a:xfrm>
          <a:solidFill>
            <a:schemeClr val="accent1"/>
          </a:solidFill>
        </p:grpSpPr>
        <p:sp>
          <p:nvSpPr>
            <p:cNvPr id="386" name="Freeform: Shape 385">
              <a:extLst>
                <a:ext uri="{FF2B5EF4-FFF2-40B4-BE49-F238E27FC236}">
                  <a16:creationId xmlns:a16="http://schemas.microsoft.com/office/drawing/2014/main" id="{F80083B0-6D7D-4D40-8325-88F47480ADEF}"/>
                </a:ext>
              </a:extLst>
            </p:cNvPr>
            <p:cNvSpPr/>
            <p:nvPr/>
          </p:nvSpPr>
          <p:spPr>
            <a:xfrm>
              <a:off x="-1753793" y="4826415"/>
              <a:ext cx="1504950" cy="838200"/>
            </a:xfrm>
            <a:custGeom>
              <a:avLst/>
              <a:gdLst/>
              <a:ahLst/>
              <a:cxnLst/>
              <a:rect l="0" t="0" r="0" b="0"/>
              <a:pathLst>
                <a:path w="1504950" h="838200">
                  <a:moveTo>
                    <a:pt x="1244441" y="831056"/>
                  </a:moveTo>
                  <a:cubicBezTo>
                    <a:pt x="1240631" y="831056"/>
                    <a:pt x="1237774" y="831056"/>
                    <a:pt x="1233964" y="831056"/>
                  </a:cubicBezTo>
                  <a:lnTo>
                    <a:pt x="895826" y="831056"/>
                  </a:lnTo>
                  <a:lnTo>
                    <a:pt x="895826" y="773906"/>
                  </a:lnTo>
                  <a:lnTo>
                    <a:pt x="1235869" y="773906"/>
                  </a:lnTo>
                  <a:cubicBezTo>
                    <a:pt x="1241584" y="773906"/>
                    <a:pt x="1247299" y="773906"/>
                    <a:pt x="1253014" y="773906"/>
                  </a:cubicBezTo>
                  <a:lnTo>
                    <a:pt x="1253966" y="773906"/>
                  </a:lnTo>
                  <a:cubicBezTo>
                    <a:pt x="1359694" y="769144"/>
                    <a:pt x="1442561" y="682466"/>
                    <a:pt x="1442561" y="575786"/>
                  </a:cubicBezTo>
                  <a:cubicBezTo>
                    <a:pt x="1442561" y="466249"/>
                    <a:pt x="1353026" y="377666"/>
                    <a:pt x="1244441" y="377666"/>
                  </a:cubicBezTo>
                  <a:lnTo>
                    <a:pt x="1217771" y="377666"/>
                  </a:lnTo>
                  <a:lnTo>
                    <a:pt x="1213009" y="354806"/>
                  </a:lnTo>
                  <a:cubicBezTo>
                    <a:pt x="1176814" y="186214"/>
                    <a:pt x="1025366" y="64294"/>
                    <a:pt x="852964" y="64294"/>
                  </a:cubicBezTo>
                  <a:cubicBezTo>
                    <a:pt x="710089" y="64294"/>
                    <a:pt x="579596" y="148114"/>
                    <a:pt x="519589" y="277654"/>
                  </a:cubicBezTo>
                  <a:lnTo>
                    <a:pt x="505301" y="308134"/>
                  </a:lnTo>
                  <a:lnTo>
                    <a:pt x="477679" y="289084"/>
                  </a:lnTo>
                  <a:cubicBezTo>
                    <a:pt x="433864" y="259556"/>
                    <a:pt x="382429" y="243364"/>
                    <a:pt x="329089" y="243364"/>
                  </a:cubicBezTo>
                  <a:cubicBezTo>
                    <a:pt x="183356" y="243364"/>
                    <a:pt x="64294" y="362426"/>
                    <a:pt x="64294" y="508159"/>
                  </a:cubicBezTo>
                  <a:cubicBezTo>
                    <a:pt x="64294" y="650081"/>
                    <a:pt x="175736" y="766286"/>
                    <a:pt x="317659" y="772954"/>
                  </a:cubicBezTo>
                  <a:lnTo>
                    <a:pt x="322421" y="772954"/>
                  </a:lnTo>
                  <a:cubicBezTo>
                    <a:pt x="327184" y="772954"/>
                    <a:pt x="331946" y="772954"/>
                    <a:pt x="335756" y="772954"/>
                  </a:cubicBezTo>
                  <a:lnTo>
                    <a:pt x="337661" y="772954"/>
                  </a:lnTo>
                  <a:lnTo>
                    <a:pt x="598646" y="772954"/>
                  </a:lnTo>
                  <a:lnTo>
                    <a:pt x="598646" y="830104"/>
                  </a:lnTo>
                  <a:lnTo>
                    <a:pt x="337661" y="830104"/>
                  </a:lnTo>
                  <a:cubicBezTo>
                    <a:pt x="331946" y="830104"/>
                    <a:pt x="326231" y="830104"/>
                    <a:pt x="319564" y="830104"/>
                  </a:cubicBezTo>
                  <a:lnTo>
                    <a:pt x="317659" y="830104"/>
                  </a:lnTo>
                  <a:lnTo>
                    <a:pt x="286226" y="830104"/>
                  </a:lnTo>
                  <a:lnTo>
                    <a:pt x="286226" y="827246"/>
                  </a:lnTo>
                  <a:cubicBezTo>
                    <a:pt x="128111" y="807244"/>
                    <a:pt x="7144" y="671989"/>
                    <a:pt x="7144" y="508159"/>
                  </a:cubicBezTo>
                  <a:cubicBezTo>
                    <a:pt x="7144" y="330994"/>
                    <a:pt x="151924" y="186214"/>
                    <a:pt x="329089" y="186214"/>
                  </a:cubicBezTo>
                  <a:cubicBezTo>
                    <a:pt x="383381" y="186214"/>
                    <a:pt x="435769" y="199549"/>
                    <a:pt x="482441" y="225266"/>
                  </a:cubicBezTo>
                  <a:cubicBezTo>
                    <a:pt x="556736" y="91916"/>
                    <a:pt x="699611" y="7144"/>
                    <a:pt x="852964" y="7144"/>
                  </a:cubicBezTo>
                  <a:cubicBezTo>
                    <a:pt x="1044416" y="7144"/>
                    <a:pt x="1213009" y="137636"/>
                    <a:pt x="1262539" y="319564"/>
                  </a:cubicBezTo>
                  <a:cubicBezTo>
                    <a:pt x="1394936" y="329089"/>
                    <a:pt x="1499711" y="439579"/>
                    <a:pt x="1499711" y="574834"/>
                  </a:cubicBezTo>
                  <a:cubicBezTo>
                    <a:pt x="1499711" y="711994"/>
                    <a:pt x="1392079" y="824389"/>
                    <a:pt x="1254919" y="830104"/>
                  </a:cubicBezTo>
                  <a:lnTo>
                    <a:pt x="1253966" y="830104"/>
                  </a:lnTo>
                  <a:cubicBezTo>
                    <a:pt x="1252061" y="830104"/>
                    <a:pt x="1248251" y="831056"/>
                    <a:pt x="1244441" y="831056"/>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87" name="Freeform: Shape 386">
              <a:extLst>
                <a:ext uri="{FF2B5EF4-FFF2-40B4-BE49-F238E27FC236}">
                  <a16:creationId xmlns:a16="http://schemas.microsoft.com/office/drawing/2014/main" id="{61D9B144-2911-4D14-A007-922429716087}"/>
                </a:ext>
              </a:extLst>
            </p:cNvPr>
            <p:cNvSpPr/>
            <p:nvPr/>
          </p:nvSpPr>
          <p:spPr>
            <a:xfrm>
              <a:off x="-1235216" y="5356005"/>
              <a:ext cx="266700" cy="676275"/>
            </a:xfrm>
            <a:custGeom>
              <a:avLst/>
              <a:gdLst/>
              <a:ahLst/>
              <a:cxnLst/>
              <a:rect l="0" t="0" r="0" b="0"/>
              <a:pathLst>
                <a:path w="266700" h="676275">
                  <a:moveTo>
                    <a:pt x="235327" y="672941"/>
                  </a:moveTo>
                  <a:cubicBezTo>
                    <a:pt x="228660" y="672941"/>
                    <a:pt x="221992" y="670084"/>
                    <a:pt x="216277" y="666274"/>
                  </a:cubicBezTo>
                  <a:lnTo>
                    <a:pt x="17205" y="492919"/>
                  </a:lnTo>
                  <a:cubicBezTo>
                    <a:pt x="4822" y="482441"/>
                    <a:pt x="3870" y="464344"/>
                    <a:pt x="14347" y="452914"/>
                  </a:cubicBezTo>
                  <a:cubicBezTo>
                    <a:pt x="24825" y="440531"/>
                    <a:pt x="42922" y="439579"/>
                    <a:pt x="54352" y="450056"/>
                  </a:cubicBezTo>
                  <a:lnTo>
                    <a:pt x="206752" y="582454"/>
                  </a:lnTo>
                  <a:lnTo>
                    <a:pt x="206752" y="35719"/>
                  </a:lnTo>
                  <a:cubicBezTo>
                    <a:pt x="206752" y="19526"/>
                    <a:pt x="219135" y="7144"/>
                    <a:pt x="235327" y="7144"/>
                  </a:cubicBezTo>
                  <a:cubicBezTo>
                    <a:pt x="235327" y="7144"/>
                    <a:pt x="235327" y="7144"/>
                    <a:pt x="235327" y="7144"/>
                  </a:cubicBezTo>
                  <a:cubicBezTo>
                    <a:pt x="251520" y="7144"/>
                    <a:pt x="263902" y="19526"/>
                    <a:pt x="263902" y="35719"/>
                  </a:cubicBezTo>
                  <a:lnTo>
                    <a:pt x="263902" y="645319"/>
                  </a:lnTo>
                  <a:cubicBezTo>
                    <a:pt x="263902" y="656749"/>
                    <a:pt x="257235" y="666274"/>
                    <a:pt x="246757" y="671036"/>
                  </a:cubicBezTo>
                  <a:cubicBezTo>
                    <a:pt x="242947" y="671989"/>
                    <a:pt x="239137" y="672941"/>
                    <a:pt x="235327" y="672941"/>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88" name="Freeform: Shape 387">
              <a:extLst>
                <a:ext uri="{FF2B5EF4-FFF2-40B4-BE49-F238E27FC236}">
                  <a16:creationId xmlns:a16="http://schemas.microsoft.com/office/drawing/2014/main" id="{02820280-F11B-4717-8B7F-77A6E2E5780B}"/>
                </a:ext>
              </a:extLst>
            </p:cNvPr>
            <p:cNvSpPr/>
            <p:nvPr/>
          </p:nvSpPr>
          <p:spPr>
            <a:xfrm>
              <a:off x="-1035285" y="5791620"/>
              <a:ext cx="257175" cy="238125"/>
            </a:xfrm>
            <a:custGeom>
              <a:avLst/>
              <a:gdLst/>
              <a:ahLst/>
              <a:cxnLst/>
              <a:rect l="0" t="0" r="0" b="0"/>
              <a:pathLst>
                <a:path w="257175" h="238125">
                  <a:moveTo>
                    <a:pt x="35397" y="237326"/>
                  </a:moveTo>
                  <a:cubicBezTo>
                    <a:pt x="27776" y="237326"/>
                    <a:pt x="20157" y="234469"/>
                    <a:pt x="14441" y="227801"/>
                  </a:cubicBezTo>
                  <a:cubicBezTo>
                    <a:pt x="3964" y="216372"/>
                    <a:pt x="4916" y="198274"/>
                    <a:pt x="16347" y="187797"/>
                  </a:cubicBezTo>
                  <a:lnTo>
                    <a:pt x="208751" y="14441"/>
                  </a:lnTo>
                  <a:cubicBezTo>
                    <a:pt x="220182" y="3964"/>
                    <a:pt x="238279" y="4916"/>
                    <a:pt x="248757" y="16347"/>
                  </a:cubicBezTo>
                  <a:cubicBezTo>
                    <a:pt x="259234" y="27776"/>
                    <a:pt x="258282" y="45874"/>
                    <a:pt x="246851" y="56351"/>
                  </a:cubicBezTo>
                  <a:lnTo>
                    <a:pt x="54447" y="229706"/>
                  </a:lnTo>
                  <a:cubicBezTo>
                    <a:pt x="48732" y="234469"/>
                    <a:pt x="42064" y="237326"/>
                    <a:pt x="35397" y="237326"/>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397" name="Group 396">
            <a:extLst>
              <a:ext uri="{FF2B5EF4-FFF2-40B4-BE49-F238E27FC236}">
                <a16:creationId xmlns:a16="http://schemas.microsoft.com/office/drawing/2014/main" id="{F650E36D-7D8B-4C9B-907B-03D814E038D3}"/>
              </a:ext>
            </a:extLst>
          </p:cNvPr>
          <p:cNvGrpSpPr/>
          <p:nvPr/>
        </p:nvGrpSpPr>
        <p:grpSpPr>
          <a:xfrm>
            <a:off x="1643893" y="3579822"/>
            <a:ext cx="286915" cy="257439"/>
            <a:chOff x="6690939" y="2604690"/>
            <a:chExt cx="531265" cy="476684"/>
          </a:xfrm>
          <a:solidFill>
            <a:schemeClr val="accent1"/>
          </a:solidFill>
        </p:grpSpPr>
        <p:sp>
          <p:nvSpPr>
            <p:cNvPr id="391" name="Freeform: Shape 390">
              <a:extLst>
                <a:ext uri="{FF2B5EF4-FFF2-40B4-BE49-F238E27FC236}">
                  <a16:creationId xmlns:a16="http://schemas.microsoft.com/office/drawing/2014/main" id="{BC6D504D-8E9D-42DB-950B-1AB68DD560A9}"/>
                </a:ext>
              </a:extLst>
            </p:cNvPr>
            <p:cNvSpPr/>
            <p:nvPr/>
          </p:nvSpPr>
          <p:spPr>
            <a:xfrm>
              <a:off x="6690939" y="2686051"/>
              <a:ext cx="529622" cy="331688"/>
            </a:xfrm>
            <a:custGeom>
              <a:avLst/>
              <a:gdLst/>
              <a:ahLst/>
              <a:cxnLst/>
              <a:rect l="0" t="0" r="0" b="0"/>
              <a:pathLst>
                <a:path w="529622" h="303814">
                  <a:moveTo>
                    <a:pt x="528896" y="303909"/>
                  </a:moveTo>
                  <a:lnTo>
                    <a:pt x="1326" y="303909"/>
                  </a:lnTo>
                  <a:lnTo>
                    <a:pt x="1326" y="1326"/>
                  </a:lnTo>
                  <a:lnTo>
                    <a:pt x="255874" y="1326"/>
                  </a:lnTo>
                  <a:lnTo>
                    <a:pt x="255874" y="17749"/>
                  </a:lnTo>
                  <a:lnTo>
                    <a:pt x="17749" y="17749"/>
                  </a:lnTo>
                  <a:lnTo>
                    <a:pt x="17749" y="287487"/>
                  </a:lnTo>
                  <a:lnTo>
                    <a:pt x="512474" y="287487"/>
                  </a:lnTo>
                  <a:lnTo>
                    <a:pt x="512474" y="44435"/>
                  </a:lnTo>
                  <a:lnTo>
                    <a:pt x="528896" y="44435"/>
                  </a:lnTo>
                  <a:close/>
                </a:path>
              </a:pathLst>
            </a:custGeom>
            <a:grpFill/>
            <a:ln w="4103" cap="flat">
              <a:noFill/>
              <a:prstDash val="solid"/>
              <a:miter/>
            </a:ln>
          </p:spPr>
          <p:txBody>
            <a:bodyPr/>
            <a:lstStyle/>
            <a:p>
              <a:pPr defTabSz="932418"/>
              <a:endParaRPr lang="en-US" sz="1836">
                <a:solidFill>
                  <a:srgbClr val="505050"/>
                </a:solidFill>
                <a:latin typeface="Segoe UI"/>
              </a:endParaRPr>
            </a:p>
          </p:txBody>
        </p:sp>
        <p:sp>
          <p:nvSpPr>
            <p:cNvPr id="392" name="Freeform: Shape 391">
              <a:extLst>
                <a:ext uri="{FF2B5EF4-FFF2-40B4-BE49-F238E27FC236}">
                  <a16:creationId xmlns:a16="http://schemas.microsoft.com/office/drawing/2014/main" id="{FC9AEB4D-4518-4307-A036-B21DAB12AD27}"/>
                </a:ext>
              </a:extLst>
            </p:cNvPr>
            <p:cNvSpPr/>
            <p:nvPr/>
          </p:nvSpPr>
          <p:spPr>
            <a:xfrm>
              <a:off x="6946717" y="3008294"/>
              <a:ext cx="16422" cy="65690"/>
            </a:xfrm>
            <a:custGeom>
              <a:avLst/>
              <a:gdLst/>
              <a:ahLst/>
              <a:cxnLst/>
              <a:rect l="0" t="0" r="0" b="0"/>
              <a:pathLst>
                <a:path w="16422" h="65689">
                  <a:moveTo>
                    <a:pt x="1326" y="1326"/>
                  </a:moveTo>
                  <a:lnTo>
                    <a:pt x="17749" y="1326"/>
                  </a:lnTo>
                  <a:lnTo>
                    <a:pt x="17749" y="66195"/>
                  </a:lnTo>
                  <a:lnTo>
                    <a:pt x="1326" y="66195"/>
                  </a:lnTo>
                  <a:close/>
                </a:path>
              </a:pathLst>
            </a:custGeom>
            <a:grpFill/>
            <a:ln w="4103" cap="flat">
              <a:noFill/>
              <a:prstDash val="solid"/>
              <a:miter/>
            </a:ln>
          </p:spPr>
          <p:txBody>
            <a:bodyPr/>
            <a:lstStyle/>
            <a:p>
              <a:pPr defTabSz="932418"/>
              <a:endParaRPr lang="en-US" sz="1836">
                <a:solidFill>
                  <a:srgbClr val="505050"/>
                </a:solidFill>
                <a:latin typeface="Segoe UI"/>
              </a:endParaRPr>
            </a:p>
          </p:txBody>
        </p:sp>
        <p:sp>
          <p:nvSpPr>
            <p:cNvPr id="393" name="Freeform: Shape 392">
              <a:extLst>
                <a:ext uri="{FF2B5EF4-FFF2-40B4-BE49-F238E27FC236}">
                  <a16:creationId xmlns:a16="http://schemas.microsoft.com/office/drawing/2014/main" id="{A5B9C8F0-C4E7-45DA-AFE1-D84602E98632}"/>
                </a:ext>
              </a:extLst>
            </p:cNvPr>
            <p:cNvSpPr/>
            <p:nvPr/>
          </p:nvSpPr>
          <p:spPr>
            <a:xfrm>
              <a:off x="6863374" y="3064952"/>
              <a:ext cx="180646" cy="16422"/>
            </a:xfrm>
            <a:custGeom>
              <a:avLst/>
              <a:gdLst/>
              <a:ahLst/>
              <a:cxnLst/>
              <a:rect l="0" t="0" r="0" b="0"/>
              <a:pathLst>
                <a:path w="180646" h="16422">
                  <a:moveTo>
                    <a:pt x="1326" y="1326"/>
                  </a:moveTo>
                  <a:lnTo>
                    <a:pt x="181973" y="1326"/>
                  </a:lnTo>
                  <a:lnTo>
                    <a:pt x="181973" y="17749"/>
                  </a:lnTo>
                  <a:lnTo>
                    <a:pt x="1326" y="17749"/>
                  </a:lnTo>
                  <a:close/>
                </a:path>
              </a:pathLst>
            </a:custGeom>
            <a:grpFill/>
            <a:ln w="4103" cap="flat">
              <a:noFill/>
              <a:prstDash val="solid"/>
              <a:miter/>
            </a:ln>
          </p:spPr>
          <p:txBody>
            <a:bodyPr/>
            <a:lstStyle/>
            <a:p>
              <a:pPr defTabSz="932418"/>
              <a:endParaRPr lang="en-US" sz="1836">
                <a:solidFill>
                  <a:srgbClr val="505050"/>
                </a:solidFill>
                <a:latin typeface="Segoe UI"/>
              </a:endParaRPr>
            </a:p>
          </p:txBody>
        </p:sp>
        <p:sp>
          <p:nvSpPr>
            <p:cNvPr id="394" name="Freeform: Shape 393">
              <a:extLst>
                <a:ext uri="{FF2B5EF4-FFF2-40B4-BE49-F238E27FC236}">
                  <a16:creationId xmlns:a16="http://schemas.microsoft.com/office/drawing/2014/main" id="{BD7D73E1-D01A-4DF8-8346-EE405F35AE01}"/>
                </a:ext>
              </a:extLst>
            </p:cNvPr>
            <p:cNvSpPr/>
            <p:nvPr/>
          </p:nvSpPr>
          <p:spPr>
            <a:xfrm>
              <a:off x="6930706" y="2604690"/>
              <a:ext cx="291498" cy="295603"/>
            </a:xfrm>
            <a:custGeom>
              <a:avLst/>
              <a:gdLst/>
              <a:ahLst/>
              <a:cxnLst/>
              <a:rect l="0" t="0" r="0" b="0"/>
              <a:pathLst>
                <a:path w="291497" h="295603">
                  <a:moveTo>
                    <a:pt x="70300" y="296543"/>
                  </a:moveTo>
                  <a:lnTo>
                    <a:pt x="58394" y="285047"/>
                  </a:lnTo>
                  <a:lnTo>
                    <a:pt x="267780" y="70735"/>
                  </a:lnTo>
                  <a:cubicBezTo>
                    <a:pt x="279686" y="58829"/>
                    <a:pt x="280097" y="39943"/>
                    <a:pt x="268601" y="27626"/>
                  </a:cubicBezTo>
                  <a:cubicBezTo>
                    <a:pt x="262853" y="21468"/>
                    <a:pt x="255052" y="18183"/>
                    <a:pt x="246841" y="17773"/>
                  </a:cubicBezTo>
                  <a:cubicBezTo>
                    <a:pt x="238630" y="17362"/>
                    <a:pt x="230419" y="20647"/>
                    <a:pt x="224671" y="26394"/>
                  </a:cubicBezTo>
                  <a:lnTo>
                    <a:pt x="12412" y="227158"/>
                  </a:lnTo>
                  <a:lnTo>
                    <a:pt x="1326" y="215252"/>
                  </a:lnTo>
                  <a:lnTo>
                    <a:pt x="213996" y="14488"/>
                  </a:lnTo>
                  <a:cubicBezTo>
                    <a:pt x="223029" y="5866"/>
                    <a:pt x="235346" y="940"/>
                    <a:pt x="248073" y="1350"/>
                  </a:cubicBezTo>
                  <a:cubicBezTo>
                    <a:pt x="260800" y="1761"/>
                    <a:pt x="272707" y="7098"/>
                    <a:pt x="281328" y="16541"/>
                  </a:cubicBezTo>
                  <a:cubicBezTo>
                    <a:pt x="298982" y="35427"/>
                    <a:pt x="298161" y="64166"/>
                    <a:pt x="280097" y="82231"/>
                  </a:cubicBezTo>
                  <a:lnTo>
                    <a:pt x="70300" y="296543"/>
                  </a:lnTo>
                  <a:close/>
                </a:path>
              </a:pathLst>
            </a:custGeom>
            <a:grpFill/>
            <a:ln w="4103" cap="flat">
              <a:noFill/>
              <a:prstDash val="solid"/>
              <a:miter/>
            </a:ln>
          </p:spPr>
          <p:txBody>
            <a:bodyPr/>
            <a:lstStyle/>
            <a:p>
              <a:pPr defTabSz="932418"/>
              <a:endParaRPr lang="en-US" sz="1836">
                <a:solidFill>
                  <a:srgbClr val="505050"/>
                </a:solidFill>
                <a:latin typeface="Segoe UI"/>
              </a:endParaRPr>
            </a:p>
          </p:txBody>
        </p:sp>
        <p:sp>
          <p:nvSpPr>
            <p:cNvPr id="395" name="Freeform: Shape 394">
              <a:extLst>
                <a:ext uri="{FF2B5EF4-FFF2-40B4-BE49-F238E27FC236}">
                  <a16:creationId xmlns:a16="http://schemas.microsoft.com/office/drawing/2014/main" id="{532F0775-2D2F-4D59-A0B7-14510E38B8A8}"/>
                </a:ext>
              </a:extLst>
            </p:cNvPr>
            <p:cNvSpPr/>
            <p:nvPr/>
          </p:nvSpPr>
          <p:spPr>
            <a:xfrm>
              <a:off x="6754165" y="2815925"/>
              <a:ext cx="250442" cy="131379"/>
            </a:xfrm>
            <a:custGeom>
              <a:avLst/>
              <a:gdLst/>
              <a:ahLst/>
              <a:cxnLst/>
              <a:rect l="0" t="0" r="0" b="0"/>
              <a:pathLst>
                <a:path w="250441" h="131379">
                  <a:moveTo>
                    <a:pt x="126547" y="132933"/>
                  </a:moveTo>
                  <a:cubicBezTo>
                    <a:pt x="106019" y="132933"/>
                    <a:pt x="83849" y="132933"/>
                    <a:pt x="64142" y="132522"/>
                  </a:cubicBezTo>
                  <a:cubicBezTo>
                    <a:pt x="29245" y="132111"/>
                    <a:pt x="1326" y="131701"/>
                    <a:pt x="1326" y="131701"/>
                  </a:cubicBezTo>
                  <a:lnTo>
                    <a:pt x="1737" y="115278"/>
                  </a:lnTo>
                  <a:cubicBezTo>
                    <a:pt x="1737" y="115278"/>
                    <a:pt x="29245" y="115689"/>
                    <a:pt x="64142" y="116100"/>
                  </a:cubicBezTo>
                  <a:cubicBezTo>
                    <a:pt x="64963" y="116100"/>
                    <a:pt x="65784" y="116100"/>
                    <a:pt x="66605" y="116100"/>
                  </a:cubicBezTo>
                  <a:cubicBezTo>
                    <a:pt x="70301" y="115689"/>
                    <a:pt x="73996" y="115689"/>
                    <a:pt x="77691" y="115689"/>
                  </a:cubicBezTo>
                  <a:cubicBezTo>
                    <a:pt x="94934" y="116100"/>
                    <a:pt x="108483" y="116100"/>
                    <a:pt x="112588" y="72580"/>
                  </a:cubicBezTo>
                  <a:cubicBezTo>
                    <a:pt x="116694" y="30293"/>
                    <a:pt x="143791" y="8943"/>
                    <a:pt x="167603" y="3196"/>
                  </a:cubicBezTo>
                  <a:cubicBezTo>
                    <a:pt x="194700" y="-3373"/>
                    <a:pt x="222208" y="7712"/>
                    <a:pt x="237398" y="31114"/>
                  </a:cubicBezTo>
                  <a:cubicBezTo>
                    <a:pt x="251768" y="53284"/>
                    <a:pt x="253821" y="79149"/>
                    <a:pt x="242736" y="100498"/>
                  </a:cubicBezTo>
                  <a:cubicBezTo>
                    <a:pt x="233293" y="118974"/>
                    <a:pt x="215639" y="130469"/>
                    <a:pt x="195111" y="131701"/>
                  </a:cubicBezTo>
                  <a:cubicBezTo>
                    <a:pt x="181562" y="132933"/>
                    <a:pt x="155286" y="132933"/>
                    <a:pt x="126547" y="132933"/>
                  </a:cubicBezTo>
                  <a:close/>
                  <a:moveTo>
                    <a:pt x="116694" y="116510"/>
                  </a:moveTo>
                  <a:cubicBezTo>
                    <a:pt x="149128" y="116510"/>
                    <a:pt x="179509" y="116510"/>
                    <a:pt x="194290" y="115689"/>
                  </a:cubicBezTo>
                  <a:cubicBezTo>
                    <a:pt x="209070" y="114868"/>
                    <a:pt x="221387" y="107067"/>
                    <a:pt x="228366" y="93519"/>
                  </a:cubicBezTo>
                  <a:cubicBezTo>
                    <a:pt x="236577" y="77507"/>
                    <a:pt x="234935" y="57389"/>
                    <a:pt x="223850" y="40557"/>
                  </a:cubicBezTo>
                  <a:cubicBezTo>
                    <a:pt x="212354" y="22492"/>
                    <a:pt x="192237" y="14691"/>
                    <a:pt x="171709" y="19618"/>
                  </a:cubicBezTo>
                  <a:cubicBezTo>
                    <a:pt x="153234" y="24134"/>
                    <a:pt x="132295" y="40967"/>
                    <a:pt x="129011" y="74633"/>
                  </a:cubicBezTo>
                  <a:cubicBezTo>
                    <a:pt x="126958" y="94750"/>
                    <a:pt x="122852" y="107888"/>
                    <a:pt x="116694" y="116510"/>
                  </a:cubicBezTo>
                  <a:close/>
                </a:path>
              </a:pathLst>
            </a:custGeom>
            <a:grpFill/>
            <a:ln w="4103" cap="flat">
              <a:noFill/>
              <a:prstDash val="solid"/>
              <a:miter/>
            </a:ln>
          </p:spPr>
          <p:txBody>
            <a:bodyPr/>
            <a:lstStyle/>
            <a:p>
              <a:pPr defTabSz="932418"/>
              <a:endParaRPr lang="en-US" sz="1836">
                <a:solidFill>
                  <a:srgbClr val="505050"/>
                </a:solidFill>
                <a:latin typeface="Segoe UI"/>
              </a:endParaRPr>
            </a:p>
          </p:txBody>
        </p:sp>
        <p:sp>
          <p:nvSpPr>
            <p:cNvPr id="396" name="Freeform: Shape 395">
              <a:extLst>
                <a:ext uri="{FF2B5EF4-FFF2-40B4-BE49-F238E27FC236}">
                  <a16:creationId xmlns:a16="http://schemas.microsoft.com/office/drawing/2014/main" id="{8A45D11A-D05D-4ADB-8423-82A913ECC345}"/>
                </a:ext>
              </a:extLst>
            </p:cNvPr>
            <p:cNvSpPr/>
            <p:nvPr/>
          </p:nvSpPr>
          <p:spPr>
            <a:xfrm>
              <a:off x="6999665" y="2752188"/>
              <a:ext cx="73901" cy="78006"/>
            </a:xfrm>
            <a:custGeom>
              <a:avLst/>
              <a:gdLst/>
              <a:ahLst/>
              <a:cxnLst/>
              <a:rect l="0" t="0" r="0" b="0"/>
              <a:pathLst>
                <a:path w="73900" h="78006">
                  <a:moveTo>
                    <a:pt x="1875" y="13024"/>
                  </a:moveTo>
                  <a:lnTo>
                    <a:pt x="13933" y="1874"/>
                  </a:lnTo>
                  <a:lnTo>
                    <a:pt x="72467" y="65184"/>
                  </a:lnTo>
                  <a:lnTo>
                    <a:pt x="60408" y="76333"/>
                  </a:lnTo>
                  <a:close/>
                </a:path>
              </a:pathLst>
            </a:custGeom>
            <a:grpFill/>
            <a:ln w="4103" cap="flat">
              <a:noFill/>
              <a:prstDash val="solid"/>
              <a:miter/>
            </a:ln>
          </p:spPr>
          <p:txBody>
            <a:bodyPr/>
            <a:lstStyle/>
            <a:p>
              <a:pPr defTabSz="932418"/>
              <a:endParaRPr lang="en-US" sz="1836">
                <a:solidFill>
                  <a:srgbClr val="505050"/>
                </a:solidFill>
                <a:latin typeface="Segoe UI"/>
              </a:endParaRPr>
            </a:p>
          </p:txBody>
        </p:sp>
      </p:grpSp>
      <p:grpSp>
        <p:nvGrpSpPr>
          <p:cNvPr id="404" name="Graphic 402">
            <a:extLst>
              <a:ext uri="{FF2B5EF4-FFF2-40B4-BE49-F238E27FC236}">
                <a16:creationId xmlns:a16="http://schemas.microsoft.com/office/drawing/2014/main" id="{97014CCA-5DC8-4EB8-8D1F-EA9454C31C26}"/>
              </a:ext>
            </a:extLst>
          </p:cNvPr>
          <p:cNvGrpSpPr/>
          <p:nvPr/>
        </p:nvGrpSpPr>
        <p:grpSpPr>
          <a:xfrm>
            <a:off x="1640000" y="2829436"/>
            <a:ext cx="288233" cy="196426"/>
            <a:chOff x="5453063" y="3474696"/>
            <a:chExt cx="575882" cy="392453"/>
          </a:xfrm>
          <a:solidFill>
            <a:schemeClr val="accent1"/>
          </a:solidFill>
        </p:grpSpPr>
        <p:sp>
          <p:nvSpPr>
            <p:cNvPr id="405" name="Freeform: Shape 404">
              <a:extLst>
                <a:ext uri="{FF2B5EF4-FFF2-40B4-BE49-F238E27FC236}">
                  <a16:creationId xmlns:a16="http://schemas.microsoft.com/office/drawing/2014/main" id="{825EDADF-47E5-426A-A852-0DB82B314884}"/>
                </a:ext>
              </a:extLst>
            </p:cNvPr>
            <p:cNvSpPr/>
            <p:nvPr/>
          </p:nvSpPr>
          <p:spPr>
            <a:xfrm>
              <a:off x="5451625" y="3660116"/>
              <a:ext cx="575882" cy="209024"/>
            </a:xfrm>
            <a:custGeom>
              <a:avLst/>
              <a:gdLst/>
              <a:ahLst/>
              <a:cxnLst/>
              <a:rect l="0" t="0" r="0" b="0"/>
              <a:pathLst>
                <a:path w="575882" h="209023">
                  <a:moveTo>
                    <a:pt x="12103" y="208740"/>
                  </a:moveTo>
                  <a:cubicBezTo>
                    <a:pt x="9117" y="208740"/>
                    <a:pt x="6557" y="207460"/>
                    <a:pt x="4424" y="205327"/>
                  </a:cubicBezTo>
                  <a:cubicBezTo>
                    <a:pt x="1438" y="202767"/>
                    <a:pt x="585" y="198502"/>
                    <a:pt x="2292" y="194662"/>
                  </a:cubicBezTo>
                  <a:lnTo>
                    <a:pt x="70544" y="8247"/>
                  </a:lnTo>
                  <a:cubicBezTo>
                    <a:pt x="72251" y="3981"/>
                    <a:pt x="76090" y="1422"/>
                    <a:pt x="80356" y="1422"/>
                  </a:cubicBezTo>
                  <a:lnTo>
                    <a:pt x="565803" y="1422"/>
                  </a:lnTo>
                  <a:cubicBezTo>
                    <a:pt x="570922" y="1422"/>
                    <a:pt x="575614" y="5261"/>
                    <a:pt x="576467" y="10380"/>
                  </a:cubicBezTo>
                  <a:cubicBezTo>
                    <a:pt x="577320" y="15499"/>
                    <a:pt x="574334" y="20618"/>
                    <a:pt x="569215" y="22324"/>
                  </a:cubicBezTo>
                  <a:lnTo>
                    <a:pt x="15516" y="208313"/>
                  </a:lnTo>
                  <a:cubicBezTo>
                    <a:pt x="14236" y="208740"/>
                    <a:pt x="13383" y="208740"/>
                    <a:pt x="12103" y="208740"/>
                  </a:cubicBezTo>
                  <a:close/>
                  <a:moveTo>
                    <a:pt x="87607" y="22324"/>
                  </a:moveTo>
                  <a:lnTo>
                    <a:pt x="29593" y="181012"/>
                  </a:lnTo>
                  <a:lnTo>
                    <a:pt x="500536" y="22324"/>
                  </a:lnTo>
                  <a:lnTo>
                    <a:pt x="87607" y="22324"/>
                  </a:lnTo>
                  <a:close/>
                </a:path>
              </a:pathLst>
            </a:custGeom>
            <a:grpFill/>
            <a:ln w="4233" cap="flat">
              <a:noFill/>
              <a:prstDash val="solid"/>
              <a:miter/>
            </a:ln>
          </p:spPr>
          <p:txBody>
            <a:bodyPr/>
            <a:lstStyle/>
            <a:p>
              <a:pPr defTabSz="932418"/>
              <a:endParaRPr lang="en-US" sz="1836">
                <a:solidFill>
                  <a:srgbClr val="505050"/>
                </a:solidFill>
                <a:latin typeface="Segoe UI"/>
              </a:endParaRPr>
            </a:p>
          </p:txBody>
        </p:sp>
        <p:sp>
          <p:nvSpPr>
            <p:cNvPr id="406" name="Freeform: Shape 405">
              <a:extLst>
                <a:ext uri="{FF2B5EF4-FFF2-40B4-BE49-F238E27FC236}">
                  <a16:creationId xmlns:a16="http://schemas.microsoft.com/office/drawing/2014/main" id="{27901C97-443A-4642-B7CF-35A229D44498}"/>
                </a:ext>
              </a:extLst>
            </p:cNvPr>
            <p:cNvSpPr/>
            <p:nvPr/>
          </p:nvSpPr>
          <p:spPr>
            <a:xfrm>
              <a:off x="5451625" y="3473551"/>
              <a:ext cx="575882" cy="209024"/>
            </a:xfrm>
            <a:custGeom>
              <a:avLst/>
              <a:gdLst/>
              <a:ahLst/>
              <a:cxnLst/>
              <a:rect l="0" t="0" r="0" b="0"/>
              <a:pathLst>
                <a:path w="575882" h="209023">
                  <a:moveTo>
                    <a:pt x="565803" y="208889"/>
                  </a:moveTo>
                  <a:lnTo>
                    <a:pt x="80356" y="208889"/>
                  </a:lnTo>
                  <a:cubicBezTo>
                    <a:pt x="76090" y="208889"/>
                    <a:pt x="71824" y="205903"/>
                    <a:pt x="70544" y="202064"/>
                  </a:cubicBezTo>
                  <a:lnTo>
                    <a:pt x="2292" y="15648"/>
                  </a:lnTo>
                  <a:cubicBezTo>
                    <a:pt x="585" y="11809"/>
                    <a:pt x="1438" y="7117"/>
                    <a:pt x="4424" y="4557"/>
                  </a:cubicBezTo>
                  <a:cubicBezTo>
                    <a:pt x="7411" y="1571"/>
                    <a:pt x="11676" y="718"/>
                    <a:pt x="15516" y="1998"/>
                  </a:cubicBezTo>
                  <a:lnTo>
                    <a:pt x="568789" y="187986"/>
                  </a:lnTo>
                  <a:cubicBezTo>
                    <a:pt x="573908" y="189693"/>
                    <a:pt x="576894" y="194812"/>
                    <a:pt x="576041" y="199931"/>
                  </a:cubicBezTo>
                  <a:cubicBezTo>
                    <a:pt x="575188" y="205050"/>
                    <a:pt x="570922" y="208889"/>
                    <a:pt x="565803" y="208889"/>
                  </a:cubicBezTo>
                  <a:close/>
                  <a:moveTo>
                    <a:pt x="87607" y="187560"/>
                  </a:moveTo>
                  <a:lnTo>
                    <a:pt x="500536" y="187560"/>
                  </a:lnTo>
                  <a:lnTo>
                    <a:pt x="29593" y="28872"/>
                  </a:lnTo>
                  <a:lnTo>
                    <a:pt x="87607" y="187560"/>
                  </a:lnTo>
                  <a:close/>
                </a:path>
              </a:pathLst>
            </a:custGeom>
            <a:grpFill/>
            <a:ln w="4233" cap="flat">
              <a:noFill/>
              <a:prstDash val="solid"/>
              <a:miter/>
            </a:ln>
          </p:spPr>
          <p:txBody>
            <a:bodyPr/>
            <a:lstStyle/>
            <a:p>
              <a:pPr defTabSz="932418"/>
              <a:endParaRPr lang="en-US" sz="1836">
                <a:solidFill>
                  <a:srgbClr val="505050"/>
                </a:solidFill>
                <a:latin typeface="Segoe UI"/>
              </a:endParaRPr>
            </a:p>
          </p:txBody>
        </p:sp>
      </p:grpSp>
      <p:grpSp>
        <p:nvGrpSpPr>
          <p:cNvPr id="409" name="Graphic 407">
            <a:extLst>
              <a:ext uri="{FF2B5EF4-FFF2-40B4-BE49-F238E27FC236}">
                <a16:creationId xmlns:a16="http://schemas.microsoft.com/office/drawing/2014/main" id="{D2CBFA70-6986-4213-A78F-332198AEC202}"/>
              </a:ext>
            </a:extLst>
          </p:cNvPr>
          <p:cNvGrpSpPr/>
          <p:nvPr/>
        </p:nvGrpSpPr>
        <p:grpSpPr>
          <a:xfrm>
            <a:off x="1619928" y="2054587"/>
            <a:ext cx="298897" cy="261142"/>
            <a:chOff x="1624904" y="2057463"/>
            <a:chExt cx="904875" cy="790575"/>
          </a:xfrm>
          <a:solidFill>
            <a:schemeClr val="accent1"/>
          </a:solidFill>
        </p:grpSpPr>
        <p:sp>
          <p:nvSpPr>
            <p:cNvPr id="410" name="Freeform: Shape 409">
              <a:extLst>
                <a:ext uri="{FF2B5EF4-FFF2-40B4-BE49-F238E27FC236}">
                  <a16:creationId xmlns:a16="http://schemas.microsoft.com/office/drawing/2014/main" id="{89DD0A92-0FE8-4D53-BE14-3C6CA0E1CC2C}"/>
                </a:ext>
              </a:extLst>
            </p:cNvPr>
            <p:cNvSpPr/>
            <p:nvPr/>
          </p:nvSpPr>
          <p:spPr>
            <a:xfrm>
              <a:off x="1617760" y="2050319"/>
              <a:ext cx="914400" cy="800100"/>
            </a:xfrm>
            <a:custGeom>
              <a:avLst/>
              <a:gdLst/>
              <a:ahLst/>
              <a:cxnLst/>
              <a:rect l="0" t="0" r="0" b="0"/>
              <a:pathLst>
                <a:path w="914400" h="800100">
                  <a:moveTo>
                    <a:pt x="136684" y="795814"/>
                  </a:moveTo>
                  <a:cubicBezTo>
                    <a:pt x="134779" y="795814"/>
                    <a:pt x="132874" y="795814"/>
                    <a:pt x="130969" y="794861"/>
                  </a:cubicBezTo>
                  <a:cubicBezTo>
                    <a:pt x="125254" y="792956"/>
                    <a:pt x="122396" y="787241"/>
                    <a:pt x="122396" y="781526"/>
                  </a:cubicBezTo>
                  <a:lnTo>
                    <a:pt x="122396" y="623411"/>
                  </a:lnTo>
                  <a:lnTo>
                    <a:pt x="21431" y="623411"/>
                  </a:lnTo>
                  <a:cubicBezTo>
                    <a:pt x="13811" y="623411"/>
                    <a:pt x="7144" y="616744"/>
                    <a:pt x="7144" y="609124"/>
                  </a:cubicBezTo>
                  <a:lnTo>
                    <a:pt x="7144" y="21431"/>
                  </a:lnTo>
                  <a:cubicBezTo>
                    <a:pt x="7144" y="13811"/>
                    <a:pt x="13811" y="7144"/>
                    <a:pt x="21431" y="7144"/>
                  </a:cubicBezTo>
                  <a:lnTo>
                    <a:pt x="897731" y="7144"/>
                  </a:lnTo>
                  <a:cubicBezTo>
                    <a:pt x="905351" y="7144"/>
                    <a:pt x="912019" y="13811"/>
                    <a:pt x="912019" y="21431"/>
                  </a:cubicBezTo>
                  <a:lnTo>
                    <a:pt x="912019" y="609124"/>
                  </a:lnTo>
                  <a:cubicBezTo>
                    <a:pt x="912019" y="616744"/>
                    <a:pt x="905351" y="623411"/>
                    <a:pt x="897731" y="623411"/>
                  </a:cubicBezTo>
                  <a:lnTo>
                    <a:pt x="315754" y="623411"/>
                  </a:lnTo>
                  <a:lnTo>
                    <a:pt x="146209" y="792004"/>
                  </a:lnTo>
                  <a:cubicBezTo>
                    <a:pt x="143351" y="794861"/>
                    <a:pt x="140494" y="795814"/>
                    <a:pt x="136684" y="795814"/>
                  </a:cubicBezTo>
                  <a:close/>
                  <a:moveTo>
                    <a:pt x="35719" y="594836"/>
                  </a:moveTo>
                  <a:lnTo>
                    <a:pt x="136684" y="594836"/>
                  </a:lnTo>
                  <a:cubicBezTo>
                    <a:pt x="144304" y="594836"/>
                    <a:pt x="150971" y="601504"/>
                    <a:pt x="150971" y="609124"/>
                  </a:cubicBezTo>
                  <a:lnTo>
                    <a:pt x="150971" y="748189"/>
                  </a:lnTo>
                  <a:lnTo>
                    <a:pt x="299561" y="599599"/>
                  </a:lnTo>
                  <a:cubicBezTo>
                    <a:pt x="302419" y="596741"/>
                    <a:pt x="306229" y="595789"/>
                    <a:pt x="310039" y="595789"/>
                  </a:cubicBezTo>
                  <a:lnTo>
                    <a:pt x="883444" y="595789"/>
                  </a:lnTo>
                  <a:lnTo>
                    <a:pt x="883444" y="35719"/>
                  </a:lnTo>
                  <a:lnTo>
                    <a:pt x="35719" y="35719"/>
                  </a:lnTo>
                  <a:lnTo>
                    <a:pt x="35719" y="594836"/>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411" name="Freeform: Shape 410">
              <a:extLst>
                <a:ext uri="{FF2B5EF4-FFF2-40B4-BE49-F238E27FC236}">
                  <a16:creationId xmlns:a16="http://schemas.microsoft.com/office/drawing/2014/main" id="{E66EC10E-4858-40BD-A7E4-875D2DF52A87}"/>
                </a:ext>
              </a:extLst>
            </p:cNvPr>
            <p:cNvSpPr/>
            <p:nvPr/>
          </p:nvSpPr>
          <p:spPr>
            <a:xfrm>
              <a:off x="1860648" y="2226532"/>
              <a:ext cx="314325" cy="276225"/>
            </a:xfrm>
            <a:custGeom>
              <a:avLst/>
              <a:gdLst/>
              <a:ahLst/>
              <a:cxnLst/>
              <a:rect l="0" t="0" r="0" b="0"/>
              <a:pathLst>
                <a:path w="314325" h="276225">
                  <a:moveTo>
                    <a:pt x="297656" y="270986"/>
                  </a:moveTo>
                  <a:lnTo>
                    <a:pt x="21431" y="270986"/>
                  </a:lnTo>
                  <a:cubicBezTo>
                    <a:pt x="13811" y="270986"/>
                    <a:pt x="7144" y="264319"/>
                    <a:pt x="7144" y="256699"/>
                  </a:cubicBezTo>
                  <a:lnTo>
                    <a:pt x="7144" y="21431"/>
                  </a:lnTo>
                  <a:cubicBezTo>
                    <a:pt x="7144" y="13811"/>
                    <a:pt x="13811" y="7144"/>
                    <a:pt x="21431" y="7144"/>
                  </a:cubicBezTo>
                  <a:lnTo>
                    <a:pt x="297656" y="7144"/>
                  </a:lnTo>
                  <a:cubicBezTo>
                    <a:pt x="305276" y="7144"/>
                    <a:pt x="311944" y="13811"/>
                    <a:pt x="311944" y="21431"/>
                  </a:cubicBezTo>
                  <a:lnTo>
                    <a:pt x="311944" y="255746"/>
                  </a:lnTo>
                  <a:cubicBezTo>
                    <a:pt x="311944" y="264319"/>
                    <a:pt x="305276" y="270986"/>
                    <a:pt x="297656" y="270986"/>
                  </a:cubicBezTo>
                  <a:close/>
                  <a:moveTo>
                    <a:pt x="35719" y="242411"/>
                  </a:moveTo>
                  <a:lnTo>
                    <a:pt x="283369" y="242411"/>
                  </a:lnTo>
                  <a:lnTo>
                    <a:pt x="283369" y="35719"/>
                  </a:lnTo>
                  <a:lnTo>
                    <a:pt x="35719" y="35719"/>
                  </a:lnTo>
                  <a:lnTo>
                    <a:pt x="35719" y="24241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412" name="Freeform: Shape 411">
              <a:extLst>
                <a:ext uri="{FF2B5EF4-FFF2-40B4-BE49-F238E27FC236}">
                  <a16:creationId xmlns:a16="http://schemas.microsoft.com/office/drawing/2014/main" id="{EA29ED0F-2D9C-4C2F-B506-8ABCA51E49A2}"/>
                </a:ext>
              </a:extLst>
            </p:cNvPr>
            <p:cNvSpPr/>
            <p:nvPr/>
          </p:nvSpPr>
          <p:spPr>
            <a:xfrm>
              <a:off x="2137071" y="2227961"/>
              <a:ext cx="161925" cy="276225"/>
            </a:xfrm>
            <a:custGeom>
              <a:avLst/>
              <a:gdLst/>
              <a:ahLst/>
              <a:cxnLst/>
              <a:rect l="0" t="0" r="0" b="0"/>
              <a:pathLst>
                <a:path w="161925" h="276225">
                  <a:moveTo>
                    <a:pt x="149820" y="269558"/>
                  </a:moveTo>
                  <a:cubicBezTo>
                    <a:pt x="147915" y="269558"/>
                    <a:pt x="145058" y="268605"/>
                    <a:pt x="143153" y="267653"/>
                  </a:cubicBezTo>
                  <a:lnTo>
                    <a:pt x="14565" y="200978"/>
                  </a:lnTo>
                  <a:cubicBezTo>
                    <a:pt x="7898" y="197167"/>
                    <a:pt x="5040" y="188595"/>
                    <a:pt x="8850" y="181928"/>
                  </a:cubicBezTo>
                  <a:cubicBezTo>
                    <a:pt x="12660" y="175260"/>
                    <a:pt x="21233" y="172403"/>
                    <a:pt x="27900" y="176213"/>
                  </a:cubicBezTo>
                  <a:lnTo>
                    <a:pt x="135533" y="231458"/>
                  </a:lnTo>
                  <a:lnTo>
                    <a:pt x="135533" y="43815"/>
                  </a:lnTo>
                  <a:lnTo>
                    <a:pt x="27900" y="100965"/>
                  </a:lnTo>
                  <a:cubicBezTo>
                    <a:pt x="21233" y="104775"/>
                    <a:pt x="12660" y="101918"/>
                    <a:pt x="8850" y="95250"/>
                  </a:cubicBezTo>
                  <a:cubicBezTo>
                    <a:pt x="5040" y="88583"/>
                    <a:pt x="7898" y="80010"/>
                    <a:pt x="14565" y="76200"/>
                  </a:cubicBezTo>
                  <a:lnTo>
                    <a:pt x="143153" y="8572"/>
                  </a:lnTo>
                  <a:cubicBezTo>
                    <a:pt x="147915" y="6668"/>
                    <a:pt x="152678" y="6668"/>
                    <a:pt x="157440" y="8572"/>
                  </a:cubicBezTo>
                  <a:cubicBezTo>
                    <a:pt x="161250" y="10477"/>
                    <a:pt x="164108" y="15240"/>
                    <a:pt x="164108" y="20003"/>
                  </a:cubicBezTo>
                  <a:lnTo>
                    <a:pt x="164108" y="254317"/>
                  </a:lnTo>
                  <a:cubicBezTo>
                    <a:pt x="164108" y="259080"/>
                    <a:pt x="161250" y="263843"/>
                    <a:pt x="157440" y="266700"/>
                  </a:cubicBezTo>
                  <a:cubicBezTo>
                    <a:pt x="154583" y="268605"/>
                    <a:pt x="152678" y="269558"/>
                    <a:pt x="149820" y="269558"/>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209" name="Group 208">
            <a:extLst>
              <a:ext uri="{FF2B5EF4-FFF2-40B4-BE49-F238E27FC236}">
                <a16:creationId xmlns:a16="http://schemas.microsoft.com/office/drawing/2014/main" id="{84490336-0DDB-4BA0-A4E1-ACB18BE918E8}"/>
              </a:ext>
            </a:extLst>
          </p:cNvPr>
          <p:cNvGrpSpPr/>
          <p:nvPr/>
        </p:nvGrpSpPr>
        <p:grpSpPr>
          <a:xfrm>
            <a:off x="551676" y="2158130"/>
            <a:ext cx="875198" cy="499547"/>
            <a:chOff x="4598546" y="1412002"/>
            <a:chExt cx="791104" cy="451547"/>
          </a:xfrm>
          <a:solidFill>
            <a:schemeClr val="accent1"/>
          </a:solidFill>
        </p:grpSpPr>
        <p:sp>
          <p:nvSpPr>
            <p:cNvPr id="215" name="Freeform: Shape 214">
              <a:extLst>
                <a:ext uri="{FF2B5EF4-FFF2-40B4-BE49-F238E27FC236}">
                  <a16:creationId xmlns:a16="http://schemas.microsoft.com/office/drawing/2014/main" id="{02DE2EDA-FEBF-4A77-88A3-9BFA7C29511A}"/>
                </a:ext>
              </a:extLst>
            </p:cNvPr>
            <p:cNvSpPr/>
            <p:nvPr/>
          </p:nvSpPr>
          <p:spPr>
            <a:xfrm>
              <a:off x="4598546" y="1413228"/>
              <a:ext cx="462491" cy="413808"/>
            </a:xfrm>
            <a:custGeom>
              <a:avLst/>
              <a:gdLst/>
              <a:ahLst/>
              <a:cxnLst/>
              <a:rect l="0" t="0" r="0" b="0"/>
              <a:pathLst>
                <a:path w="462491" h="413808">
                  <a:moveTo>
                    <a:pt x="237930" y="292699"/>
                  </a:moveTo>
                  <a:cubicBezTo>
                    <a:pt x="245233" y="292699"/>
                    <a:pt x="250101" y="297567"/>
                    <a:pt x="250101" y="304870"/>
                  </a:cubicBezTo>
                  <a:cubicBezTo>
                    <a:pt x="250101" y="312172"/>
                    <a:pt x="244016" y="317041"/>
                    <a:pt x="237930" y="317041"/>
                  </a:cubicBezTo>
                  <a:cubicBezTo>
                    <a:pt x="231845" y="317041"/>
                    <a:pt x="225759" y="312172"/>
                    <a:pt x="225759" y="304870"/>
                  </a:cubicBezTo>
                  <a:cubicBezTo>
                    <a:pt x="225759" y="297567"/>
                    <a:pt x="231845" y="292699"/>
                    <a:pt x="237930" y="292699"/>
                  </a:cubicBezTo>
                  <a:lnTo>
                    <a:pt x="237930" y="292699"/>
                  </a:lnTo>
                  <a:close/>
                  <a:moveTo>
                    <a:pt x="26158" y="286614"/>
                  </a:moveTo>
                  <a:lnTo>
                    <a:pt x="26158" y="290265"/>
                  </a:lnTo>
                  <a:cubicBezTo>
                    <a:pt x="26158" y="313389"/>
                    <a:pt x="26158" y="313389"/>
                    <a:pt x="26158" y="313389"/>
                  </a:cubicBezTo>
                  <a:cubicBezTo>
                    <a:pt x="26158" y="319475"/>
                    <a:pt x="31026" y="323126"/>
                    <a:pt x="37112" y="323126"/>
                  </a:cubicBezTo>
                  <a:cubicBezTo>
                    <a:pt x="111354" y="323126"/>
                    <a:pt x="172208" y="323126"/>
                    <a:pt x="222108" y="323126"/>
                  </a:cubicBezTo>
                  <a:lnTo>
                    <a:pt x="236713" y="323126"/>
                  </a:lnTo>
                  <a:lnTo>
                    <a:pt x="236713" y="323126"/>
                  </a:lnTo>
                  <a:lnTo>
                    <a:pt x="236713" y="323126"/>
                  </a:lnTo>
                  <a:lnTo>
                    <a:pt x="246450" y="323126"/>
                  </a:lnTo>
                  <a:cubicBezTo>
                    <a:pt x="436315" y="323126"/>
                    <a:pt x="436315" y="323126"/>
                    <a:pt x="436315" y="323126"/>
                  </a:cubicBezTo>
                  <a:cubicBezTo>
                    <a:pt x="442400" y="323126"/>
                    <a:pt x="447268" y="318258"/>
                    <a:pt x="447268" y="313389"/>
                  </a:cubicBezTo>
                  <a:cubicBezTo>
                    <a:pt x="447268" y="304870"/>
                    <a:pt x="447268" y="296350"/>
                    <a:pt x="447268" y="287831"/>
                  </a:cubicBezTo>
                  <a:lnTo>
                    <a:pt x="447268" y="286614"/>
                  </a:lnTo>
                  <a:lnTo>
                    <a:pt x="415624" y="286614"/>
                  </a:lnTo>
                  <a:cubicBezTo>
                    <a:pt x="147866" y="286614"/>
                    <a:pt x="61453" y="286614"/>
                    <a:pt x="33460" y="286614"/>
                  </a:cubicBezTo>
                  <a:lnTo>
                    <a:pt x="26158" y="286614"/>
                  </a:lnTo>
                  <a:close/>
                  <a:moveTo>
                    <a:pt x="37112" y="26158"/>
                  </a:moveTo>
                  <a:cubicBezTo>
                    <a:pt x="31026" y="26158"/>
                    <a:pt x="26158" y="31026"/>
                    <a:pt x="26158" y="35894"/>
                  </a:cubicBezTo>
                  <a:cubicBezTo>
                    <a:pt x="26158" y="156386"/>
                    <a:pt x="26158" y="224542"/>
                    <a:pt x="26158" y="263489"/>
                  </a:cubicBezTo>
                  <a:lnTo>
                    <a:pt x="26158" y="270792"/>
                  </a:lnTo>
                  <a:lnTo>
                    <a:pt x="57802" y="270792"/>
                  </a:lnTo>
                  <a:cubicBezTo>
                    <a:pt x="325560" y="270792"/>
                    <a:pt x="411973" y="270792"/>
                    <a:pt x="439966" y="270792"/>
                  </a:cubicBezTo>
                  <a:lnTo>
                    <a:pt x="446051" y="270792"/>
                  </a:lnTo>
                  <a:lnTo>
                    <a:pt x="446051" y="263489"/>
                  </a:lnTo>
                  <a:cubicBezTo>
                    <a:pt x="446051" y="35894"/>
                    <a:pt x="446051" y="35894"/>
                    <a:pt x="446051" y="35894"/>
                  </a:cubicBezTo>
                  <a:cubicBezTo>
                    <a:pt x="446051" y="29809"/>
                    <a:pt x="441183" y="26158"/>
                    <a:pt x="435098" y="26158"/>
                  </a:cubicBezTo>
                  <a:lnTo>
                    <a:pt x="37112" y="26158"/>
                  </a:lnTo>
                  <a:close/>
                  <a:moveTo>
                    <a:pt x="37112" y="11553"/>
                  </a:moveTo>
                  <a:cubicBezTo>
                    <a:pt x="436315" y="11553"/>
                    <a:pt x="436315" y="11553"/>
                    <a:pt x="436315" y="11553"/>
                  </a:cubicBezTo>
                  <a:cubicBezTo>
                    <a:pt x="449703" y="11553"/>
                    <a:pt x="461873" y="22507"/>
                    <a:pt x="461873" y="37112"/>
                  </a:cubicBezTo>
                  <a:cubicBezTo>
                    <a:pt x="461873" y="175859"/>
                    <a:pt x="461873" y="244016"/>
                    <a:pt x="461873" y="279311"/>
                  </a:cubicBezTo>
                  <a:lnTo>
                    <a:pt x="461873" y="279311"/>
                  </a:lnTo>
                  <a:lnTo>
                    <a:pt x="461873" y="290265"/>
                  </a:lnTo>
                  <a:cubicBezTo>
                    <a:pt x="461873" y="313389"/>
                    <a:pt x="461873" y="313389"/>
                    <a:pt x="461873" y="313389"/>
                  </a:cubicBezTo>
                  <a:cubicBezTo>
                    <a:pt x="461873" y="326777"/>
                    <a:pt x="450920" y="338948"/>
                    <a:pt x="436315" y="338948"/>
                  </a:cubicBezTo>
                  <a:cubicBezTo>
                    <a:pt x="360856" y="338948"/>
                    <a:pt x="300001" y="338948"/>
                    <a:pt x="251318" y="338948"/>
                  </a:cubicBezTo>
                  <a:lnTo>
                    <a:pt x="244016" y="338948"/>
                  </a:lnTo>
                  <a:lnTo>
                    <a:pt x="244016" y="343817"/>
                  </a:lnTo>
                  <a:cubicBezTo>
                    <a:pt x="244016" y="365724"/>
                    <a:pt x="244016" y="379112"/>
                    <a:pt x="244016" y="388849"/>
                  </a:cubicBezTo>
                  <a:lnTo>
                    <a:pt x="244016" y="396151"/>
                  </a:lnTo>
                  <a:lnTo>
                    <a:pt x="253752" y="396151"/>
                  </a:lnTo>
                  <a:cubicBezTo>
                    <a:pt x="309738" y="396151"/>
                    <a:pt x="309738" y="396151"/>
                    <a:pt x="309738" y="396151"/>
                  </a:cubicBezTo>
                  <a:cubicBezTo>
                    <a:pt x="313389" y="396151"/>
                    <a:pt x="317041" y="399802"/>
                    <a:pt x="317041" y="403454"/>
                  </a:cubicBezTo>
                  <a:cubicBezTo>
                    <a:pt x="317041" y="407105"/>
                    <a:pt x="313389" y="410756"/>
                    <a:pt x="309738" y="410756"/>
                  </a:cubicBezTo>
                  <a:cubicBezTo>
                    <a:pt x="175859" y="410756"/>
                    <a:pt x="175859" y="410756"/>
                    <a:pt x="175859" y="410756"/>
                  </a:cubicBezTo>
                  <a:cubicBezTo>
                    <a:pt x="172208" y="410756"/>
                    <a:pt x="168556" y="407105"/>
                    <a:pt x="168556" y="403454"/>
                  </a:cubicBezTo>
                  <a:cubicBezTo>
                    <a:pt x="168556" y="399802"/>
                    <a:pt x="172208" y="396151"/>
                    <a:pt x="175859" y="396151"/>
                  </a:cubicBezTo>
                  <a:cubicBezTo>
                    <a:pt x="192898" y="396151"/>
                    <a:pt x="207503" y="396151"/>
                    <a:pt x="219674" y="396151"/>
                  </a:cubicBezTo>
                  <a:lnTo>
                    <a:pt x="228194" y="396151"/>
                  </a:lnTo>
                  <a:lnTo>
                    <a:pt x="228194" y="391283"/>
                  </a:lnTo>
                  <a:cubicBezTo>
                    <a:pt x="228194" y="363290"/>
                    <a:pt x="228194" y="348685"/>
                    <a:pt x="228194" y="341382"/>
                  </a:cubicBezTo>
                  <a:lnTo>
                    <a:pt x="228194" y="340165"/>
                  </a:lnTo>
                  <a:lnTo>
                    <a:pt x="226976" y="340165"/>
                  </a:lnTo>
                  <a:cubicBezTo>
                    <a:pt x="37112" y="340165"/>
                    <a:pt x="37112" y="340165"/>
                    <a:pt x="37112" y="340165"/>
                  </a:cubicBezTo>
                  <a:cubicBezTo>
                    <a:pt x="22507" y="340165"/>
                    <a:pt x="11553" y="329212"/>
                    <a:pt x="11553" y="314607"/>
                  </a:cubicBezTo>
                  <a:cubicBezTo>
                    <a:pt x="11553" y="306087"/>
                    <a:pt x="11553" y="297567"/>
                    <a:pt x="11553" y="289048"/>
                  </a:cubicBezTo>
                  <a:lnTo>
                    <a:pt x="11553" y="279311"/>
                  </a:lnTo>
                  <a:lnTo>
                    <a:pt x="11553" y="264706"/>
                  </a:lnTo>
                  <a:cubicBezTo>
                    <a:pt x="11553" y="37112"/>
                    <a:pt x="11553" y="37112"/>
                    <a:pt x="11553" y="37112"/>
                  </a:cubicBezTo>
                  <a:cubicBezTo>
                    <a:pt x="11553" y="22507"/>
                    <a:pt x="22507" y="11553"/>
                    <a:pt x="37112" y="11553"/>
                  </a:cubicBezTo>
                  <a:lnTo>
                    <a:pt x="37112" y="11553"/>
                  </a:lnTo>
                  <a:close/>
                </a:path>
              </a:pathLst>
            </a:custGeom>
            <a:grpFill/>
            <a:ln w="12055" cap="flat">
              <a:noFill/>
              <a:prstDash val="solid"/>
              <a:miter/>
            </a:ln>
          </p:spPr>
          <p:txBody>
            <a:bodyPr/>
            <a:lstStyle/>
            <a:p>
              <a:pPr defTabSz="932418"/>
              <a:endParaRPr lang="en-US" sz="1836">
                <a:solidFill>
                  <a:srgbClr val="505050"/>
                </a:solidFill>
                <a:latin typeface="Segoe UI"/>
              </a:endParaRPr>
            </a:p>
          </p:txBody>
        </p:sp>
        <p:sp>
          <p:nvSpPr>
            <p:cNvPr id="216" name="Freeform: Shape 215">
              <a:extLst>
                <a:ext uri="{FF2B5EF4-FFF2-40B4-BE49-F238E27FC236}">
                  <a16:creationId xmlns:a16="http://schemas.microsoft.com/office/drawing/2014/main" id="{AA6FBA06-9163-433B-8840-44D59D164669}"/>
                </a:ext>
              </a:extLst>
            </p:cNvPr>
            <p:cNvSpPr/>
            <p:nvPr/>
          </p:nvSpPr>
          <p:spPr>
            <a:xfrm>
              <a:off x="5061038" y="1644474"/>
              <a:ext cx="328612" cy="219075"/>
            </a:xfrm>
            <a:custGeom>
              <a:avLst/>
              <a:gdLst/>
              <a:ahLst/>
              <a:cxnLst/>
              <a:rect l="0" t="0" r="0" b="0"/>
              <a:pathLst>
                <a:path w="328612" h="219075">
                  <a:moveTo>
                    <a:pt x="308521" y="211154"/>
                  </a:moveTo>
                  <a:lnTo>
                    <a:pt x="31026" y="211154"/>
                  </a:lnTo>
                  <a:cubicBezTo>
                    <a:pt x="20072" y="211154"/>
                    <a:pt x="11553" y="202635"/>
                    <a:pt x="11553" y="192898"/>
                  </a:cubicBezTo>
                  <a:lnTo>
                    <a:pt x="11553" y="29809"/>
                  </a:lnTo>
                  <a:cubicBezTo>
                    <a:pt x="11553" y="20072"/>
                    <a:pt x="20072" y="11553"/>
                    <a:pt x="31026" y="11553"/>
                  </a:cubicBezTo>
                  <a:lnTo>
                    <a:pt x="307304" y="11553"/>
                  </a:lnTo>
                  <a:cubicBezTo>
                    <a:pt x="318258" y="11553"/>
                    <a:pt x="326777" y="20072"/>
                    <a:pt x="326777" y="29809"/>
                  </a:cubicBezTo>
                  <a:lnTo>
                    <a:pt x="326777" y="192898"/>
                  </a:lnTo>
                  <a:cubicBezTo>
                    <a:pt x="327994" y="202635"/>
                    <a:pt x="319475" y="211154"/>
                    <a:pt x="308521" y="211154"/>
                  </a:cubicBezTo>
                  <a:close/>
                  <a:moveTo>
                    <a:pt x="31026" y="28592"/>
                  </a:moveTo>
                  <a:cubicBezTo>
                    <a:pt x="28592" y="28592"/>
                    <a:pt x="27375" y="29809"/>
                    <a:pt x="27375" y="29809"/>
                  </a:cubicBezTo>
                  <a:lnTo>
                    <a:pt x="27375" y="192898"/>
                  </a:lnTo>
                  <a:cubicBezTo>
                    <a:pt x="27375" y="192898"/>
                    <a:pt x="28592" y="194115"/>
                    <a:pt x="31026" y="194115"/>
                  </a:cubicBezTo>
                  <a:lnTo>
                    <a:pt x="307304" y="194115"/>
                  </a:lnTo>
                  <a:cubicBezTo>
                    <a:pt x="309738" y="194115"/>
                    <a:pt x="310955" y="192898"/>
                    <a:pt x="310955" y="192898"/>
                  </a:cubicBezTo>
                  <a:lnTo>
                    <a:pt x="310955" y="29809"/>
                  </a:lnTo>
                  <a:cubicBezTo>
                    <a:pt x="310955" y="29809"/>
                    <a:pt x="309738" y="28592"/>
                    <a:pt x="307304" y="28592"/>
                  </a:cubicBezTo>
                  <a:lnTo>
                    <a:pt x="31026" y="28592"/>
                  </a:lnTo>
                  <a:close/>
                </a:path>
              </a:pathLst>
            </a:custGeom>
            <a:grpFill/>
            <a:ln w="12055" cap="flat">
              <a:noFill/>
              <a:prstDash val="solid"/>
              <a:miter/>
            </a:ln>
          </p:spPr>
          <p:txBody>
            <a:bodyPr/>
            <a:lstStyle/>
            <a:p>
              <a:pPr defTabSz="932418"/>
              <a:endParaRPr lang="en-US" sz="1836">
                <a:solidFill>
                  <a:srgbClr val="505050"/>
                </a:solidFill>
                <a:latin typeface="Segoe UI"/>
              </a:endParaRPr>
            </a:p>
          </p:txBody>
        </p:sp>
        <p:sp>
          <p:nvSpPr>
            <p:cNvPr id="217" name="Freeform: Shape 216">
              <a:extLst>
                <a:ext uri="{FF2B5EF4-FFF2-40B4-BE49-F238E27FC236}">
                  <a16:creationId xmlns:a16="http://schemas.microsoft.com/office/drawing/2014/main" id="{3D489A75-A70C-4898-892B-3F0F1C5FDBD2}"/>
                </a:ext>
              </a:extLst>
            </p:cNvPr>
            <p:cNvSpPr/>
            <p:nvPr/>
          </p:nvSpPr>
          <p:spPr>
            <a:xfrm>
              <a:off x="5328796" y="1732104"/>
              <a:ext cx="48683" cy="48683"/>
            </a:xfrm>
            <a:custGeom>
              <a:avLst/>
              <a:gdLst/>
              <a:ahLst/>
              <a:cxnLst/>
              <a:rect l="0" t="0" r="0" b="0"/>
              <a:pathLst>
                <a:path w="48683" h="48683">
                  <a:moveTo>
                    <a:pt x="27375" y="40763"/>
                  </a:moveTo>
                  <a:cubicBezTo>
                    <a:pt x="18855" y="40763"/>
                    <a:pt x="11553" y="34677"/>
                    <a:pt x="11553" y="26158"/>
                  </a:cubicBezTo>
                  <a:cubicBezTo>
                    <a:pt x="11553" y="17638"/>
                    <a:pt x="18855" y="11553"/>
                    <a:pt x="27375" y="11553"/>
                  </a:cubicBezTo>
                  <a:cubicBezTo>
                    <a:pt x="35894" y="11553"/>
                    <a:pt x="43197" y="17638"/>
                    <a:pt x="43197" y="26158"/>
                  </a:cubicBezTo>
                  <a:cubicBezTo>
                    <a:pt x="43197" y="33460"/>
                    <a:pt x="35894" y="40763"/>
                    <a:pt x="27375" y="40763"/>
                  </a:cubicBezTo>
                  <a:close/>
                  <a:moveTo>
                    <a:pt x="27375" y="27375"/>
                  </a:moveTo>
                  <a:lnTo>
                    <a:pt x="27375" y="27375"/>
                  </a:lnTo>
                  <a:lnTo>
                    <a:pt x="27375" y="27375"/>
                  </a:lnTo>
                  <a:close/>
                  <a:moveTo>
                    <a:pt x="27375" y="23724"/>
                  </a:moveTo>
                  <a:cubicBezTo>
                    <a:pt x="27375" y="23724"/>
                    <a:pt x="27375" y="24941"/>
                    <a:pt x="27375" y="24941"/>
                  </a:cubicBezTo>
                  <a:cubicBezTo>
                    <a:pt x="27375" y="24941"/>
                    <a:pt x="27375" y="26158"/>
                    <a:pt x="27375" y="26158"/>
                  </a:cubicBezTo>
                  <a:cubicBezTo>
                    <a:pt x="27375" y="26158"/>
                    <a:pt x="27375" y="24941"/>
                    <a:pt x="27375" y="24941"/>
                  </a:cubicBezTo>
                  <a:cubicBezTo>
                    <a:pt x="27375" y="24941"/>
                    <a:pt x="27375" y="24941"/>
                    <a:pt x="27375" y="23724"/>
                  </a:cubicBezTo>
                  <a:close/>
                </a:path>
              </a:pathLst>
            </a:custGeom>
            <a:grpFill/>
            <a:ln w="12055" cap="flat">
              <a:noFill/>
              <a:prstDash val="solid"/>
              <a:miter/>
            </a:ln>
          </p:spPr>
          <p:txBody>
            <a:bodyPr/>
            <a:lstStyle/>
            <a:p>
              <a:pPr defTabSz="932418"/>
              <a:endParaRPr lang="en-US" sz="1836">
                <a:solidFill>
                  <a:srgbClr val="505050"/>
                </a:solidFill>
                <a:latin typeface="Segoe UI"/>
              </a:endParaRPr>
            </a:p>
          </p:txBody>
        </p:sp>
        <p:sp>
          <p:nvSpPr>
            <p:cNvPr id="231" name="Freeform: Shape 230">
              <a:extLst>
                <a:ext uri="{FF2B5EF4-FFF2-40B4-BE49-F238E27FC236}">
                  <a16:creationId xmlns:a16="http://schemas.microsoft.com/office/drawing/2014/main" id="{308E1D88-D615-400C-8263-D157A581D48D}"/>
                </a:ext>
              </a:extLst>
            </p:cNvPr>
            <p:cNvSpPr/>
            <p:nvPr/>
          </p:nvSpPr>
          <p:spPr>
            <a:xfrm>
              <a:off x="5310540" y="1649343"/>
              <a:ext cx="36512" cy="206904"/>
            </a:xfrm>
            <a:custGeom>
              <a:avLst/>
              <a:gdLst/>
              <a:ahLst/>
              <a:cxnLst/>
              <a:rect l="0" t="0" r="0" b="0"/>
              <a:pathLst>
                <a:path w="36512" h="206904">
                  <a:moveTo>
                    <a:pt x="20072" y="206286"/>
                  </a:moveTo>
                  <a:cubicBezTo>
                    <a:pt x="15204" y="206286"/>
                    <a:pt x="11553" y="202635"/>
                    <a:pt x="11553" y="197767"/>
                  </a:cubicBezTo>
                  <a:lnTo>
                    <a:pt x="11553" y="20072"/>
                  </a:lnTo>
                  <a:cubicBezTo>
                    <a:pt x="11553" y="15204"/>
                    <a:pt x="15204" y="11553"/>
                    <a:pt x="20072" y="11553"/>
                  </a:cubicBezTo>
                  <a:cubicBezTo>
                    <a:pt x="24941" y="11553"/>
                    <a:pt x="28592" y="15204"/>
                    <a:pt x="28592" y="20072"/>
                  </a:cubicBezTo>
                  <a:lnTo>
                    <a:pt x="28592" y="197767"/>
                  </a:lnTo>
                  <a:cubicBezTo>
                    <a:pt x="28592" y="202635"/>
                    <a:pt x="24941" y="206286"/>
                    <a:pt x="20072" y="206286"/>
                  </a:cubicBezTo>
                  <a:close/>
                </a:path>
              </a:pathLst>
            </a:custGeom>
            <a:grpFill/>
            <a:ln w="12055" cap="flat">
              <a:noFill/>
              <a:prstDash val="solid"/>
              <a:miter/>
            </a:ln>
          </p:spPr>
          <p:txBody>
            <a:bodyPr/>
            <a:lstStyle/>
            <a:p>
              <a:pPr defTabSz="932418"/>
              <a:endParaRPr lang="en-US" sz="1836">
                <a:solidFill>
                  <a:srgbClr val="505050"/>
                </a:solidFill>
                <a:latin typeface="Segoe UI"/>
              </a:endParaRPr>
            </a:p>
          </p:txBody>
        </p:sp>
        <p:sp>
          <p:nvSpPr>
            <p:cNvPr id="232" name="Freeform: Shape 231">
              <a:extLst>
                <a:ext uri="{FF2B5EF4-FFF2-40B4-BE49-F238E27FC236}">
                  <a16:creationId xmlns:a16="http://schemas.microsoft.com/office/drawing/2014/main" id="{BB4DB531-9F69-412B-8721-F6F0122123FF}"/>
                </a:ext>
              </a:extLst>
            </p:cNvPr>
            <p:cNvSpPr/>
            <p:nvPr/>
          </p:nvSpPr>
          <p:spPr>
            <a:xfrm>
              <a:off x="5071982" y="1412002"/>
              <a:ext cx="133879" cy="231246"/>
            </a:xfrm>
            <a:custGeom>
              <a:avLst/>
              <a:gdLst/>
              <a:ahLst/>
              <a:cxnLst/>
              <a:rect l="0" t="0" r="0" b="0"/>
              <a:pathLst>
                <a:path w="133879" h="231245">
                  <a:moveTo>
                    <a:pt x="112580" y="230637"/>
                  </a:moveTo>
                  <a:lnTo>
                    <a:pt x="27384" y="230637"/>
                  </a:lnTo>
                  <a:cubicBezTo>
                    <a:pt x="17648" y="230637"/>
                    <a:pt x="9128" y="222118"/>
                    <a:pt x="9128" y="212381"/>
                  </a:cubicBezTo>
                  <a:lnTo>
                    <a:pt x="9128" y="27384"/>
                  </a:lnTo>
                  <a:cubicBezTo>
                    <a:pt x="9128" y="17648"/>
                    <a:pt x="17648" y="9128"/>
                    <a:pt x="27384" y="9128"/>
                  </a:cubicBezTo>
                  <a:lnTo>
                    <a:pt x="112580" y="9128"/>
                  </a:lnTo>
                  <a:cubicBezTo>
                    <a:pt x="122317" y="9128"/>
                    <a:pt x="130836" y="17648"/>
                    <a:pt x="130836" y="27384"/>
                  </a:cubicBezTo>
                  <a:lnTo>
                    <a:pt x="130836" y="212381"/>
                  </a:lnTo>
                  <a:cubicBezTo>
                    <a:pt x="130836" y="222118"/>
                    <a:pt x="122317" y="230637"/>
                    <a:pt x="112580" y="230637"/>
                  </a:cubicBezTo>
                  <a:close/>
                  <a:moveTo>
                    <a:pt x="27384" y="21299"/>
                  </a:moveTo>
                  <a:cubicBezTo>
                    <a:pt x="23733" y="21299"/>
                    <a:pt x="21299" y="23733"/>
                    <a:pt x="21299" y="27384"/>
                  </a:cubicBezTo>
                  <a:lnTo>
                    <a:pt x="21299" y="212381"/>
                  </a:lnTo>
                  <a:cubicBezTo>
                    <a:pt x="21299" y="216032"/>
                    <a:pt x="23733" y="218466"/>
                    <a:pt x="27384" y="218466"/>
                  </a:cubicBezTo>
                  <a:lnTo>
                    <a:pt x="112580" y="218466"/>
                  </a:lnTo>
                  <a:cubicBezTo>
                    <a:pt x="116231" y="218466"/>
                    <a:pt x="118666" y="216032"/>
                    <a:pt x="118666" y="212381"/>
                  </a:cubicBezTo>
                  <a:lnTo>
                    <a:pt x="118666" y="27384"/>
                  </a:lnTo>
                  <a:cubicBezTo>
                    <a:pt x="118666" y="23733"/>
                    <a:pt x="116231" y="21299"/>
                    <a:pt x="112580" y="21299"/>
                  </a:cubicBezTo>
                  <a:lnTo>
                    <a:pt x="27384" y="2129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33" name="Freeform: Shape 232">
              <a:extLst>
                <a:ext uri="{FF2B5EF4-FFF2-40B4-BE49-F238E27FC236}">
                  <a16:creationId xmlns:a16="http://schemas.microsoft.com/office/drawing/2014/main" id="{75C1FF14-81A7-4B29-95F2-CBE4A82B8EF5}"/>
                </a:ext>
              </a:extLst>
            </p:cNvPr>
            <p:cNvSpPr/>
            <p:nvPr/>
          </p:nvSpPr>
          <p:spPr>
            <a:xfrm>
              <a:off x="5084153" y="1443646"/>
              <a:ext cx="121708" cy="24342"/>
            </a:xfrm>
            <a:custGeom>
              <a:avLst/>
              <a:gdLst/>
              <a:ahLst/>
              <a:cxnLst/>
              <a:rect l="0" t="0" r="0" b="0"/>
              <a:pathLst>
                <a:path w="121708" h="24341">
                  <a:moveTo>
                    <a:pt x="9128" y="9128"/>
                  </a:moveTo>
                  <a:lnTo>
                    <a:pt x="112580" y="9128"/>
                  </a:lnTo>
                  <a:lnTo>
                    <a:pt x="112580" y="21299"/>
                  </a:lnTo>
                  <a:lnTo>
                    <a:pt x="9128" y="2129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34" name="Freeform: Shape 233">
              <a:extLst>
                <a:ext uri="{FF2B5EF4-FFF2-40B4-BE49-F238E27FC236}">
                  <a16:creationId xmlns:a16="http://schemas.microsoft.com/office/drawing/2014/main" id="{47C88225-4053-417E-B365-6A58A4F51BFF}"/>
                </a:ext>
              </a:extLst>
            </p:cNvPr>
            <p:cNvSpPr/>
            <p:nvPr/>
          </p:nvSpPr>
          <p:spPr>
            <a:xfrm>
              <a:off x="5084153" y="1588479"/>
              <a:ext cx="109537" cy="24342"/>
            </a:xfrm>
            <a:custGeom>
              <a:avLst/>
              <a:gdLst/>
              <a:ahLst/>
              <a:cxnLst/>
              <a:rect l="0" t="0" r="0" b="0"/>
              <a:pathLst>
                <a:path w="109537" h="24341">
                  <a:moveTo>
                    <a:pt x="9128" y="9128"/>
                  </a:moveTo>
                  <a:lnTo>
                    <a:pt x="108929" y="9128"/>
                  </a:lnTo>
                  <a:lnTo>
                    <a:pt x="108929" y="21299"/>
                  </a:lnTo>
                  <a:lnTo>
                    <a:pt x="9128" y="2129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35" name="Freeform: Shape 234">
              <a:extLst>
                <a:ext uri="{FF2B5EF4-FFF2-40B4-BE49-F238E27FC236}">
                  <a16:creationId xmlns:a16="http://schemas.microsoft.com/office/drawing/2014/main" id="{03ADBEF9-289D-4B1F-875E-F21B9AEF64BB}"/>
                </a:ext>
              </a:extLst>
            </p:cNvPr>
            <p:cNvSpPr/>
            <p:nvPr/>
          </p:nvSpPr>
          <p:spPr>
            <a:xfrm>
              <a:off x="5123099" y="1604301"/>
              <a:ext cx="24342" cy="24342"/>
            </a:xfrm>
            <a:custGeom>
              <a:avLst/>
              <a:gdLst/>
              <a:ahLst/>
              <a:cxnLst/>
              <a:rect l="0" t="0" r="0" b="0"/>
              <a:pathLst>
                <a:path w="24341" h="24341">
                  <a:moveTo>
                    <a:pt x="21299" y="15214"/>
                  </a:moveTo>
                  <a:cubicBezTo>
                    <a:pt x="21299" y="18574"/>
                    <a:pt x="18574" y="21299"/>
                    <a:pt x="15214" y="21299"/>
                  </a:cubicBezTo>
                  <a:cubicBezTo>
                    <a:pt x="11853" y="21299"/>
                    <a:pt x="9128" y="18574"/>
                    <a:pt x="9128" y="15214"/>
                  </a:cubicBezTo>
                  <a:cubicBezTo>
                    <a:pt x="9128" y="11853"/>
                    <a:pt x="11853" y="9128"/>
                    <a:pt x="15214" y="9128"/>
                  </a:cubicBezTo>
                  <a:cubicBezTo>
                    <a:pt x="18574" y="9128"/>
                    <a:pt x="21299" y="11853"/>
                    <a:pt x="21299" y="15214"/>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236" name="Group 235">
            <a:extLst>
              <a:ext uri="{FF2B5EF4-FFF2-40B4-BE49-F238E27FC236}">
                <a16:creationId xmlns:a16="http://schemas.microsoft.com/office/drawing/2014/main" id="{9FB8ED4D-03DC-40A0-86A0-C54A57FA083E}"/>
              </a:ext>
            </a:extLst>
          </p:cNvPr>
          <p:cNvGrpSpPr/>
          <p:nvPr/>
        </p:nvGrpSpPr>
        <p:grpSpPr>
          <a:xfrm>
            <a:off x="823834" y="2913419"/>
            <a:ext cx="467437" cy="439292"/>
            <a:chOff x="7116768" y="3441704"/>
            <a:chExt cx="606426" cy="569913"/>
          </a:xfrm>
          <a:solidFill>
            <a:schemeClr val="accent1"/>
          </a:solidFill>
        </p:grpSpPr>
        <p:sp>
          <p:nvSpPr>
            <p:cNvPr id="237" name="Freeform 85">
              <a:extLst>
                <a:ext uri="{FF2B5EF4-FFF2-40B4-BE49-F238E27FC236}">
                  <a16:creationId xmlns:a16="http://schemas.microsoft.com/office/drawing/2014/main" id="{D3C87C53-D430-4346-B291-AEB6E224DC31}"/>
                </a:ext>
              </a:extLst>
            </p:cNvPr>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noAutofit/>
            </a:bodyPr>
            <a:lstStyle/>
            <a:p>
              <a:pPr defTabSz="932418"/>
              <a:endParaRPr lang="en-US" sz="1836">
                <a:solidFill>
                  <a:srgbClr val="505050"/>
                </a:solidFill>
                <a:latin typeface="Segoe UI"/>
              </a:endParaRPr>
            </a:p>
          </p:txBody>
        </p:sp>
        <p:sp>
          <p:nvSpPr>
            <p:cNvPr id="238" name="Freeform 86">
              <a:extLst>
                <a:ext uri="{FF2B5EF4-FFF2-40B4-BE49-F238E27FC236}">
                  <a16:creationId xmlns:a16="http://schemas.microsoft.com/office/drawing/2014/main" id="{7BB24D85-23BC-467A-945F-BC0ECD338DAA}"/>
                </a:ext>
              </a:extLst>
            </p:cNvPr>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noAutofit/>
            </a:bodyPr>
            <a:lstStyle/>
            <a:p>
              <a:pPr defTabSz="932418"/>
              <a:endParaRPr lang="en-US" sz="1836">
                <a:solidFill>
                  <a:srgbClr val="505050"/>
                </a:solidFill>
                <a:latin typeface="Segoe UI"/>
              </a:endParaRPr>
            </a:p>
          </p:txBody>
        </p:sp>
      </p:grpSp>
      <p:sp>
        <p:nvSpPr>
          <p:cNvPr id="239" name="Freeform 54">
            <a:extLst>
              <a:ext uri="{FF2B5EF4-FFF2-40B4-BE49-F238E27FC236}">
                <a16:creationId xmlns:a16="http://schemas.microsoft.com/office/drawing/2014/main" id="{42F85F02-B100-4129-BDCD-0D6D8D371D94}"/>
              </a:ext>
            </a:extLst>
          </p:cNvPr>
          <p:cNvSpPr>
            <a:spLocks/>
          </p:cNvSpPr>
          <p:nvPr/>
        </p:nvSpPr>
        <p:spPr bwMode="auto">
          <a:xfrm rot="16200000">
            <a:off x="861464" y="3628428"/>
            <a:ext cx="315971" cy="567778"/>
          </a:xfrm>
          <a:custGeom>
            <a:avLst/>
            <a:gdLst>
              <a:gd name="connsiteX0" fmla="*/ 930274 w 1860550"/>
              <a:gd name="connsiteY0" fmla="*/ 2997199 h 3343276"/>
              <a:gd name="connsiteX1" fmla="*/ 898524 w 1860550"/>
              <a:gd name="connsiteY1" fmla="*/ 3030537 h 3343276"/>
              <a:gd name="connsiteX2" fmla="*/ 930274 w 1860550"/>
              <a:gd name="connsiteY2" fmla="*/ 3063875 h 3343276"/>
              <a:gd name="connsiteX3" fmla="*/ 962024 w 1860550"/>
              <a:gd name="connsiteY3" fmla="*/ 3030537 h 3343276"/>
              <a:gd name="connsiteX4" fmla="*/ 930274 w 1860550"/>
              <a:gd name="connsiteY4" fmla="*/ 2997199 h 3343276"/>
              <a:gd name="connsiteX5" fmla="*/ 930275 w 1860550"/>
              <a:gd name="connsiteY5" fmla="*/ 2874962 h 3343276"/>
              <a:gd name="connsiteX6" fmla="*/ 1084263 w 1860550"/>
              <a:gd name="connsiteY6" fmla="*/ 3029744 h 3343276"/>
              <a:gd name="connsiteX7" fmla="*/ 930275 w 1860550"/>
              <a:gd name="connsiteY7" fmla="*/ 3184526 h 3343276"/>
              <a:gd name="connsiteX8" fmla="*/ 776287 w 1860550"/>
              <a:gd name="connsiteY8" fmla="*/ 3029744 h 3343276"/>
              <a:gd name="connsiteX9" fmla="*/ 930275 w 1860550"/>
              <a:gd name="connsiteY9" fmla="*/ 2874962 h 3343276"/>
              <a:gd name="connsiteX10" fmla="*/ 122238 w 1860550"/>
              <a:gd name="connsiteY10" fmla="*/ 2844800 h 3343276"/>
              <a:gd name="connsiteX11" fmla="*/ 122238 w 1860550"/>
              <a:gd name="connsiteY11" fmla="*/ 2858922 h 3343276"/>
              <a:gd name="connsiteX12" fmla="*/ 122238 w 1860550"/>
              <a:gd name="connsiteY12" fmla="*/ 2919914 h 3343276"/>
              <a:gd name="connsiteX13" fmla="*/ 122238 w 1860550"/>
              <a:gd name="connsiteY13" fmla="*/ 2937881 h 3343276"/>
              <a:gd name="connsiteX14" fmla="*/ 122238 w 1860550"/>
              <a:gd name="connsiteY14" fmla="*/ 2976361 h 3343276"/>
              <a:gd name="connsiteX15" fmla="*/ 122238 w 1860550"/>
              <a:gd name="connsiteY15" fmla="*/ 2994458 h 3343276"/>
              <a:gd name="connsiteX16" fmla="*/ 122238 w 1860550"/>
              <a:gd name="connsiteY16" fmla="*/ 3016807 h 3343276"/>
              <a:gd name="connsiteX17" fmla="*/ 122238 w 1860550"/>
              <a:gd name="connsiteY17" fmla="*/ 3032384 h 3343276"/>
              <a:gd name="connsiteX18" fmla="*/ 122238 w 1860550"/>
              <a:gd name="connsiteY18" fmla="*/ 3043919 h 3343276"/>
              <a:gd name="connsiteX19" fmla="*/ 122238 w 1860550"/>
              <a:gd name="connsiteY19" fmla="*/ 3055388 h 3343276"/>
              <a:gd name="connsiteX20" fmla="*/ 122238 w 1860550"/>
              <a:gd name="connsiteY20" fmla="*/ 3067200 h 3343276"/>
              <a:gd name="connsiteX21" fmla="*/ 122238 w 1860550"/>
              <a:gd name="connsiteY21" fmla="*/ 3068809 h 3343276"/>
              <a:gd name="connsiteX22" fmla="*/ 122238 w 1860550"/>
              <a:gd name="connsiteY22" fmla="*/ 3072174 h 3343276"/>
              <a:gd name="connsiteX23" fmla="*/ 268324 w 1860550"/>
              <a:gd name="connsiteY23" fmla="*/ 3221038 h 3343276"/>
              <a:gd name="connsiteX24" fmla="*/ 1589184 w 1860550"/>
              <a:gd name="connsiteY24" fmla="*/ 3221038 h 3343276"/>
              <a:gd name="connsiteX25" fmla="*/ 1738313 w 1860550"/>
              <a:gd name="connsiteY25" fmla="*/ 3072174 h 3343276"/>
              <a:gd name="connsiteX26" fmla="*/ 1738313 w 1860550"/>
              <a:gd name="connsiteY26" fmla="*/ 2997250 h 3343276"/>
              <a:gd name="connsiteX27" fmla="*/ 1738313 w 1860550"/>
              <a:gd name="connsiteY27" fmla="*/ 2940804 h 3343276"/>
              <a:gd name="connsiteX28" fmla="*/ 1738313 w 1860550"/>
              <a:gd name="connsiteY28" fmla="*/ 2900358 h 3343276"/>
              <a:gd name="connsiteX29" fmla="*/ 1738313 w 1860550"/>
              <a:gd name="connsiteY29" fmla="*/ 2873246 h 3343276"/>
              <a:gd name="connsiteX30" fmla="*/ 1738313 w 1860550"/>
              <a:gd name="connsiteY30" fmla="*/ 2848356 h 3343276"/>
              <a:gd name="connsiteX31" fmla="*/ 1738313 w 1860550"/>
              <a:gd name="connsiteY31" fmla="*/ 2844800 h 3343276"/>
              <a:gd name="connsiteX32" fmla="*/ 122238 w 1860550"/>
              <a:gd name="connsiteY32" fmla="*/ 461963 h 3343276"/>
              <a:gd name="connsiteX33" fmla="*/ 122238 w 1860550"/>
              <a:gd name="connsiteY33" fmla="*/ 525582 h 3343276"/>
              <a:gd name="connsiteX34" fmla="*/ 122238 w 1860550"/>
              <a:gd name="connsiteY34" fmla="*/ 2618936 h 3343276"/>
              <a:gd name="connsiteX35" fmla="*/ 122238 w 1860550"/>
              <a:gd name="connsiteY35" fmla="*/ 2722563 h 3343276"/>
              <a:gd name="connsiteX36" fmla="*/ 169032 w 1860550"/>
              <a:gd name="connsiteY36" fmla="*/ 2722563 h 3343276"/>
              <a:gd name="connsiteX37" fmla="*/ 1704747 w 1860550"/>
              <a:gd name="connsiteY37" fmla="*/ 2722563 h 3343276"/>
              <a:gd name="connsiteX38" fmla="*/ 1738313 w 1860550"/>
              <a:gd name="connsiteY38" fmla="*/ 2722563 h 3343276"/>
              <a:gd name="connsiteX39" fmla="*/ 1738313 w 1860550"/>
              <a:gd name="connsiteY39" fmla="*/ 2521894 h 3343276"/>
              <a:gd name="connsiteX40" fmla="*/ 1738313 w 1860550"/>
              <a:gd name="connsiteY40" fmla="*/ 505665 h 3343276"/>
              <a:gd name="connsiteX41" fmla="*/ 1738313 w 1860550"/>
              <a:gd name="connsiteY41" fmla="*/ 461963 h 3343276"/>
              <a:gd name="connsiteX42" fmla="*/ 1691518 w 1860550"/>
              <a:gd name="connsiteY42" fmla="*/ 461963 h 3343276"/>
              <a:gd name="connsiteX43" fmla="*/ 155803 w 1860550"/>
              <a:gd name="connsiteY43" fmla="*/ 461963 h 3343276"/>
              <a:gd name="connsiteX44" fmla="*/ 721442 w 1860550"/>
              <a:gd name="connsiteY44" fmla="*/ 169863 h 3343276"/>
              <a:gd name="connsiteX45" fmla="*/ 1072433 w 1860550"/>
              <a:gd name="connsiteY45" fmla="*/ 169863 h 3343276"/>
              <a:gd name="connsiteX46" fmla="*/ 1133475 w 1860550"/>
              <a:gd name="connsiteY46" fmla="*/ 230982 h 3343276"/>
              <a:gd name="connsiteX47" fmla="*/ 1072433 w 1860550"/>
              <a:gd name="connsiteY47" fmla="*/ 292101 h 3343276"/>
              <a:gd name="connsiteX48" fmla="*/ 721442 w 1860550"/>
              <a:gd name="connsiteY48" fmla="*/ 292101 h 3343276"/>
              <a:gd name="connsiteX49" fmla="*/ 660400 w 1860550"/>
              <a:gd name="connsiteY49" fmla="*/ 230982 h 3343276"/>
              <a:gd name="connsiteX50" fmla="*/ 721442 w 1860550"/>
              <a:gd name="connsiteY50" fmla="*/ 169863 h 3343276"/>
              <a:gd name="connsiteX51" fmla="*/ 1281907 w 1860550"/>
              <a:gd name="connsiteY51" fmla="*/ 149225 h 3343276"/>
              <a:gd name="connsiteX52" fmla="*/ 1363664 w 1860550"/>
              <a:gd name="connsiteY52" fmla="*/ 229394 h 3343276"/>
              <a:gd name="connsiteX53" fmla="*/ 1281907 w 1860550"/>
              <a:gd name="connsiteY53" fmla="*/ 309563 h 3343276"/>
              <a:gd name="connsiteX54" fmla="*/ 1200150 w 1860550"/>
              <a:gd name="connsiteY54" fmla="*/ 229394 h 3343276"/>
              <a:gd name="connsiteX55" fmla="*/ 1281907 w 1860550"/>
              <a:gd name="connsiteY55" fmla="*/ 149225 h 3343276"/>
              <a:gd name="connsiteX56" fmla="*/ 268324 w 1860550"/>
              <a:gd name="connsiteY56" fmla="*/ 122238 h 3343276"/>
              <a:gd name="connsiteX57" fmla="*/ 122238 w 1860550"/>
              <a:gd name="connsiteY57" fmla="*/ 271331 h 3343276"/>
              <a:gd name="connsiteX58" fmla="*/ 122238 w 1860550"/>
              <a:gd name="connsiteY58" fmla="*/ 341313 h 3343276"/>
              <a:gd name="connsiteX59" fmla="*/ 1738313 w 1860550"/>
              <a:gd name="connsiteY59" fmla="*/ 341313 h 3343276"/>
              <a:gd name="connsiteX60" fmla="*/ 1738313 w 1860550"/>
              <a:gd name="connsiteY60" fmla="*/ 314869 h 3343276"/>
              <a:gd name="connsiteX61" fmla="*/ 1738313 w 1860550"/>
              <a:gd name="connsiteY61" fmla="*/ 300855 h 3343276"/>
              <a:gd name="connsiteX62" fmla="*/ 1738313 w 1860550"/>
              <a:gd name="connsiteY62" fmla="*/ 289566 h 3343276"/>
              <a:gd name="connsiteX63" fmla="*/ 1738313 w 1860550"/>
              <a:gd name="connsiteY63" fmla="*/ 280079 h 3343276"/>
              <a:gd name="connsiteX64" fmla="*/ 1738313 w 1860550"/>
              <a:gd name="connsiteY64" fmla="*/ 276573 h 3343276"/>
              <a:gd name="connsiteX65" fmla="*/ 1738313 w 1860550"/>
              <a:gd name="connsiteY65" fmla="*/ 271331 h 3343276"/>
              <a:gd name="connsiteX66" fmla="*/ 1589184 w 1860550"/>
              <a:gd name="connsiteY66" fmla="*/ 122238 h 3343276"/>
              <a:gd name="connsiteX67" fmla="*/ 1469183 w 1860550"/>
              <a:gd name="connsiteY67" fmla="*/ 122238 h 3343276"/>
              <a:gd name="connsiteX68" fmla="*/ 1356679 w 1860550"/>
              <a:gd name="connsiteY68" fmla="*/ 122238 h 3343276"/>
              <a:gd name="connsiteX69" fmla="*/ 1153197 w 1860550"/>
              <a:gd name="connsiteY69" fmla="*/ 122238 h 3343276"/>
              <a:gd name="connsiteX70" fmla="*/ 976803 w 1860550"/>
              <a:gd name="connsiteY70" fmla="*/ 122238 h 3343276"/>
              <a:gd name="connsiteX71" fmla="*/ 825562 w 1860550"/>
              <a:gd name="connsiteY71" fmla="*/ 122238 h 3343276"/>
              <a:gd name="connsiteX72" fmla="*/ 697539 w 1860550"/>
              <a:gd name="connsiteY72" fmla="*/ 122238 h 3343276"/>
              <a:gd name="connsiteX73" fmla="*/ 590799 w 1860550"/>
              <a:gd name="connsiteY73" fmla="*/ 122238 h 3343276"/>
              <a:gd name="connsiteX74" fmla="*/ 503408 w 1860550"/>
              <a:gd name="connsiteY74" fmla="*/ 122238 h 3343276"/>
              <a:gd name="connsiteX75" fmla="*/ 433431 w 1860550"/>
              <a:gd name="connsiteY75" fmla="*/ 122238 h 3343276"/>
              <a:gd name="connsiteX76" fmla="*/ 378933 w 1860550"/>
              <a:gd name="connsiteY76" fmla="*/ 122238 h 3343276"/>
              <a:gd name="connsiteX77" fmla="*/ 337979 w 1860550"/>
              <a:gd name="connsiteY77" fmla="*/ 122238 h 3343276"/>
              <a:gd name="connsiteX78" fmla="*/ 308633 w 1860550"/>
              <a:gd name="connsiteY78" fmla="*/ 122238 h 3343276"/>
              <a:gd name="connsiteX79" fmla="*/ 288962 w 1860550"/>
              <a:gd name="connsiteY79" fmla="*/ 122238 h 3343276"/>
              <a:gd name="connsiteX80" fmla="*/ 277031 w 1860550"/>
              <a:gd name="connsiteY80" fmla="*/ 122238 h 3343276"/>
              <a:gd name="connsiteX81" fmla="*/ 270904 w 1860550"/>
              <a:gd name="connsiteY81" fmla="*/ 122238 h 3343276"/>
              <a:gd name="connsiteX82" fmla="*/ 267968 w 1860550"/>
              <a:gd name="connsiteY82" fmla="*/ 0 h 3343276"/>
              <a:gd name="connsiteX83" fmla="*/ 1589537 w 1860550"/>
              <a:gd name="connsiteY83" fmla="*/ 0 h 3343276"/>
              <a:gd name="connsiteX84" fmla="*/ 1860550 w 1860550"/>
              <a:gd name="connsiteY84" fmla="*/ 270492 h 3343276"/>
              <a:gd name="connsiteX85" fmla="*/ 1860550 w 1860550"/>
              <a:gd name="connsiteY85" fmla="*/ 270501 h 3343276"/>
              <a:gd name="connsiteX86" fmla="*/ 1860550 w 1860550"/>
              <a:gd name="connsiteY86" fmla="*/ 461963 h 3343276"/>
              <a:gd name="connsiteX87" fmla="*/ 1860550 w 1860550"/>
              <a:gd name="connsiteY87" fmla="*/ 525090 h 3343276"/>
              <a:gd name="connsiteX88" fmla="*/ 1860550 w 1860550"/>
              <a:gd name="connsiteY88" fmla="*/ 2619341 h 3343276"/>
              <a:gd name="connsiteX89" fmla="*/ 1860550 w 1860550"/>
              <a:gd name="connsiteY89" fmla="*/ 2722563 h 3343276"/>
              <a:gd name="connsiteX90" fmla="*/ 1860550 w 1860550"/>
              <a:gd name="connsiteY90" fmla="*/ 2754314 h 3343276"/>
              <a:gd name="connsiteX91" fmla="*/ 1860550 w 1860550"/>
              <a:gd name="connsiteY91" fmla="*/ 2838062 h 3343276"/>
              <a:gd name="connsiteX92" fmla="*/ 1860550 w 1860550"/>
              <a:gd name="connsiteY92" fmla="*/ 2859431 h 3343276"/>
              <a:gd name="connsiteX93" fmla="*/ 1860550 w 1860550"/>
              <a:gd name="connsiteY93" fmla="*/ 2924856 h 3343276"/>
              <a:gd name="connsiteX94" fmla="*/ 1860550 w 1860550"/>
              <a:gd name="connsiteY94" fmla="*/ 2938424 h 3343276"/>
              <a:gd name="connsiteX95" fmla="*/ 1860550 w 1860550"/>
              <a:gd name="connsiteY95" fmla="*/ 2987047 h 3343276"/>
              <a:gd name="connsiteX96" fmla="*/ 1860550 w 1860550"/>
              <a:gd name="connsiteY96" fmla="*/ 2995025 h 3343276"/>
              <a:gd name="connsiteX97" fmla="*/ 1860550 w 1860550"/>
              <a:gd name="connsiteY97" fmla="*/ 3028736 h 3343276"/>
              <a:gd name="connsiteX98" fmla="*/ 1860550 w 1860550"/>
              <a:gd name="connsiteY98" fmla="*/ 3032967 h 3343276"/>
              <a:gd name="connsiteX99" fmla="*/ 1860550 w 1860550"/>
              <a:gd name="connsiteY99" fmla="*/ 3054023 h 3343276"/>
              <a:gd name="connsiteX100" fmla="*/ 1860550 w 1860550"/>
              <a:gd name="connsiteY100" fmla="*/ 3055980 h 3343276"/>
              <a:gd name="connsiteX101" fmla="*/ 1860550 w 1860550"/>
              <a:gd name="connsiteY101" fmla="*/ 3067008 h 3343276"/>
              <a:gd name="connsiteX102" fmla="*/ 1860550 w 1860550"/>
              <a:gd name="connsiteY102" fmla="*/ 3067798 h 3343276"/>
              <a:gd name="connsiteX103" fmla="*/ 1860550 w 1860550"/>
              <a:gd name="connsiteY103" fmla="*/ 3072475 h 3343276"/>
              <a:gd name="connsiteX104" fmla="*/ 1860550 w 1860550"/>
              <a:gd name="connsiteY104" fmla="*/ 3072774 h 3343276"/>
              <a:gd name="connsiteX105" fmla="*/ 1694831 w 1860550"/>
              <a:gd name="connsiteY105" fmla="*/ 3321952 h 3343276"/>
              <a:gd name="connsiteX106" fmla="*/ 1593989 w 1860550"/>
              <a:gd name="connsiteY106" fmla="*/ 3342374 h 3343276"/>
              <a:gd name="connsiteX107" fmla="*/ 1589537 w 1860550"/>
              <a:gd name="connsiteY107" fmla="*/ 3343276 h 3343276"/>
              <a:gd name="connsiteX108" fmla="*/ 267968 w 1860550"/>
              <a:gd name="connsiteY108" fmla="*/ 3343276 h 3343276"/>
              <a:gd name="connsiteX109" fmla="*/ 263590 w 1860550"/>
              <a:gd name="connsiteY109" fmla="*/ 3342374 h 3343276"/>
              <a:gd name="connsiteX110" fmla="*/ 164435 w 1860550"/>
              <a:gd name="connsiteY110" fmla="*/ 3321952 h 3343276"/>
              <a:gd name="connsiteX111" fmla="*/ 0 w 1860550"/>
              <a:gd name="connsiteY111" fmla="*/ 3072774 h 3343276"/>
              <a:gd name="connsiteX112" fmla="*/ 0 w 1860550"/>
              <a:gd name="connsiteY112" fmla="*/ 3072475 h 3343276"/>
              <a:gd name="connsiteX113" fmla="*/ 0 w 1860550"/>
              <a:gd name="connsiteY113" fmla="*/ 2956977 h 3343276"/>
              <a:gd name="connsiteX114" fmla="*/ 0 w 1860550"/>
              <a:gd name="connsiteY114" fmla="*/ 2870182 h 3343276"/>
              <a:gd name="connsiteX115" fmla="*/ 0 w 1860550"/>
              <a:gd name="connsiteY115" fmla="*/ 2807991 h 3343276"/>
              <a:gd name="connsiteX116" fmla="*/ 0 w 1860550"/>
              <a:gd name="connsiteY116" fmla="*/ 2787491 h 3343276"/>
              <a:gd name="connsiteX117" fmla="*/ 0 w 1860550"/>
              <a:gd name="connsiteY117" fmla="*/ 2766302 h 3343276"/>
              <a:gd name="connsiteX118" fmla="*/ 0 w 1860550"/>
              <a:gd name="connsiteY118" fmla="*/ 2741016 h 3343276"/>
              <a:gd name="connsiteX119" fmla="*/ 0 w 1860550"/>
              <a:gd name="connsiteY119" fmla="*/ 2728031 h 3343276"/>
              <a:gd name="connsiteX120" fmla="*/ 0 w 1860550"/>
              <a:gd name="connsiteY120" fmla="*/ 2722563 h 3343276"/>
              <a:gd name="connsiteX121" fmla="*/ 0 w 1860550"/>
              <a:gd name="connsiteY121" fmla="*/ 2522258 h 3343276"/>
              <a:gd name="connsiteX122" fmla="*/ 0 w 1860550"/>
              <a:gd name="connsiteY122" fmla="*/ 505164 h 3343276"/>
              <a:gd name="connsiteX123" fmla="*/ 0 w 1860550"/>
              <a:gd name="connsiteY123" fmla="*/ 461963 h 3343276"/>
              <a:gd name="connsiteX124" fmla="*/ 0 w 1860550"/>
              <a:gd name="connsiteY124" fmla="*/ 418277 h 3343276"/>
              <a:gd name="connsiteX125" fmla="*/ 0 w 1860550"/>
              <a:gd name="connsiteY125" fmla="*/ 398763 h 3343276"/>
              <a:gd name="connsiteX126" fmla="*/ 0 w 1860550"/>
              <a:gd name="connsiteY126" fmla="*/ 356020 h 3343276"/>
              <a:gd name="connsiteX127" fmla="*/ 0 w 1860550"/>
              <a:gd name="connsiteY127" fmla="*/ 351269 h 3343276"/>
              <a:gd name="connsiteX128" fmla="*/ 0 w 1860550"/>
              <a:gd name="connsiteY128" fmla="*/ 314287 h 3343276"/>
              <a:gd name="connsiteX129" fmla="*/ 0 w 1860550"/>
              <a:gd name="connsiteY129" fmla="*/ 294426 h 3343276"/>
              <a:gd name="connsiteX130" fmla="*/ 0 w 1860550"/>
              <a:gd name="connsiteY130" fmla="*/ 288973 h 3343276"/>
              <a:gd name="connsiteX131" fmla="*/ 0 w 1860550"/>
              <a:gd name="connsiteY131" fmla="*/ 275975 h 3343276"/>
              <a:gd name="connsiteX132" fmla="*/ 0 w 1860550"/>
              <a:gd name="connsiteY132" fmla="*/ 273484 h 3343276"/>
              <a:gd name="connsiteX133" fmla="*/ 0 w 1860550"/>
              <a:gd name="connsiteY133" fmla="*/ 270501 h 3343276"/>
              <a:gd name="connsiteX134" fmla="*/ 0 w 1860550"/>
              <a:gd name="connsiteY134" fmla="*/ 270492 h 3343276"/>
              <a:gd name="connsiteX135" fmla="*/ 267968 w 1860550"/>
              <a:gd name="connsiteY135" fmla="*/ 0 h 3343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860550" h="3343276">
                <a:moveTo>
                  <a:pt x="930274" y="2997199"/>
                </a:moveTo>
                <a:cubicBezTo>
                  <a:pt x="912739" y="2997199"/>
                  <a:pt x="898524" y="3012125"/>
                  <a:pt x="898524" y="3030537"/>
                </a:cubicBezTo>
                <a:cubicBezTo>
                  <a:pt x="898524" y="3048949"/>
                  <a:pt x="912739" y="3063875"/>
                  <a:pt x="930274" y="3063875"/>
                </a:cubicBezTo>
                <a:cubicBezTo>
                  <a:pt x="947809" y="3063875"/>
                  <a:pt x="962024" y="3048949"/>
                  <a:pt x="962024" y="3030537"/>
                </a:cubicBezTo>
                <a:cubicBezTo>
                  <a:pt x="962024" y="3012125"/>
                  <a:pt x="947809" y="2997199"/>
                  <a:pt x="930274" y="2997199"/>
                </a:cubicBezTo>
                <a:close/>
                <a:moveTo>
                  <a:pt x="930275" y="2874962"/>
                </a:moveTo>
                <a:cubicBezTo>
                  <a:pt x="1015320" y="2874962"/>
                  <a:pt x="1084263" y="2944260"/>
                  <a:pt x="1084263" y="3029744"/>
                </a:cubicBezTo>
                <a:cubicBezTo>
                  <a:pt x="1084263" y="3115228"/>
                  <a:pt x="1015320" y="3184526"/>
                  <a:pt x="930275" y="3184526"/>
                </a:cubicBezTo>
                <a:cubicBezTo>
                  <a:pt x="845230" y="3184526"/>
                  <a:pt x="776287" y="3115228"/>
                  <a:pt x="776287" y="3029744"/>
                </a:cubicBezTo>
                <a:cubicBezTo>
                  <a:pt x="776287" y="2944260"/>
                  <a:pt x="845230" y="2874962"/>
                  <a:pt x="930275" y="2874962"/>
                </a:cubicBezTo>
                <a:close/>
                <a:moveTo>
                  <a:pt x="122238" y="2844800"/>
                </a:moveTo>
                <a:lnTo>
                  <a:pt x="122238" y="2858922"/>
                </a:lnTo>
                <a:lnTo>
                  <a:pt x="122238" y="2919914"/>
                </a:lnTo>
                <a:lnTo>
                  <a:pt x="122238" y="2937881"/>
                </a:lnTo>
                <a:lnTo>
                  <a:pt x="122238" y="2976361"/>
                </a:lnTo>
                <a:lnTo>
                  <a:pt x="122238" y="2994458"/>
                </a:lnTo>
                <a:lnTo>
                  <a:pt x="122238" y="3016807"/>
                </a:lnTo>
                <a:lnTo>
                  <a:pt x="122238" y="3032384"/>
                </a:lnTo>
                <a:lnTo>
                  <a:pt x="122238" y="3043919"/>
                </a:lnTo>
                <a:lnTo>
                  <a:pt x="122238" y="3055388"/>
                </a:lnTo>
                <a:cubicBezTo>
                  <a:pt x="122238" y="3060983"/>
                  <a:pt x="122238" y="3064714"/>
                  <a:pt x="122238" y="3067200"/>
                </a:cubicBezTo>
                <a:lnTo>
                  <a:pt x="122238" y="3068809"/>
                </a:lnTo>
                <a:lnTo>
                  <a:pt x="122238" y="3072174"/>
                </a:lnTo>
                <a:cubicBezTo>
                  <a:pt x="122238" y="3154201"/>
                  <a:pt x="189194" y="3221038"/>
                  <a:pt x="268324" y="3221038"/>
                </a:cubicBezTo>
                <a:cubicBezTo>
                  <a:pt x="1589184" y="3221038"/>
                  <a:pt x="1589184" y="3221038"/>
                  <a:pt x="1589184" y="3221038"/>
                </a:cubicBezTo>
                <a:cubicBezTo>
                  <a:pt x="1671357" y="3221038"/>
                  <a:pt x="1738313" y="3154201"/>
                  <a:pt x="1738313" y="3072174"/>
                </a:cubicBezTo>
                <a:lnTo>
                  <a:pt x="1738313" y="2997250"/>
                </a:lnTo>
                <a:lnTo>
                  <a:pt x="1738313" y="2940804"/>
                </a:lnTo>
                <a:lnTo>
                  <a:pt x="1738313" y="2900358"/>
                </a:lnTo>
                <a:lnTo>
                  <a:pt x="1738313" y="2873246"/>
                </a:lnTo>
                <a:lnTo>
                  <a:pt x="1738313" y="2848356"/>
                </a:lnTo>
                <a:lnTo>
                  <a:pt x="1738313" y="2844800"/>
                </a:lnTo>
                <a:close/>
                <a:moveTo>
                  <a:pt x="122238" y="461963"/>
                </a:moveTo>
                <a:lnTo>
                  <a:pt x="122238" y="525582"/>
                </a:lnTo>
                <a:cubicBezTo>
                  <a:pt x="122238" y="1639716"/>
                  <a:pt x="122238" y="2266416"/>
                  <a:pt x="122238" y="2618936"/>
                </a:cubicBezTo>
                <a:lnTo>
                  <a:pt x="122238" y="2722563"/>
                </a:lnTo>
                <a:lnTo>
                  <a:pt x="169032" y="2722563"/>
                </a:lnTo>
                <a:cubicBezTo>
                  <a:pt x="1096639" y="2722563"/>
                  <a:pt x="1515558" y="2722563"/>
                  <a:pt x="1704747" y="2722563"/>
                </a:cubicBezTo>
                <a:lnTo>
                  <a:pt x="1738313" y="2722563"/>
                </a:lnTo>
                <a:lnTo>
                  <a:pt x="1738313" y="2521894"/>
                </a:lnTo>
                <a:cubicBezTo>
                  <a:pt x="1738313" y="1330298"/>
                  <a:pt x="1738313" y="769547"/>
                  <a:pt x="1738313" y="505665"/>
                </a:cubicBezTo>
                <a:lnTo>
                  <a:pt x="1738313" y="461963"/>
                </a:lnTo>
                <a:lnTo>
                  <a:pt x="1691518" y="461963"/>
                </a:lnTo>
                <a:cubicBezTo>
                  <a:pt x="763911" y="461963"/>
                  <a:pt x="344992" y="461963"/>
                  <a:pt x="155803" y="461963"/>
                </a:cubicBezTo>
                <a:close/>
                <a:moveTo>
                  <a:pt x="721442" y="169863"/>
                </a:moveTo>
                <a:cubicBezTo>
                  <a:pt x="1072433" y="169863"/>
                  <a:pt x="1072433" y="169863"/>
                  <a:pt x="1072433" y="169863"/>
                </a:cubicBezTo>
                <a:cubicBezTo>
                  <a:pt x="1106006" y="169863"/>
                  <a:pt x="1133475" y="197367"/>
                  <a:pt x="1133475" y="230982"/>
                </a:cubicBezTo>
                <a:cubicBezTo>
                  <a:pt x="1133475" y="264598"/>
                  <a:pt x="1106006" y="292101"/>
                  <a:pt x="1072433" y="292101"/>
                </a:cubicBezTo>
                <a:cubicBezTo>
                  <a:pt x="721442" y="292101"/>
                  <a:pt x="721442" y="292101"/>
                  <a:pt x="721442" y="292101"/>
                </a:cubicBezTo>
                <a:cubicBezTo>
                  <a:pt x="687869" y="292101"/>
                  <a:pt x="660400" y="264598"/>
                  <a:pt x="660400" y="230982"/>
                </a:cubicBezTo>
                <a:cubicBezTo>
                  <a:pt x="660400" y="197367"/>
                  <a:pt x="687869" y="169863"/>
                  <a:pt x="721442" y="169863"/>
                </a:cubicBezTo>
                <a:close/>
                <a:moveTo>
                  <a:pt x="1281907" y="149225"/>
                </a:moveTo>
                <a:cubicBezTo>
                  <a:pt x="1327060" y="149225"/>
                  <a:pt x="1363664" y="185118"/>
                  <a:pt x="1363664" y="229394"/>
                </a:cubicBezTo>
                <a:cubicBezTo>
                  <a:pt x="1363664" y="273670"/>
                  <a:pt x="1327060" y="309563"/>
                  <a:pt x="1281907" y="309563"/>
                </a:cubicBezTo>
                <a:cubicBezTo>
                  <a:pt x="1236754" y="309563"/>
                  <a:pt x="1200150" y="273670"/>
                  <a:pt x="1200150" y="229394"/>
                </a:cubicBezTo>
                <a:cubicBezTo>
                  <a:pt x="1200150" y="185118"/>
                  <a:pt x="1236754" y="149225"/>
                  <a:pt x="1281907" y="149225"/>
                </a:cubicBezTo>
                <a:close/>
                <a:moveTo>
                  <a:pt x="268324" y="122238"/>
                </a:moveTo>
                <a:cubicBezTo>
                  <a:pt x="189194" y="122238"/>
                  <a:pt x="122238" y="189178"/>
                  <a:pt x="122238" y="271331"/>
                </a:cubicBezTo>
                <a:lnTo>
                  <a:pt x="122238" y="341313"/>
                </a:lnTo>
                <a:cubicBezTo>
                  <a:pt x="1738313" y="341313"/>
                  <a:pt x="1738313" y="341313"/>
                  <a:pt x="1738313" y="341313"/>
                </a:cubicBezTo>
                <a:lnTo>
                  <a:pt x="1738313" y="314869"/>
                </a:lnTo>
                <a:lnTo>
                  <a:pt x="1738313" y="300855"/>
                </a:lnTo>
                <a:lnTo>
                  <a:pt x="1738313" y="289566"/>
                </a:lnTo>
                <a:lnTo>
                  <a:pt x="1738313" y="280079"/>
                </a:lnTo>
                <a:lnTo>
                  <a:pt x="1738313" y="276573"/>
                </a:lnTo>
                <a:lnTo>
                  <a:pt x="1738313" y="271331"/>
                </a:lnTo>
                <a:cubicBezTo>
                  <a:pt x="1738313" y="189178"/>
                  <a:pt x="1671357" y="122238"/>
                  <a:pt x="1589184" y="122238"/>
                </a:cubicBezTo>
                <a:lnTo>
                  <a:pt x="1469183" y="122238"/>
                </a:lnTo>
                <a:lnTo>
                  <a:pt x="1356679" y="122238"/>
                </a:lnTo>
                <a:lnTo>
                  <a:pt x="1153197" y="122238"/>
                </a:lnTo>
                <a:lnTo>
                  <a:pt x="976803" y="122238"/>
                </a:lnTo>
                <a:lnTo>
                  <a:pt x="825562" y="122238"/>
                </a:lnTo>
                <a:lnTo>
                  <a:pt x="697539" y="122238"/>
                </a:lnTo>
                <a:lnTo>
                  <a:pt x="590799" y="122238"/>
                </a:lnTo>
                <a:lnTo>
                  <a:pt x="503408" y="122238"/>
                </a:lnTo>
                <a:lnTo>
                  <a:pt x="433431" y="122238"/>
                </a:lnTo>
                <a:lnTo>
                  <a:pt x="378933" y="122238"/>
                </a:lnTo>
                <a:lnTo>
                  <a:pt x="337979" y="122238"/>
                </a:lnTo>
                <a:lnTo>
                  <a:pt x="308633" y="122238"/>
                </a:lnTo>
                <a:lnTo>
                  <a:pt x="288962" y="122238"/>
                </a:lnTo>
                <a:lnTo>
                  <a:pt x="277031" y="122238"/>
                </a:lnTo>
                <a:lnTo>
                  <a:pt x="270904" y="122238"/>
                </a:lnTo>
                <a:close/>
                <a:moveTo>
                  <a:pt x="267968" y="0"/>
                </a:moveTo>
                <a:cubicBezTo>
                  <a:pt x="1589537" y="0"/>
                  <a:pt x="1589537" y="0"/>
                  <a:pt x="1589537" y="0"/>
                </a:cubicBezTo>
                <a:cubicBezTo>
                  <a:pt x="1738747" y="0"/>
                  <a:pt x="1860550" y="121569"/>
                  <a:pt x="1860550" y="270492"/>
                </a:cubicBezTo>
                <a:lnTo>
                  <a:pt x="1860550" y="270501"/>
                </a:lnTo>
                <a:lnTo>
                  <a:pt x="1860550" y="461963"/>
                </a:lnTo>
                <a:lnTo>
                  <a:pt x="1860550" y="525090"/>
                </a:lnTo>
                <a:cubicBezTo>
                  <a:pt x="1860550" y="1639702"/>
                  <a:pt x="1860550" y="2266671"/>
                  <a:pt x="1860550" y="2619341"/>
                </a:cubicBezTo>
                <a:lnTo>
                  <a:pt x="1860550" y="2722563"/>
                </a:lnTo>
                <a:lnTo>
                  <a:pt x="1860550" y="2754314"/>
                </a:lnTo>
                <a:lnTo>
                  <a:pt x="1860550" y="2838062"/>
                </a:lnTo>
                <a:lnTo>
                  <a:pt x="1860550" y="2859431"/>
                </a:lnTo>
                <a:lnTo>
                  <a:pt x="1860550" y="2924856"/>
                </a:lnTo>
                <a:lnTo>
                  <a:pt x="1860550" y="2938424"/>
                </a:lnTo>
                <a:lnTo>
                  <a:pt x="1860550" y="2987047"/>
                </a:lnTo>
                <a:lnTo>
                  <a:pt x="1860550" y="2995025"/>
                </a:lnTo>
                <a:lnTo>
                  <a:pt x="1860550" y="3028736"/>
                </a:lnTo>
                <a:lnTo>
                  <a:pt x="1860550" y="3032967"/>
                </a:lnTo>
                <a:lnTo>
                  <a:pt x="1860550" y="3054023"/>
                </a:lnTo>
                <a:lnTo>
                  <a:pt x="1860550" y="3055980"/>
                </a:lnTo>
                <a:lnTo>
                  <a:pt x="1860550" y="3067008"/>
                </a:lnTo>
                <a:lnTo>
                  <a:pt x="1860550" y="3067798"/>
                </a:lnTo>
                <a:lnTo>
                  <a:pt x="1860550" y="3072475"/>
                </a:lnTo>
                <a:lnTo>
                  <a:pt x="1860550" y="3072774"/>
                </a:lnTo>
                <a:cubicBezTo>
                  <a:pt x="1860550" y="3184470"/>
                  <a:pt x="1792036" y="3280779"/>
                  <a:pt x="1694831" y="3321952"/>
                </a:cubicBezTo>
                <a:lnTo>
                  <a:pt x="1593989" y="3342374"/>
                </a:lnTo>
                <a:lnTo>
                  <a:pt x="1589537" y="3343276"/>
                </a:lnTo>
                <a:cubicBezTo>
                  <a:pt x="267968" y="3343276"/>
                  <a:pt x="267968" y="3343276"/>
                  <a:pt x="267968" y="3343276"/>
                </a:cubicBezTo>
                <a:lnTo>
                  <a:pt x="263590" y="3342374"/>
                </a:lnTo>
                <a:lnTo>
                  <a:pt x="164435" y="3321952"/>
                </a:lnTo>
                <a:cubicBezTo>
                  <a:pt x="68515" y="3280779"/>
                  <a:pt x="0" y="3184470"/>
                  <a:pt x="0" y="3072774"/>
                </a:cubicBezTo>
                <a:lnTo>
                  <a:pt x="0" y="3072475"/>
                </a:lnTo>
                <a:lnTo>
                  <a:pt x="0" y="2956977"/>
                </a:lnTo>
                <a:lnTo>
                  <a:pt x="0" y="2870182"/>
                </a:lnTo>
                <a:lnTo>
                  <a:pt x="0" y="2807991"/>
                </a:lnTo>
                <a:lnTo>
                  <a:pt x="0" y="2787491"/>
                </a:lnTo>
                <a:lnTo>
                  <a:pt x="0" y="2766302"/>
                </a:lnTo>
                <a:lnTo>
                  <a:pt x="0" y="2741016"/>
                </a:lnTo>
                <a:lnTo>
                  <a:pt x="0" y="2728031"/>
                </a:lnTo>
                <a:lnTo>
                  <a:pt x="0" y="2722563"/>
                </a:lnTo>
                <a:lnTo>
                  <a:pt x="0" y="2522258"/>
                </a:lnTo>
                <a:cubicBezTo>
                  <a:pt x="0" y="1330151"/>
                  <a:pt x="0" y="769160"/>
                  <a:pt x="0" y="505164"/>
                </a:cubicBezTo>
                <a:lnTo>
                  <a:pt x="0" y="461963"/>
                </a:lnTo>
                <a:lnTo>
                  <a:pt x="0" y="418277"/>
                </a:lnTo>
                <a:lnTo>
                  <a:pt x="0" y="398763"/>
                </a:lnTo>
                <a:lnTo>
                  <a:pt x="0" y="356020"/>
                </a:lnTo>
                <a:lnTo>
                  <a:pt x="0" y="351269"/>
                </a:lnTo>
                <a:lnTo>
                  <a:pt x="0" y="314287"/>
                </a:lnTo>
                <a:lnTo>
                  <a:pt x="0" y="294426"/>
                </a:lnTo>
                <a:lnTo>
                  <a:pt x="0" y="288973"/>
                </a:lnTo>
                <a:cubicBezTo>
                  <a:pt x="0" y="282816"/>
                  <a:pt x="0" y="278711"/>
                  <a:pt x="0" y="275975"/>
                </a:cubicBezTo>
                <a:lnTo>
                  <a:pt x="0" y="273484"/>
                </a:lnTo>
                <a:lnTo>
                  <a:pt x="0" y="270501"/>
                </a:lnTo>
                <a:lnTo>
                  <a:pt x="0" y="270492"/>
                </a:lnTo>
                <a:cubicBezTo>
                  <a:pt x="0" y="121569"/>
                  <a:pt x="121804" y="0"/>
                  <a:pt x="267968" y="0"/>
                </a:cubicBezTo>
                <a:close/>
              </a:path>
            </a:pathLst>
          </a:custGeom>
          <a:solidFill>
            <a:schemeClr val="accent1"/>
          </a:solidFill>
          <a:ln>
            <a:noFill/>
          </a:ln>
        </p:spPr>
        <p:txBody>
          <a:bodyPr vert="horz" wrap="square" lIns="93247" tIns="46623" rIns="93247" bIns="46623" numCol="1" anchor="t" anchorCtr="0" compatLnSpc="1">
            <a:prstTxWarp prst="textNoShape">
              <a:avLst/>
            </a:prstTxWarp>
            <a:noAutofit/>
          </a:bodyPr>
          <a:lstStyle/>
          <a:p>
            <a:pPr defTabSz="932418"/>
            <a:endParaRPr lang="en-US" sz="1836">
              <a:solidFill>
                <a:srgbClr val="505050"/>
              </a:solidFill>
              <a:latin typeface="Segoe UI"/>
            </a:endParaRPr>
          </a:p>
        </p:txBody>
      </p:sp>
      <p:sp>
        <p:nvSpPr>
          <p:cNvPr id="240" name="Freeform: Shape 239">
            <a:extLst>
              <a:ext uri="{FF2B5EF4-FFF2-40B4-BE49-F238E27FC236}">
                <a16:creationId xmlns:a16="http://schemas.microsoft.com/office/drawing/2014/main" id="{6AA20B2D-43E8-4ED5-AA1B-D0F7452FD25D}"/>
              </a:ext>
            </a:extLst>
          </p:cNvPr>
          <p:cNvSpPr/>
          <p:nvPr/>
        </p:nvSpPr>
        <p:spPr>
          <a:xfrm flipH="1">
            <a:off x="695249" y="4410308"/>
            <a:ext cx="631095" cy="272518"/>
          </a:xfrm>
          <a:custGeom>
            <a:avLst/>
            <a:gdLst/>
            <a:ahLst/>
            <a:cxnLst/>
            <a:rect l="0" t="0" r="0" b="0"/>
            <a:pathLst>
              <a:path w="702061" h="303162">
                <a:moveTo>
                  <a:pt x="362998" y="24732"/>
                </a:moveTo>
                <a:cubicBezTo>
                  <a:pt x="275240" y="16754"/>
                  <a:pt x="192269" y="19945"/>
                  <a:pt x="118872" y="32710"/>
                </a:cubicBezTo>
                <a:cubicBezTo>
                  <a:pt x="72600" y="40688"/>
                  <a:pt x="23136" y="56644"/>
                  <a:pt x="23136" y="71004"/>
                </a:cubicBezTo>
                <a:cubicBezTo>
                  <a:pt x="23136" y="71004"/>
                  <a:pt x="23136" y="74195"/>
                  <a:pt x="23136" y="77386"/>
                </a:cubicBezTo>
                <a:cubicBezTo>
                  <a:pt x="23136" y="80578"/>
                  <a:pt x="23136" y="82173"/>
                  <a:pt x="23136" y="83769"/>
                </a:cubicBezTo>
                <a:cubicBezTo>
                  <a:pt x="23136" y="88555"/>
                  <a:pt x="23136" y="93342"/>
                  <a:pt x="23136" y="98129"/>
                </a:cubicBezTo>
                <a:cubicBezTo>
                  <a:pt x="19945" y="98129"/>
                  <a:pt x="19945" y="99725"/>
                  <a:pt x="19945" y="101320"/>
                </a:cubicBezTo>
                <a:lnTo>
                  <a:pt x="19945" y="102916"/>
                </a:lnTo>
                <a:lnTo>
                  <a:pt x="19945" y="102916"/>
                </a:lnTo>
                <a:cubicBezTo>
                  <a:pt x="19945" y="134828"/>
                  <a:pt x="23136" y="165144"/>
                  <a:pt x="32710" y="195460"/>
                </a:cubicBezTo>
                <a:cubicBezTo>
                  <a:pt x="51857" y="256093"/>
                  <a:pt x="78982" y="295983"/>
                  <a:pt x="101320" y="295983"/>
                </a:cubicBezTo>
                <a:cubicBezTo>
                  <a:pt x="102916" y="295983"/>
                  <a:pt x="102916" y="295983"/>
                  <a:pt x="104511" y="295983"/>
                </a:cubicBezTo>
                <a:cubicBezTo>
                  <a:pt x="106107" y="295983"/>
                  <a:pt x="106107" y="295983"/>
                  <a:pt x="107703" y="295983"/>
                </a:cubicBezTo>
                <a:lnTo>
                  <a:pt x="112489" y="295983"/>
                </a:lnTo>
                <a:cubicBezTo>
                  <a:pt x="122063" y="294387"/>
                  <a:pt x="125254" y="294387"/>
                  <a:pt x="130041" y="291196"/>
                </a:cubicBezTo>
                <a:cubicBezTo>
                  <a:pt x="138019" y="288005"/>
                  <a:pt x="141210" y="280027"/>
                  <a:pt x="139615" y="272049"/>
                </a:cubicBezTo>
                <a:cubicBezTo>
                  <a:pt x="139615" y="272049"/>
                  <a:pt x="139615" y="272049"/>
                  <a:pt x="139615" y="272049"/>
                </a:cubicBezTo>
                <a:cubicBezTo>
                  <a:pt x="139615" y="272049"/>
                  <a:pt x="141210" y="273644"/>
                  <a:pt x="141210" y="273644"/>
                </a:cubicBezTo>
                <a:cubicBezTo>
                  <a:pt x="152379" y="283218"/>
                  <a:pt x="155571" y="284814"/>
                  <a:pt x="161953" y="284814"/>
                </a:cubicBezTo>
                <a:cubicBezTo>
                  <a:pt x="177909" y="284814"/>
                  <a:pt x="217799" y="280027"/>
                  <a:pt x="259284" y="272049"/>
                </a:cubicBezTo>
                <a:lnTo>
                  <a:pt x="270453" y="268858"/>
                </a:lnTo>
                <a:cubicBezTo>
                  <a:pt x="275240" y="267262"/>
                  <a:pt x="278431" y="267262"/>
                  <a:pt x="281623" y="265666"/>
                </a:cubicBezTo>
                <a:cubicBezTo>
                  <a:pt x="318321" y="257688"/>
                  <a:pt x="340660" y="251306"/>
                  <a:pt x="353424" y="240137"/>
                </a:cubicBezTo>
                <a:cubicBezTo>
                  <a:pt x="353424" y="240137"/>
                  <a:pt x="353424" y="240137"/>
                  <a:pt x="355020" y="240137"/>
                </a:cubicBezTo>
                <a:cubicBezTo>
                  <a:pt x="366189" y="240137"/>
                  <a:pt x="378954" y="240137"/>
                  <a:pt x="391719" y="240137"/>
                </a:cubicBezTo>
                <a:cubicBezTo>
                  <a:pt x="426822" y="240137"/>
                  <a:pt x="461925" y="238541"/>
                  <a:pt x="490646" y="236946"/>
                </a:cubicBezTo>
                <a:cubicBezTo>
                  <a:pt x="589572" y="230563"/>
                  <a:pt x="648610" y="219394"/>
                  <a:pt x="674139" y="201843"/>
                </a:cubicBezTo>
                <a:lnTo>
                  <a:pt x="675735" y="203438"/>
                </a:lnTo>
                <a:lnTo>
                  <a:pt x="677330" y="201843"/>
                </a:lnTo>
                <a:cubicBezTo>
                  <a:pt x="685308" y="193865"/>
                  <a:pt x="688499" y="187482"/>
                  <a:pt x="688499" y="179504"/>
                </a:cubicBezTo>
                <a:lnTo>
                  <a:pt x="690095" y="179504"/>
                </a:lnTo>
                <a:lnTo>
                  <a:pt x="690095" y="118872"/>
                </a:lnTo>
                <a:cubicBezTo>
                  <a:pt x="690095" y="99725"/>
                  <a:pt x="624676" y="75791"/>
                  <a:pt x="605528" y="67813"/>
                </a:cubicBezTo>
                <a:cubicBezTo>
                  <a:pt x="540109" y="43879"/>
                  <a:pt x="457138" y="27923"/>
                  <a:pt x="366189" y="19945"/>
                </a:cubicBezTo>
                <a:moveTo>
                  <a:pt x="664565" y="187482"/>
                </a:moveTo>
                <a:cubicBezTo>
                  <a:pt x="643823" y="201843"/>
                  <a:pt x="584786" y="213012"/>
                  <a:pt x="492241" y="219394"/>
                </a:cubicBezTo>
                <a:cubicBezTo>
                  <a:pt x="457138" y="220990"/>
                  <a:pt x="409270" y="222585"/>
                  <a:pt x="367785" y="222585"/>
                </a:cubicBezTo>
                <a:cubicBezTo>
                  <a:pt x="367785" y="220990"/>
                  <a:pt x="369380" y="219394"/>
                  <a:pt x="369380" y="217799"/>
                </a:cubicBezTo>
                <a:lnTo>
                  <a:pt x="370976" y="214607"/>
                </a:lnTo>
                <a:cubicBezTo>
                  <a:pt x="378954" y="193865"/>
                  <a:pt x="382145" y="179504"/>
                  <a:pt x="385336" y="163548"/>
                </a:cubicBezTo>
                <a:cubicBezTo>
                  <a:pt x="394910" y="165144"/>
                  <a:pt x="409270" y="165144"/>
                  <a:pt x="426822" y="165144"/>
                </a:cubicBezTo>
                <a:cubicBezTo>
                  <a:pt x="477881" y="165144"/>
                  <a:pt x="554469" y="158762"/>
                  <a:pt x="586381" y="144401"/>
                </a:cubicBezTo>
                <a:cubicBezTo>
                  <a:pt x="634249" y="155570"/>
                  <a:pt x="669352" y="171526"/>
                  <a:pt x="670948" y="181100"/>
                </a:cubicBezTo>
                <a:cubicBezTo>
                  <a:pt x="670948" y="181100"/>
                  <a:pt x="670948" y="182696"/>
                  <a:pt x="669352" y="185887"/>
                </a:cubicBezTo>
                <a:cubicBezTo>
                  <a:pt x="666161" y="187482"/>
                  <a:pt x="666161" y="187482"/>
                  <a:pt x="664565" y="187482"/>
                </a:cubicBezTo>
                <a:close/>
                <a:moveTo>
                  <a:pt x="163549" y="265666"/>
                </a:moveTo>
                <a:cubicBezTo>
                  <a:pt x="161953" y="264071"/>
                  <a:pt x="158762" y="262475"/>
                  <a:pt x="153975" y="257688"/>
                </a:cubicBezTo>
                <a:cubicBezTo>
                  <a:pt x="144401" y="249710"/>
                  <a:pt x="139615" y="246519"/>
                  <a:pt x="133232" y="246519"/>
                </a:cubicBezTo>
                <a:cubicBezTo>
                  <a:pt x="128445" y="246519"/>
                  <a:pt x="125254" y="248115"/>
                  <a:pt x="123659" y="249710"/>
                </a:cubicBezTo>
                <a:cubicBezTo>
                  <a:pt x="120467" y="254497"/>
                  <a:pt x="118872" y="260880"/>
                  <a:pt x="122063" y="272049"/>
                </a:cubicBezTo>
                <a:cubicBezTo>
                  <a:pt x="120467" y="275240"/>
                  <a:pt x="117276" y="275240"/>
                  <a:pt x="109298" y="276836"/>
                </a:cubicBezTo>
                <a:lnTo>
                  <a:pt x="104511" y="276836"/>
                </a:lnTo>
                <a:cubicBezTo>
                  <a:pt x="102916" y="276836"/>
                  <a:pt x="101320" y="276836"/>
                  <a:pt x="99725" y="276836"/>
                </a:cubicBezTo>
                <a:cubicBezTo>
                  <a:pt x="98129" y="276836"/>
                  <a:pt x="90151" y="272049"/>
                  <a:pt x="80578" y="257688"/>
                </a:cubicBezTo>
                <a:cubicBezTo>
                  <a:pt x="69408" y="241733"/>
                  <a:pt x="58239" y="216203"/>
                  <a:pt x="48666" y="189078"/>
                </a:cubicBezTo>
                <a:cubicBezTo>
                  <a:pt x="42283" y="161953"/>
                  <a:pt x="39092" y="134828"/>
                  <a:pt x="39092" y="104511"/>
                </a:cubicBezTo>
                <a:cubicBezTo>
                  <a:pt x="39092" y="104511"/>
                  <a:pt x="39092" y="104511"/>
                  <a:pt x="40688" y="104511"/>
                </a:cubicBezTo>
                <a:cubicBezTo>
                  <a:pt x="43879" y="102916"/>
                  <a:pt x="50261" y="99725"/>
                  <a:pt x="56644" y="98129"/>
                </a:cubicBezTo>
                <a:cubicBezTo>
                  <a:pt x="74195" y="91747"/>
                  <a:pt x="98129" y="85364"/>
                  <a:pt x="123659" y="80578"/>
                </a:cubicBezTo>
                <a:cubicBezTo>
                  <a:pt x="195460" y="67813"/>
                  <a:pt x="280027" y="64622"/>
                  <a:pt x="367785" y="71004"/>
                </a:cubicBezTo>
                <a:cubicBezTo>
                  <a:pt x="367785" y="71004"/>
                  <a:pt x="367785" y="72600"/>
                  <a:pt x="367785" y="72600"/>
                </a:cubicBezTo>
                <a:cubicBezTo>
                  <a:pt x="370976" y="96533"/>
                  <a:pt x="369380" y="126850"/>
                  <a:pt x="364594" y="158762"/>
                </a:cubicBezTo>
                <a:cubicBezTo>
                  <a:pt x="362998" y="174718"/>
                  <a:pt x="358211" y="187482"/>
                  <a:pt x="350233" y="208225"/>
                </a:cubicBezTo>
                <a:cubicBezTo>
                  <a:pt x="350233" y="209821"/>
                  <a:pt x="345446" y="219394"/>
                  <a:pt x="345446" y="222585"/>
                </a:cubicBezTo>
                <a:cubicBezTo>
                  <a:pt x="342255" y="232159"/>
                  <a:pt x="323108" y="238541"/>
                  <a:pt x="278431" y="248115"/>
                </a:cubicBezTo>
                <a:cubicBezTo>
                  <a:pt x="275240" y="248115"/>
                  <a:pt x="272049" y="249710"/>
                  <a:pt x="267262" y="251306"/>
                </a:cubicBezTo>
                <a:lnTo>
                  <a:pt x="256093" y="254497"/>
                </a:lnTo>
                <a:cubicBezTo>
                  <a:pt x="219394" y="260880"/>
                  <a:pt x="181100" y="265666"/>
                  <a:pt x="163549" y="265666"/>
                </a:cubicBezTo>
                <a:close/>
                <a:moveTo>
                  <a:pt x="599146" y="86960"/>
                </a:moveTo>
                <a:cubicBezTo>
                  <a:pt x="623080" y="94938"/>
                  <a:pt x="642227" y="104511"/>
                  <a:pt x="656587" y="112489"/>
                </a:cubicBezTo>
                <a:cubicBezTo>
                  <a:pt x="662970" y="115681"/>
                  <a:pt x="666161" y="118872"/>
                  <a:pt x="669352" y="122063"/>
                </a:cubicBezTo>
                <a:cubicBezTo>
                  <a:pt x="669352" y="122063"/>
                  <a:pt x="670948" y="123659"/>
                  <a:pt x="670948" y="123659"/>
                </a:cubicBezTo>
                <a:lnTo>
                  <a:pt x="670948" y="158762"/>
                </a:lnTo>
                <a:cubicBezTo>
                  <a:pt x="650205" y="144401"/>
                  <a:pt x="610315" y="131637"/>
                  <a:pt x="559256" y="122063"/>
                </a:cubicBezTo>
                <a:cubicBezTo>
                  <a:pt x="508197" y="110894"/>
                  <a:pt x="450756" y="104511"/>
                  <a:pt x="388527" y="99725"/>
                </a:cubicBezTo>
                <a:cubicBezTo>
                  <a:pt x="388527" y="75791"/>
                  <a:pt x="385336" y="55048"/>
                  <a:pt x="380549" y="40688"/>
                </a:cubicBezTo>
                <a:cubicBezTo>
                  <a:pt x="463520" y="48666"/>
                  <a:pt x="538513" y="64622"/>
                  <a:pt x="599146" y="86960"/>
                </a:cubicBezTo>
                <a:close/>
                <a:moveTo>
                  <a:pt x="466712" y="145997"/>
                </a:moveTo>
                <a:cubicBezTo>
                  <a:pt x="433204" y="147592"/>
                  <a:pt x="396505" y="147592"/>
                  <a:pt x="386932" y="145997"/>
                </a:cubicBezTo>
                <a:cubicBezTo>
                  <a:pt x="388527" y="138019"/>
                  <a:pt x="388527" y="128445"/>
                  <a:pt x="388527" y="120467"/>
                </a:cubicBezTo>
                <a:cubicBezTo>
                  <a:pt x="444373" y="123659"/>
                  <a:pt x="498624" y="130041"/>
                  <a:pt x="546491" y="138019"/>
                </a:cubicBezTo>
                <a:cubicBezTo>
                  <a:pt x="525749" y="142806"/>
                  <a:pt x="498624" y="144401"/>
                  <a:pt x="466712" y="145997"/>
                </a:cubicBezTo>
                <a:close/>
                <a:moveTo>
                  <a:pt x="120467" y="61430"/>
                </a:moveTo>
                <a:cubicBezTo>
                  <a:pt x="91747" y="67813"/>
                  <a:pt x="59835" y="74195"/>
                  <a:pt x="40688" y="83769"/>
                </a:cubicBezTo>
                <a:cubicBezTo>
                  <a:pt x="40688" y="83769"/>
                  <a:pt x="40688" y="82173"/>
                  <a:pt x="40688" y="80578"/>
                </a:cubicBezTo>
                <a:lnTo>
                  <a:pt x="40688" y="75791"/>
                </a:lnTo>
                <a:cubicBezTo>
                  <a:pt x="40688" y="75791"/>
                  <a:pt x="42283" y="75791"/>
                  <a:pt x="42283" y="74195"/>
                </a:cubicBezTo>
                <a:cubicBezTo>
                  <a:pt x="47070" y="72600"/>
                  <a:pt x="51857" y="71004"/>
                  <a:pt x="58239" y="67813"/>
                </a:cubicBezTo>
                <a:cubicBezTo>
                  <a:pt x="75791" y="61430"/>
                  <a:pt x="98129" y="55048"/>
                  <a:pt x="122063" y="51857"/>
                </a:cubicBezTo>
                <a:cubicBezTo>
                  <a:pt x="192269" y="39092"/>
                  <a:pt x="275240" y="35901"/>
                  <a:pt x="359807" y="43879"/>
                </a:cubicBezTo>
                <a:cubicBezTo>
                  <a:pt x="359807" y="45474"/>
                  <a:pt x="361402" y="45474"/>
                  <a:pt x="361402" y="48666"/>
                </a:cubicBezTo>
                <a:cubicBezTo>
                  <a:pt x="361402" y="50261"/>
                  <a:pt x="362998" y="51857"/>
                  <a:pt x="362998" y="53452"/>
                </a:cubicBezTo>
                <a:cubicBezTo>
                  <a:pt x="276836" y="45474"/>
                  <a:pt x="192269" y="48666"/>
                  <a:pt x="120467" y="61430"/>
                </a:cubicBezTo>
                <a:close/>
              </a:path>
            </a:pathLst>
          </a:custGeom>
          <a:solidFill>
            <a:schemeClr val="accent1"/>
          </a:solidFill>
          <a:ln w="15875" cap="flat">
            <a:noFill/>
            <a:prstDash val="solid"/>
            <a:miter/>
          </a:ln>
        </p:spPr>
        <p:txBody>
          <a:bodyPr/>
          <a:lstStyle/>
          <a:p>
            <a:pPr defTabSz="932418"/>
            <a:endParaRPr lang="en-US" sz="1836">
              <a:solidFill>
                <a:srgbClr val="505050"/>
              </a:solidFill>
              <a:latin typeface="Segoe UI"/>
            </a:endParaRPr>
          </a:p>
        </p:txBody>
      </p:sp>
      <p:grpSp>
        <p:nvGrpSpPr>
          <p:cNvPr id="241" name="Group 240">
            <a:extLst>
              <a:ext uri="{FF2B5EF4-FFF2-40B4-BE49-F238E27FC236}">
                <a16:creationId xmlns:a16="http://schemas.microsoft.com/office/drawing/2014/main" id="{ABED8B98-FFB4-4BAE-A1FA-C0071221A0A5}"/>
              </a:ext>
            </a:extLst>
          </p:cNvPr>
          <p:cNvGrpSpPr/>
          <p:nvPr/>
        </p:nvGrpSpPr>
        <p:grpSpPr>
          <a:xfrm rot="16200000">
            <a:off x="905107" y="4625568"/>
            <a:ext cx="244471" cy="427826"/>
            <a:chOff x="2735447" y="6896867"/>
            <a:chExt cx="533400" cy="933450"/>
          </a:xfrm>
          <a:solidFill>
            <a:schemeClr val="accent1"/>
          </a:solidFill>
        </p:grpSpPr>
        <p:sp>
          <p:nvSpPr>
            <p:cNvPr id="242" name="Freeform: Shape 241">
              <a:extLst>
                <a:ext uri="{FF2B5EF4-FFF2-40B4-BE49-F238E27FC236}">
                  <a16:creationId xmlns:a16="http://schemas.microsoft.com/office/drawing/2014/main" id="{51EF57D2-CB47-4558-AC41-9AEE1FEE7332}"/>
                </a:ext>
              </a:extLst>
            </p:cNvPr>
            <p:cNvSpPr/>
            <p:nvPr/>
          </p:nvSpPr>
          <p:spPr>
            <a:xfrm>
              <a:off x="2735447" y="6896867"/>
              <a:ext cx="533400" cy="933450"/>
            </a:xfrm>
            <a:custGeom>
              <a:avLst/>
              <a:gdLst/>
              <a:ahLst/>
              <a:cxnLst/>
              <a:rect l="0" t="0" r="0" b="0"/>
              <a:pathLst>
                <a:path w="533400" h="933450">
                  <a:moveTo>
                    <a:pt x="511969" y="326231"/>
                  </a:moveTo>
                  <a:lnTo>
                    <a:pt x="511969" y="278606"/>
                  </a:lnTo>
                  <a:cubicBezTo>
                    <a:pt x="511969" y="228124"/>
                    <a:pt x="476726" y="185261"/>
                    <a:pt x="430054" y="172879"/>
                  </a:cubicBezTo>
                  <a:cubicBezTo>
                    <a:pt x="421481" y="148114"/>
                    <a:pt x="416719" y="109061"/>
                    <a:pt x="416719" y="78581"/>
                  </a:cubicBezTo>
                  <a:cubicBezTo>
                    <a:pt x="416719" y="39529"/>
                    <a:pt x="384334" y="7144"/>
                    <a:pt x="345281" y="7144"/>
                  </a:cubicBezTo>
                  <a:lnTo>
                    <a:pt x="173831" y="7144"/>
                  </a:lnTo>
                  <a:cubicBezTo>
                    <a:pt x="134779" y="7144"/>
                    <a:pt x="102394" y="39529"/>
                    <a:pt x="102394" y="78581"/>
                  </a:cubicBezTo>
                  <a:cubicBezTo>
                    <a:pt x="102394" y="109061"/>
                    <a:pt x="97631" y="148114"/>
                    <a:pt x="89059" y="172879"/>
                  </a:cubicBezTo>
                  <a:cubicBezTo>
                    <a:pt x="42386" y="185261"/>
                    <a:pt x="7144" y="228124"/>
                    <a:pt x="7144" y="278606"/>
                  </a:cubicBezTo>
                  <a:lnTo>
                    <a:pt x="7144" y="659606"/>
                  </a:lnTo>
                  <a:cubicBezTo>
                    <a:pt x="7144" y="710089"/>
                    <a:pt x="42386" y="752951"/>
                    <a:pt x="89059" y="765334"/>
                  </a:cubicBezTo>
                  <a:cubicBezTo>
                    <a:pt x="97631" y="790099"/>
                    <a:pt x="102394" y="829151"/>
                    <a:pt x="102394" y="859631"/>
                  </a:cubicBezTo>
                  <a:cubicBezTo>
                    <a:pt x="102394" y="898684"/>
                    <a:pt x="134779" y="931069"/>
                    <a:pt x="173831" y="931069"/>
                  </a:cubicBezTo>
                  <a:lnTo>
                    <a:pt x="345281" y="931069"/>
                  </a:lnTo>
                  <a:cubicBezTo>
                    <a:pt x="384334" y="931069"/>
                    <a:pt x="416719" y="898684"/>
                    <a:pt x="416719" y="859631"/>
                  </a:cubicBezTo>
                  <a:cubicBezTo>
                    <a:pt x="416719" y="829151"/>
                    <a:pt x="421481" y="790099"/>
                    <a:pt x="430054" y="765334"/>
                  </a:cubicBezTo>
                  <a:cubicBezTo>
                    <a:pt x="476726" y="752951"/>
                    <a:pt x="511969" y="710089"/>
                    <a:pt x="511969" y="659606"/>
                  </a:cubicBezTo>
                  <a:lnTo>
                    <a:pt x="511969" y="421481"/>
                  </a:lnTo>
                  <a:cubicBezTo>
                    <a:pt x="519589" y="421481"/>
                    <a:pt x="526256" y="414814"/>
                    <a:pt x="526256" y="407194"/>
                  </a:cubicBezTo>
                  <a:lnTo>
                    <a:pt x="526256" y="340519"/>
                  </a:lnTo>
                  <a:cubicBezTo>
                    <a:pt x="526256" y="332899"/>
                    <a:pt x="519589" y="326231"/>
                    <a:pt x="511969" y="326231"/>
                  </a:cubicBezTo>
                  <a:close/>
                  <a:moveTo>
                    <a:pt x="130969" y="78581"/>
                  </a:moveTo>
                  <a:cubicBezTo>
                    <a:pt x="130969" y="54769"/>
                    <a:pt x="150019" y="35719"/>
                    <a:pt x="173831" y="35719"/>
                  </a:cubicBezTo>
                  <a:lnTo>
                    <a:pt x="345281" y="35719"/>
                  </a:lnTo>
                  <a:cubicBezTo>
                    <a:pt x="369094" y="35719"/>
                    <a:pt x="388144" y="54769"/>
                    <a:pt x="388144" y="78581"/>
                  </a:cubicBezTo>
                  <a:cubicBezTo>
                    <a:pt x="388144" y="91916"/>
                    <a:pt x="389096" y="133826"/>
                    <a:pt x="398621" y="169069"/>
                  </a:cubicBezTo>
                  <a:lnTo>
                    <a:pt x="119539" y="169069"/>
                  </a:lnTo>
                  <a:cubicBezTo>
                    <a:pt x="130016" y="133826"/>
                    <a:pt x="130969" y="91916"/>
                    <a:pt x="130969" y="78581"/>
                  </a:cubicBezTo>
                  <a:close/>
                  <a:moveTo>
                    <a:pt x="388144" y="859631"/>
                  </a:moveTo>
                  <a:cubicBezTo>
                    <a:pt x="388144" y="883444"/>
                    <a:pt x="369094" y="902494"/>
                    <a:pt x="345281" y="902494"/>
                  </a:cubicBezTo>
                  <a:lnTo>
                    <a:pt x="173831" y="902494"/>
                  </a:lnTo>
                  <a:cubicBezTo>
                    <a:pt x="150019" y="902494"/>
                    <a:pt x="130969" y="883444"/>
                    <a:pt x="130969" y="859631"/>
                  </a:cubicBezTo>
                  <a:cubicBezTo>
                    <a:pt x="130969" y="846297"/>
                    <a:pt x="130016" y="804386"/>
                    <a:pt x="120491" y="769144"/>
                  </a:cubicBezTo>
                  <a:lnTo>
                    <a:pt x="399574" y="769144"/>
                  </a:lnTo>
                  <a:cubicBezTo>
                    <a:pt x="389096" y="805339"/>
                    <a:pt x="388144" y="846297"/>
                    <a:pt x="388144" y="859631"/>
                  </a:cubicBezTo>
                  <a:close/>
                  <a:moveTo>
                    <a:pt x="483394" y="659606"/>
                  </a:moveTo>
                  <a:cubicBezTo>
                    <a:pt x="483394" y="704374"/>
                    <a:pt x="447199" y="740569"/>
                    <a:pt x="402431" y="740569"/>
                  </a:cubicBezTo>
                  <a:lnTo>
                    <a:pt x="116681" y="740569"/>
                  </a:lnTo>
                  <a:cubicBezTo>
                    <a:pt x="71914" y="740569"/>
                    <a:pt x="35719" y="704374"/>
                    <a:pt x="35719" y="659606"/>
                  </a:cubicBezTo>
                  <a:lnTo>
                    <a:pt x="35719" y="278606"/>
                  </a:lnTo>
                  <a:cubicBezTo>
                    <a:pt x="35719" y="233839"/>
                    <a:pt x="71914" y="197644"/>
                    <a:pt x="116681" y="197644"/>
                  </a:cubicBezTo>
                  <a:lnTo>
                    <a:pt x="402431" y="197644"/>
                  </a:lnTo>
                  <a:cubicBezTo>
                    <a:pt x="447199" y="197644"/>
                    <a:pt x="483394" y="233839"/>
                    <a:pt x="483394" y="278606"/>
                  </a:cubicBezTo>
                  <a:lnTo>
                    <a:pt x="483394" y="659606"/>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43" name="Freeform: Shape 242">
              <a:extLst>
                <a:ext uri="{FF2B5EF4-FFF2-40B4-BE49-F238E27FC236}">
                  <a16:creationId xmlns:a16="http://schemas.microsoft.com/office/drawing/2014/main" id="{93315AF9-C583-4F77-AD42-F3177F40EFC6}"/>
                </a:ext>
              </a:extLst>
            </p:cNvPr>
            <p:cNvSpPr/>
            <p:nvPr/>
          </p:nvSpPr>
          <p:spPr>
            <a:xfrm>
              <a:off x="2864034" y="7235004"/>
              <a:ext cx="257175" cy="257175"/>
            </a:xfrm>
            <a:custGeom>
              <a:avLst/>
              <a:gdLst/>
              <a:ahLst/>
              <a:cxnLst/>
              <a:rect l="0" t="0" r="0" b="0"/>
              <a:pathLst>
                <a:path w="257175" h="257175">
                  <a:moveTo>
                    <a:pt x="130969" y="7144"/>
                  </a:moveTo>
                  <a:cubicBezTo>
                    <a:pt x="62389" y="7144"/>
                    <a:pt x="7144" y="62389"/>
                    <a:pt x="7144" y="130969"/>
                  </a:cubicBezTo>
                  <a:cubicBezTo>
                    <a:pt x="7144" y="199549"/>
                    <a:pt x="62389" y="254794"/>
                    <a:pt x="130969" y="254794"/>
                  </a:cubicBezTo>
                  <a:cubicBezTo>
                    <a:pt x="199549" y="254794"/>
                    <a:pt x="254794" y="199549"/>
                    <a:pt x="254794" y="130969"/>
                  </a:cubicBezTo>
                  <a:cubicBezTo>
                    <a:pt x="254794" y="62389"/>
                    <a:pt x="199549" y="7144"/>
                    <a:pt x="130969" y="7144"/>
                  </a:cubicBezTo>
                  <a:close/>
                  <a:moveTo>
                    <a:pt x="130969" y="226219"/>
                  </a:moveTo>
                  <a:cubicBezTo>
                    <a:pt x="78581" y="226219"/>
                    <a:pt x="35719" y="183356"/>
                    <a:pt x="35719" y="130969"/>
                  </a:cubicBezTo>
                  <a:cubicBezTo>
                    <a:pt x="35719" y="78581"/>
                    <a:pt x="78581" y="35719"/>
                    <a:pt x="130969" y="35719"/>
                  </a:cubicBezTo>
                  <a:cubicBezTo>
                    <a:pt x="183356" y="35719"/>
                    <a:pt x="226219" y="78581"/>
                    <a:pt x="226219" y="130969"/>
                  </a:cubicBezTo>
                  <a:cubicBezTo>
                    <a:pt x="226219" y="183356"/>
                    <a:pt x="183356" y="226219"/>
                    <a:pt x="130969" y="22621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244" name="Group 243">
            <a:extLst>
              <a:ext uri="{FF2B5EF4-FFF2-40B4-BE49-F238E27FC236}">
                <a16:creationId xmlns:a16="http://schemas.microsoft.com/office/drawing/2014/main" id="{5843ED79-33B3-4110-B4CD-F9971B4A03EF}"/>
              </a:ext>
            </a:extLst>
          </p:cNvPr>
          <p:cNvGrpSpPr/>
          <p:nvPr/>
        </p:nvGrpSpPr>
        <p:grpSpPr>
          <a:xfrm>
            <a:off x="516417" y="5196433"/>
            <a:ext cx="947859" cy="548541"/>
            <a:chOff x="580880" y="5110480"/>
            <a:chExt cx="929490" cy="537911"/>
          </a:xfrm>
        </p:grpSpPr>
        <p:sp>
          <p:nvSpPr>
            <p:cNvPr id="245" name="Freeform: Shape 244">
              <a:extLst>
                <a:ext uri="{FF2B5EF4-FFF2-40B4-BE49-F238E27FC236}">
                  <a16:creationId xmlns:a16="http://schemas.microsoft.com/office/drawing/2014/main" id="{A8AE99DA-53BC-4C5B-A46D-33D367310D91}"/>
                </a:ext>
              </a:extLst>
            </p:cNvPr>
            <p:cNvSpPr/>
            <p:nvPr/>
          </p:nvSpPr>
          <p:spPr>
            <a:xfrm>
              <a:off x="580880" y="5198596"/>
              <a:ext cx="370560" cy="353243"/>
            </a:xfrm>
            <a:custGeom>
              <a:avLst/>
              <a:gdLst/>
              <a:ahLst/>
              <a:cxnLst/>
              <a:rect l="0" t="0" r="0" b="0"/>
              <a:pathLst>
                <a:path w="1019175" h="971550">
                  <a:moveTo>
                    <a:pt x="1002334" y="460275"/>
                  </a:moveTo>
                  <a:lnTo>
                    <a:pt x="971196" y="460275"/>
                  </a:lnTo>
                  <a:cubicBezTo>
                    <a:pt x="965432" y="437799"/>
                    <a:pt x="951787" y="418484"/>
                    <a:pt x="933309" y="405503"/>
                  </a:cubicBezTo>
                  <a:lnTo>
                    <a:pt x="933305" y="305802"/>
                  </a:lnTo>
                  <a:cubicBezTo>
                    <a:pt x="933237" y="304218"/>
                    <a:pt x="927041" y="203088"/>
                    <a:pt x="817580" y="130515"/>
                  </a:cubicBezTo>
                  <a:lnTo>
                    <a:pt x="830005" y="105126"/>
                  </a:lnTo>
                  <a:cubicBezTo>
                    <a:pt x="832237" y="100559"/>
                    <a:pt x="832288" y="95229"/>
                    <a:pt x="830135" y="90624"/>
                  </a:cubicBezTo>
                  <a:cubicBezTo>
                    <a:pt x="827982" y="86029"/>
                    <a:pt x="823866" y="82643"/>
                    <a:pt x="818931" y="81434"/>
                  </a:cubicBezTo>
                  <a:lnTo>
                    <a:pt x="526558" y="9540"/>
                  </a:lnTo>
                  <a:cubicBezTo>
                    <a:pt x="522768" y="7270"/>
                    <a:pt x="518219" y="6563"/>
                    <a:pt x="513899" y="7633"/>
                  </a:cubicBezTo>
                  <a:lnTo>
                    <a:pt x="216880" y="80661"/>
                  </a:lnTo>
                  <a:cubicBezTo>
                    <a:pt x="211945" y="81871"/>
                    <a:pt x="207829" y="85256"/>
                    <a:pt x="205675" y="89851"/>
                  </a:cubicBezTo>
                  <a:cubicBezTo>
                    <a:pt x="203522" y="94455"/>
                    <a:pt x="203573" y="99785"/>
                    <a:pt x="205806" y="104353"/>
                  </a:cubicBezTo>
                  <a:lnTo>
                    <a:pt x="218525" y="130347"/>
                  </a:lnTo>
                  <a:cubicBezTo>
                    <a:pt x="108776" y="202993"/>
                    <a:pt x="102569" y="304473"/>
                    <a:pt x="102492" y="306518"/>
                  </a:cubicBezTo>
                  <a:lnTo>
                    <a:pt x="102492" y="398826"/>
                  </a:lnTo>
                  <a:cubicBezTo>
                    <a:pt x="78489" y="411271"/>
                    <a:pt x="60447" y="433532"/>
                    <a:pt x="53589" y="460276"/>
                  </a:cubicBezTo>
                  <a:lnTo>
                    <a:pt x="22449" y="460276"/>
                  </a:lnTo>
                  <a:cubicBezTo>
                    <a:pt x="13994" y="460275"/>
                    <a:pt x="7144" y="467131"/>
                    <a:pt x="7144" y="475586"/>
                  </a:cubicBezTo>
                  <a:lnTo>
                    <a:pt x="7144" y="700614"/>
                  </a:lnTo>
                  <a:cubicBezTo>
                    <a:pt x="7144" y="709069"/>
                    <a:pt x="13994" y="715924"/>
                    <a:pt x="22449" y="715924"/>
                  </a:cubicBezTo>
                  <a:lnTo>
                    <a:pt x="50802" y="715924"/>
                  </a:lnTo>
                  <a:cubicBezTo>
                    <a:pt x="54092" y="765920"/>
                    <a:pt x="95698" y="805621"/>
                    <a:pt x="146512" y="805621"/>
                  </a:cubicBezTo>
                  <a:cubicBezTo>
                    <a:pt x="199467" y="805621"/>
                    <a:pt x="242543" y="762536"/>
                    <a:pt x="242543" y="709581"/>
                  </a:cubicBezTo>
                  <a:lnTo>
                    <a:pt x="242543" y="484078"/>
                  </a:lnTo>
                  <a:cubicBezTo>
                    <a:pt x="242543" y="431123"/>
                    <a:pt x="199466" y="388047"/>
                    <a:pt x="146512" y="388047"/>
                  </a:cubicBezTo>
                  <a:cubicBezTo>
                    <a:pt x="142979" y="388047"/>
                    <a:pt x="139499" y="388268"/>
                    <a:pt x="136065" y="388641"/>
                  </a:cubicBezTo>
                  <a:lnTo>
                    <a:pt x="136061" y="307298"/>
                  </a:lnTo>
                  <a:cubicBezTo>
                    <a:pt x="136339" y="301858"/>
                    <a:pt x="142216" y="220886"/>
                    <a:pt x="232900" y="159721"/>
                  </a:cubicBezTo>
                  <a:lnTo>
                    <a:pt x="242315" y="178962"/>
                  </a:lnTo>
                  <a:cubicBezTo>
                    <a:pt x="245794" y="186078"/>
                    <a:pt x="253789" y="189779"/>
                    <a:pt x="261467" y="187872"/>
                  </a:cubicBezTo>
                  <a:lnTo>
                    <a:pt x="516363" y="124184"/>
                  </a:lnTo>
                  <a:lnTo>
                    <a:pt x="553524" y="133469"/>
                  </a:lnTo>
                  <a:lnTo>
                    <a:pt x="774342" y="188645"/>
                  </a:lnTo>
                  <a:cubicBezTo>
                    <a:pt x="775700" y="188980"/>
                    <a:pt x="777067" y="189147"/>
                    <a:pt x="778415" y="189147"/>
                  </a:cubicBezTo>
                  <a:cubicBezTo>
                    <a:pt x="784708" y="189147"/>
                    <a:pt x="790628" y="185594"/>
                    <a:pt x="793493" y="179733"/>
                  </a:cubicBezTo>
                  <a:lnTo>
                    <a:pt x="803206" y="159885"/>
                  </a:lnTo>
                  <a:cubicBezTo>
                    <a:pt x="893597" y="220957"/>
                    <a:pt x="899464" y="301566"/>
                    <a:pt x="899732" y="306518"/>
                  </a:cubicBezTo>
                  <a:lnTo>
                    <a:pt x="899732" y="390551"/>
                  </a:lnTo>
                  <a:cubicBezTo>
                    <a:pt x="892820" y="388965"/>
                    <a:pt x="885658" y="388048"/>
                    <a:pt x="878273" y="388048"/>
                  </a:cubicBezTo>
                  <a:cubicBezTo>
                    <a:pt x="825317" y="388048"/>
                    <a:pt x="782242" y="431125"/>
                    <a:pt x="782242" y="484079"/>
                  </a:cubicBezTo>
                  <a:lnTo>
                    <a:pt x="782242" y="510567"/>
                  </a:lnTo>
                  <a:lnTo>
                    <a:pt x="782242" y="709581"/>
                  </a:lnTo>
                  <a:cubicBezTo>
                    <a:pt x="782242" y="753530"/>
                    <a:pt x="811947" y="790591"/>
                    <a:pt x="852308" y="801957"/>
                  </a:cubicBezTo>
                  <a:cubicBezTo>
                    <a:pt x="855786" y="802936"/>
                    <a:pt x="859344" y="803699"/>
                    <a:pt x="862967" y="804283"/>
                  </a:cubicBezTo>
                  <a:lnTo>
                    <a:pt x="862967" y="893663"/>
                  </a:lnTo>
                  <a:lnTo>
                    <a:pt x="647917" y="893663"/>
                  </a:lnTo>
                  <a:lnTo>
                    <a:pt x="629077" y="893663"/>
                  </a:lnTo>
                  <a:cubicBezTo>
                    <a:pt x="622717" y="867737"/>
                    <a:pt x="599345" y="848419"/>
                    <a:pt x="571486" y="848419"/>
                  </a:cubicBezTo>
                  <a:lnTo>
                    <a:pt x="464325" y="848419"/>
                  </a:lnTo>
                  <a:cubicBezTo>
                    <a:pt x="431597" y="848419"/>
                    <a:pt x="404971" y="875050"/>
                    <a:pt x="404971" y="907782"/>
                  </a:cubicBezTo>
                  <a:cubicBezTo>
                    <a:pt x="404971" y="940515"/>
                    <a:pt x="431597" y="967146"/>
                    <a:pt x="464325" y="967146"/>
                  </a:cubicBezTo>
                  <a:lnTo>
                    <a:pt x="571486" y="967146"/>
                  </a:lnTo>
                  <a:cubicBezTo>
                    <a:pt x="598489" y="967146"/>
                    <a:pt x="621293" y="949005"/>
                    <a:pt x="628463" y="924284"/>
                  </a:cubicBezTo>
                  <a:lnTo>
                    <a:pt x="878272" y="924284"/>
                  </a:lnTo>
                  <a:cubicBezTo>
                    <a:pt x="886727" y="924284"/>
                    <a:pt x="893577" y="917428"/>
                    <a:pt x="893577" y="908973"/>
                  </a:cubicBezTo>
                  <a:lnTo>
                    <a:pt x="893577" y="804283"/>
                  </a:lnTo>
                  <a:cubicBezTo>
                    <a:pt x="937214" y="797246"/>
                    <a:pt x="971029" y="760784"/>
                    <a:pt x="973981" y="715925"/>
                  </a:cubicBezTo>
                  <a:lnTo>
                    <a:pt x="1002333" y="715925"/>
                  </a:lnTo>
                  <a:cubicBezTo>
                    <a:pt x="1010788" y="715925"/>
                    <a:pt x="1017639" y="709070"/>
                    <a:pt x="1017639" y="700615"/>
                  </a:cubicBezTo>
                  <a:lnTo>
                    <a:pt x="1017639" y="475587"/>
                  </a:lnTo>
                  <a:cubicBezTo>
                    <a:pt x="1017641" y="467131"/>
                    <a:pt x="1010789" y="460275"/>
                    <a:pt x="1002334" y="460275"/>
                  </a:cubicBezTo>
                  <a:close/>
                  <a:moveTo>
                    <a:pt x="146512" y="418669"/>
                  </a:moveTo>
                  <a:cubicBezTo>
                    <a:pt x="182584" y="418669"/>
                    <a:pt x="211931" y="448007"/>
                    <a:pt x="211931" y="484079"/>
                  </a:cubicBezTo>
                  <a:lnTo>
                    <a:pt x="211931" y="709581"/>
                  </a:lnTo>
                  <a:cubicBezTo>
                    <a:pt x="211931" y="745654"/>
                    <a:pt x="182584" y="775001"/>
                    <a:pt x="146512" y="775001"/>
                  </a:cubicBezTo>
                  <a:cubicBezTo>
                    <a:pt x="110440" y="775001"/>
                    <a:pt x="81092" y="745654"/>
                    <a:pt x="81092" y="709581"/>
                  </a:cubicBezTo>
                  <a:lnTo>
                    <a:pt x="81092" y="700615"/>
                  </a:lnTo>
                  <a:lnTo>
                    <a:pt x="81092" y="484078"/>
                  </a:lnTo>
                  <a:cubicBezTo>
                    <a:pt x="81092" y="464967"/>
                    <a:pt x="89381" y="447801"/>
                    <a:pt x="102491" y="435832"/>
                  </a:cubicBezTo>
                  <a:cubicBezTo>
                    <a:pt x="111683" y="427441"/>
                    <a:pt x="123243" y="421654"/>
                    <a:pt x="136066" y="419582"/>
                  </a:cubicBezTo>
                  <a:cubicBezTo>
                    <a:pt x="139476" y="419033"/>
                    <a:pt x="142949" y="418669"/>
                    <a:pt x="146512" y="418669"/>
                  </a:cubicBezTo>
                  <a:close/>
                  <a:moveTo>
                    <a:pt x="37756" y="490897"/>
                  </a:moveTo>
                  <a:lnTo>
                    <a:pt x="50481" y="490897"/>
                  </a:lnTo>
                  <a:lnTo>
                    <a:pt x="50481" y="685304"/>
                  </a:lnTo>
                  <a:lnTo>
                    <a:pt x="37756" y="685304"/>
                  </a:lnTo>
                  <a:lnTo>
                    <a:pt x="37756" y="490897"/>
                  </a:lnTo>
                  <a:close/>
                  <a:moveTo>
                    <a:pt x="987028" y="685303"/>
                  </a:moveTo>
                  <a:lnTo>
                    <a:pt x="974304" y="685303"/>
                  </a:lnTo>
                  <a:lnTo>
                    <a:pt x="974304" y="490897"/>
                  </a:lnTo>
                  <a:lnTo>
                    <a:pt x="987028" y="490897"/>
                  </a:lnTo>
                  <a:lnTo>
                    <a:pt x="987028" y="685303"/>
                  </a:lnTo>
                  <a:close/>
                  <a:moveTo>
                    <a:pt x="878272" y="775000"/>
                  </a:moveTo>
                  <a:cubicBezTo>
                    <a:pt x="842200" y="775000"/>
                    <a:pt x="812852" y="745653"/>
                    <a:pt x="812852" y="709581"/>
                  </a:cubicBezTo>
                  <a:lnTo>
                    <a:pt x="812852" y="561038"/>
                  </a:lnTo>
                  <a:lnTo>
                    <a:pt x="812852" y="484078"/>
                  </a:lnTo>
                  <a:cubicBezTo>
                    <a:pt x="812852" y="448006"/>
                    <a:pt x="842200" y="418668"/>
                    <a:pt x="878272" y="418668"/>
                  </a:cubicBezTo>
                  <a:cubicBezTo>
                    <a:pt x="885796" y="418668"/>
                    <a:pt x="892997" y="420008"/>
                    <a:pt x="899731" y="422356"/>
                  </a:cubicBezTo>
                  <a:cubicBezTo>
                    <a:pt x="905784" y="424467"/>
                    <a:pt x="911424" y="427431"/>
                    <a:pt x="916523" y="431125"/>
                  </a:cubicBezTo>
                  <a:cubicBezTo>
                    <a:pt x="923166" y="435936"/>
                    <a:pt x="928868" y="441941"/>
                    <a:pt x="933310" y="448857"/>
                  </a:cubicBezTo>
                  <a:cubicBezTo>
                    <a:pt x="939849" y="459036"/>
                    <a:pt x="943690" y="471106"/>
                    <a:pt x="943690" y="484078"/>
                  </a:cubicBezTo>
                  <a:lnTo>
                    <a:pt x="943690" y="700614"/>
                  </a:lnTo>
                  <a:lnTo>
                    <a:pt x="943690" y="709581"/>
                  </a:lnTo>
                  <a:cubicBezTo>
                    <a:pt x="943691" y="745654"/>
                    <a:pt x="914344" y="775000"/>
                    <a:pt x="878272" y="775000"/>
                  </a:cubicBezTo>
                  <a:close/>
                  <a:moveTo>
                    <a:pt x="774233" y="142682"/>
                  </a:moveTo>
                  <a:lnTo>
                    <a:pt x="769302" y="152760"/>
                  </a:lnTo>
                  <a:lnTo>
                    <a:pt x="528781" y="92673"/>
                  </a:lnTo>
                  <a:lnTo>
                    <a:pt x="528202" y="91719"/>
                  </a:lnTo>
                  <a:cubicBezTo>
                    <a:pt x="527344" y="91709"/>
                    <a:pt x="526519" y="91680"/>
                    <a:pt x="525657" y="91673"/>
                  </a:cubicBezTo>
                  <a:cubicBezTo>
                    <a:pt x="523253" y="90413"/>
                    <a:pt x="520607" y="89750"/>
                    <a:pt x="517909" y="89749"/>
                  </a:cubicBezTo>
                  <a:cubicBezTo>
                    <a:pt x="517907" y="89749"/>
                    <a:pt x="517906" y="89748"/>
                    <a:pt x="517906" y="89748"/>
                  </a:cubicBezTo>
                  <a:cubicBezTo>
                    <a:pt x="516546" y="89748"/>
                    <a:pt x="515183" y="89856"/>
                    <a:pt x="513839" y="90195"/>
                  </a:cubicBezTo>
                  <a:lnTo>
                    <a:pt x="507754" y="91715"/>
                  </a:lnTo>
                  <a:lnTo>
                    <a:pt x="266510" y="151987"/>
                  </a:lnTo>
                  <a:lnTo>
                    <a:pt x="261888" y="142542"/>
                  </a:lnTo>
                  <a:lnTo>
                    <a:pt x="247544" y="113233"/>
                  </a:lnTo>
                  <a:cubicBezTo>
                    <a:pt x="254932" y="109339"/>
                    <a:pt x="262689" y="105578"/>
                    <a:pt x="270846" y="101975"/>
                  </a:cubicBezTo>
                  <a:lnTo>
                    <a:pt x="433523" y="61982"/>
                  </a:lnTo>
                  <a:lnTo>
                    <a:pt x="516336" y="41622"/>
                  </a:lnTo>
                  <a:lnTo>
                    <a:pt x="597264" y="61518"/>
                  </a:lnTo>
                  <a:lnTo>
                    <a:pt x="768824" y="103695"/>
                  </a:lnTo>
                  <a:cubicBezTo>
                    <a:pt x="775688" y="106816"/>
                    <a:pt x="782271" y="110045"/>
                    <a:pt x="788576" y="113374"/>
                  </a:cubicBezTo>
                  <a:lnTo>
                    <a:pt x="781466" y="127902"/>
                  </a:lnTo>
                  <a:lnTo>
                    <a:pt x="774233" y="142682"/>
                  </a:lnTo>
                  <a:close/>
                  <a:moveTo>
                    <a:pt x="571486" y="936525"/>
                  </a:moveTo>
                  <a:lnTo>
                    <a:pt x="464325" y="936525"/>
                  </a:lnTo>
                  <a:cubicBezTo>
                    <a:pt x="448479" y="936525"/>
                    <a:pt x="435582" y="923633"/>
                    <a:pt x="435582" y="907782"/>
                  </a:cubicBezTo>
                  <a:cubicBezTo>
                    <a:pt x="435582" y="891932"/>
                    <a:pt x="448479" y="879040"/>
                    <a:pt x="464325" y="879040"/>
                  </a:cubicBezTo>
                  <a:lnTo>
                    <a:pt x="571486" y="879040"/>
                  </a:lnTo>
                  <a:cubicBezTo>
                    <a:pt x="585671" y="879040"/>
                    <a:pt x="597416" y="889390"/>
                    <a:pt x="599742" y="902922"/>
                  </a:cubicBezTo>
                  <a:cubicBezTo>
                    <a:pt x="598942" y="904779"/>
                    <a:pt x="598489" y="906822"/>
                    <a:pt x="598489" y="908973"/>
                  </a:cubicBezTo>
                  <a:cubicBezTo>
                    <a:pt x="598489" y="910810"/>
                    <a:pt x="598865" y="912547"/>
                    <a:pt x="599458" y="914179"/>
                  </a:cubicBezTo>
                  <a:cubicBezTo>
                    <a:pt x="596534" y="926950"/>
                    <a:pt x="585130" y="936525"/>
                    <a:pt x="571486" y="936525"/>
                  </a:cubicBezTo>
                  <a:close/>
                </a:path>
              </a:pathLst>
            </a:custGeom>
            <a:solidFill>
              <a:schemeClr val="accent1"/>
            </a:solidFill>
            <a:ln w="9525" cap="flat">
              <a:noFill/>
              <a:prstDash val="solid"/>
              <a:miter/>
            </a:ln>
          </p:spPr>
          <p:txBody>
            <a:bodyPr/>
            <a:lstStyle/>
            <a:p>
              <a:pPr defTabSz="932418"/>
              <a:endParaRPr lang="en-US" sz="1836">
                <a:solidFill>
                  <a:srgbClr val="505050"/>
                </a:solidFill>
                <a:latin typeface="Segoe UI"/>
              </a:endParaRPr>
            </a:p>
          </p:txBody>
        </p:sp>
        <p:grpSp>
          <p:nvGrpSpPr>
            <p:cNvPr id="246" name="Graphic 245">
              <a:extLst>
                <a:ext uri="{FF2B5EF4-FFF2-40B4-BE49-F238E27FC236}">
                  <a16:creationId xmlns:a16="http://schemas.microsoft.com/office/drawing/2014/main" id="{B2C3ECFE-CD74-400F-A31A-55255BF68C58}"/>
                </a:ext>
              </a:extLst>
            </p:cNvPr>
            <p:cNvGrpSpPr/>
            <p:nvPr/>
          </p:nvGrpSpPr>
          <p:grpSpPr>
            <a:xfrm>
              <a:off x="1054765" y="5110480"/>
              <a:ext cx="400488" cy="400488"/>
              <a:chOff x="348831" y="5074919"/>
              <a:chExt cx="857250" cy="857250"/>
            </a:xfrm>
            <a:solidFill>
              <a:schemeClr val="accent1"/>
            </a:solidFill>
          </p:grpSpPr>
          <p:sp>
            <p:nvSpPr>
              <p:cNvPr id="252" name="Freeform: Shape 251">
                <a:extLst>
                  <a:ext uri="{FF2B5EF4-FFF2-40B4-BE49-F238E27FC236}">
                    <a16:creationId xmlns:a16="http://schemas.microsoft.com/office/drawing/2014/main" id="{3596B3F4-C8B2-4A1A-9703-B13C32E7C6AA}"/>
                  </a:ext>
                </a:extLst>
              </p:cNvPr>
              <p:cNvSpPr/>
              <p:nvPr/>
            </p:nvSpPr>
            <p:spPr>
              <a:xfrm>
                <a:off x="418516" y="5188743"/>
                <a:ext cx="685800" cy="504825"/>
              </a:xfrm>
              <a:custGeom>
                <a:avLst/>
                <a:gdLst/>
                <a:ahLst/>
                <a:cxnLst/>
                <a:rect l="0" t="0" r="0" b="0"/>
                <a:pathLst>
                  <a:path w="685800" h="504825">
                    <a:moveTo>
                      <a:pt x="516102" y="504349"/>
                    </a:moveTo>
                    <a:cubicBezTo>
                      <a:pt x="511340" y="504349"/>
                      <a:pt x="506577" y="503396"/>
                      <a:pt x="500862" y="502444"/>
                    </a:cubicBezTo>
                    <a:lnTo>
                      <a:pt x="43662" y="363379"/>
                    </a:lnTo>
                    <a:cubicBezTo>
                      <a:pt x="30327" y="359569"/>
                      <a:pt x="19850" y="350996"/>
                      <a:pt x="13182" y="338614"/>
                    </a:cubicBezTo>
                    <a:cubicBezTo>
                      <a:pt x="6515" y="326231"/>
                      <a:pt x="5562" y="312896"/>
                      <a:pt x="9372" y="299561"/>
                    </a:cubicBezTo>
                    <a:lnTo>
                      <a:pt x="86525" y="43339"/>
                    </a:lnTo>
                    <a:cubicBezTo>
                      <a:pt x="93192" y="22384"/>
                      <a:pt x="113195" y="7144"/>
                      <a:pt x="135102" y="7144"/>
                    </a:cubicBezTo>
                    <a:cubicBezTo>
                      <a:pt x="139865" y="7144"/>
                      <a:pt x="144627" y="8096"/>
                      <a:pt x="150342" y="9049"/>
                    </a:cubicBezTo>
                    <a:lnTo>
                      <a:pt x="644690" y="158591"/>
                    </a:lnTo>
                    <a:cubicBezTo>
                      <a:pt x="658977" y="163354"/>
                      <a:pt x="670407" y="172879"/>
                      <a:pt x="676122" y="186214"/>
                    </a:cubicBezTo>
                    <a:cubicBezTo>
                      <a:pt x="681837" y="199549"/>
                      <a:pt x="681837" y="214789"/>
                      <a:pt x="676122" y="229076"/>
                    </a:cubicBezTo>
                    <a:lnTo>
                      <a:pt x="561822" y="474821"/>
                    </a:lnTo>
                    <a:cubicBezTo>
                      <a:pt x="554202" y="492919"/>
                      <a:pt x="536105" y="504349"/>
                      <a:pt x="516102" y="504349"/>
                    </a:cubicBezTo>
                    <a:close/>
                    <a:moveTo>
                      <a:pt x="136055" y="35719"/>
                    </a:moveTo>
                    <a:cubicBezTo>
                      <a:pt x="126530" y="35719"/>
                      <a:pt x="117005" y="42386"/>
                      <a:pt x="114147" y="51911"/>
                    </a:cubicBezTo>
                    <a:lnTo>
                      <a:pt x="36995" y="308134"/>
                    </a:lnTo>
                    <a:cubicBezTo>
                      <a:pt x="35090" y="313849"/>
                      <a:pt x="36042" y="319564"/>
                      <a:pt x="38900" y="325279"/>
                    </a:cubicBezTo>
                    <a:cubicBezTo>
                      <a:pt x="41757" y="330994"/>
                      <a:pt x="46520" y="334804"/>
                      <a:pt x="52235" y="335756"/>
                    </a:cubicBezTo>
                    <a:lnTo>
                      <a:pt x="510387" y="473869"/>
                    </a:lnTo>
                    <a:cubicBezTo>
                      <a:pt x="520865" y="476726"/>
                      <a:pt x="532295" y="471964"/>
                      <a:pt x="537057" y="461486"/>
                    </a:cubicBezTo>
                    <a:lnTo>
                      <a:pt x="651357" y="215741"/>
                    </a:lnTo>
                    <a:cubicBezTo>
                      <a:pt x="654215" y="210026"/>
                      <a:pt x="654215" y="203359"/>
                      <a:pt x="651357" y="196691"/>
                    </a:cubicBezTo>
                    <a:cubicBezTo>
                      <a:pt x="648500" y="190976"/>
                      <a:pt x="643737" y="186214"/>
                      <a:pt x="637070" y="184309"/>
                    </a:cubicBezTo>
                    <a:lnTo>
                      <a:pt x="142722" y="36671"/>
                    </a:lnTo>
                    <a:cubicBezTo>
                      <a:pt x="140817" y="36671"/>
                      <a:pt x="137960" y="35719"/>
                      <a:pt x="136055" y="3571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53" name="Freeform: Shape 252">
                <a:extLst>
                  <a:ext uri="{FF2B5EF4-FFF2-40B4-BE49-F238E27FC236}">
                    <a16:creationId xmlns:a16="http://schemas.microsoft.com/office/drawing/2014/main" id="{72CD77BE-53DC-426D-B61B-CF9EC3469A93}"/>
                  </a:ext>
                </a:extLst>
              </p:cNvPr>
              <p:cNvSpPr/>
              <p:nvPr/>
            </p:nvSpPr>
            <p:spPr>
              <a:xfrm>
                <a:off x="961765" y="5423058"/>
                <a:ext cx="200025" cy="238125"/>
              </a:xfrm>
              <a:custGeom>
                <a:avLst/>
                <a:gdLst/>
                <a:ahLst/>
                <a:cxnLst/>
                <a:rect l="0" t="0" r="0" b="0"/>
                <a:pathLst>
                  <a:path w="200025" h="238125">
                    <a:moveTo>
                      <a:pt x="111919" y="236696"/>
                    </a:moveTo>
                    <a:cubicBezTo>
                      <a:pt x="106204" y="236696"/>
                      <a:pt x="100489" y="235744"/>
                      <a:pt x="94774" y="233839"/>
                    </a:cubicBezTo>
                    <a:lnTo>
                      <a:pt x="7144" y="207169"/>
                    </a:lnTo>
                    <a:lnTo>
                      <a:pt x="97631" y="7144"/>
                    </a:lnTo>
                    <a:lnTo>
                      <a:pt x="157639" y="25241"/>
                    </a:lnTo>
                    <a:cubicBezTo>
                      <a:pt x="188119" y="34766"/>
                      <a:pt x="206216" y="67151"/>
                      <a:pt x="196691" y="98584"/>
                    </a:cubicBezTo>
                    <a:lnTo>
                      <a:pt x="168116" y="195739"/>
                    </a:lnTo>
                    <a:cubicBezTo>
                      <a:pt x="160496" y="219551"/>
                      <a:pt x="137636" y="236696"/>
                      <a:pt x="111919" y="236696"/>
                    </a:cubicBezTo>
                    <a:close/>
                    <a:moveTo>
                      <a:pt x="46196" y="190024"/>
                    </a:moveTo>
                    <a:lnTo>
                      <a:pt x="102394" y="207169"/>
                    </a:lnTo>
                    <a:cubicBezTo>
                      <a:pt x="117634" y="211931"/>
                      <a:pt x="134779" y="202406"/>
                      <a:pt x="139541" y="187166"/>
                    </a:cubicBezTo>
                    <a:lnTo>
                      <a:pt x="169069" y="90964"/>
                    </a:lnTo>
                    <a:cubicBezTo>
                      <a:pt x="173831" y="74771"/>
                      <a:pt x="165259" y="58579"/>
                      <a:pt x="149066" y="53816"/>
                    </a:cubicBezTo>
                    <a:lnTo>
                      <a:pt x="112871" y="42386"/>
                    </a:lnTo>
                    <a:lnTo>
                      <a:pt x="46196" y="19002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54" name="Freeform: Shape 253">
                <a:extLst>
                  <a:ext uri="{FF2B5EF4-FFF2-40B4-BE49-F238E27FC236}">
                    <a16:creationId xmlns:a16="http://schemas.microsoft.com/office/drawing/2014/main" id="{F2102FE7-994B-417E-9AC6-1E2B5F7341FD}"/>
                  </a:ext>
                </a:extLst>
              </p:cNvPr>
              <p:cNvSpPr/>
              <p:nvPr/>
            </p:nvSpPr>
            <p:spPr>
              <a:xfrm>
                <a:off x="920807" y="5402103"/>
                <a:ext cx="66675" cy="66675"/>
              </a:xfrm>
              <a:custGeom>
                <a:avLst/>
                <a:gdLst/>
                <a:ahLst/>
                <a:cxnLst/>
                <a:rect l="0" t="0" r="0" b="0"/>
                <a:pathLst>
                  <a:path w="66675" h="66675">
                    <a:moveTo>
                      <a:pt x="62389" y="34766"/>
                    </a:moveTo>
                    <a:cubicBezTo>
                      <a:pt x="62389" y="50022"/>
                      <a:pt x="50022" y="62389"/>
                      <a:pt x="34766" y="62389"/>
                    </a:cubicBezTo>
                    <a:cubicBezTo>
                      <a:pt x="19511" y="62389"/>
                      <a:pt x="7144" y="50022"/>
                      <a:pt x="7144" y="34766"/>
                    </a:cubicBezTo>
                    <a:cubicBezTo>
                      <a:pt x="7144" y="19511"/>
                      <a:pt x="19511" y="7144"/>
                      <a:pt x="34766" y="7144"/>
                    </a:cubicBezTo>
                    <a:cubicBezTo>
                      <a:pt x="50022" y="7144"/>
                      <a:pt x="62389" y="19511"/>
                      <a:pt x="62389" y="34766"/>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55" name="Freeform: Shape 254">
                <a:extLst>
                  <a:ext uri="{FF2B5EF4-FFF2-40B4-BE49-F238E27FC236}">
                    <a16:creationId xmlns:a16="http://schemas.microsoft.com/office/drawing/2014/main" id="{4EFF47BE-B961-45A7-AB68-BA8A754992D1}"/>
                  </a:ext>
                </a:extLst>
              </p:cNvPr>
              <p:cNvSpPr/>
              <p:nvPr/>
            </p:nvSpPr>
            <p:spPr>
              <a:xfrm>
                <a:off x="906139" y="5388768"/>
                <a:ext cx="95250" cy="95250"/>
              </a:xfrm>
              <a:custGeom>
                <a:avLst/>
                <a:gdLst/>
                <a:ahLst/>
                <a:cxnLst/>
                <a:rect l="0" t="0" r="0" b="0"/>
                <a:pathLst>
                  <a:path w="95250" h="95250">
                    <a:moveTo>
                      <a:pt x="49435" y="90011"/>
                    </a:moveTo>
                    <a:cubicBezTo>
                      <a:pt x="45625" y="90011"/>
                      <a:pt x="40862" y="89059"/>
                      <a:pt x="37052" y="88106"/>
                    </a:cubicBezTo>
                    <a:cubicBezTo>
                      <a:pt x="26575" y="85249"/>
                      <a:pt x="18002" y="77629"/>
                      <a:pt x="12287" y="68104"/>
                    </a:cubicBezTo>
                    <a:cubicBezTo>
                      <a:pt x="6572" y="58579"/>
                      <a:pt x="5620" y="47149"/>
                      <a:pt x="9430" y="36671"/>
                    </a:cubicBezTo>
                    <a:cubicBezTo>
                      <a:pt x="15145" y="18574"/>
                      <a:pt x="30385" y="7144"/>
                      <a:pt x="49435" y="7144"/>
                    </a:cubicBezTo>
                    <a:cubicBezTo>
                      <a:pt x="53245" y="7144"/>
                      <a:pt x="58007" y="8096"/>
                      <a:pt x="61817" y="9049"/>
                    </a:cubicBezTo>
                    <a:cubicBezTo>
                      <a:pt x="83725" y="15716"/>
                      <a:pt x="96107" y="38576"/>
                      <a:pt x="89440" y="61436"/>
                    </a:cubicBezTo>
                    <a:cubicBezTo>
                      <a:pt x="84677" y="77629"/>
                      <a:pt x="68485" y="90011"/>
                      <a:pt x="49435" y="90011"/>
                    </a:cubicBezTo>
                    <a:close/>
                    <a:moveTo>
                      <a:pt x="49435" y="34766"/>
                    </a:moveTo>
                    <a:cubicBezTo>
                      <a:pt x="43720" y="34766"/>
                      <a:pt x="38957" y="38576"/>
                      <a:pt x="37052" y="44291"/>
                    </a:cubicBezTo>
                    <a:cubicBezTo>
                      <a:pt x="36100" y="48101"/>
                      <a:pt x="36100" y="50959"/>
                      <a:pt x="38005" y="54769"/>
                    </a:cubicBezTo>
                    <a:cubicBezTo>
                      <a:pt x="39910" y="58579"/>
                      <a:pt x="42767" y="60484"/>
                      <a:pt x="45625" y="61436"/>
                    </a:cubicBezTo>
                    <a:cubicBezTo>
                      <a:pt x="52292" y="63341"/>
                      <a:pt x="59912" y="59531"/>
                      <a:pt x="61817" y="52864"/>
                    </a:cubicBezTo>
                    <a:cubicBezTo>
                      <a:pt x="63722" y="46196"/>
                      <a:pt x="59912" y="38576"/>
                      <a:pt x="53245" y="36671"/>
                    </a:cubicBezTo>
                    <a:cubicBezTo>
                      <a:pt x="52292" y="34766"/>
                      <a:pt x="51340" y="34766"/>
                      <a:pt x="49435" y="34766"/>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57" name="Freeform: Shape 256">
                <a:extLst>
                  <a:ext uri="{FF2B5EF4-FFF2-40B4-BE49-F238E27FC236}">
                    <a16:creationId xmlns:a16="http://schemas.microsoft.com/office/drawing/2014/main" id="{45D19A1D-F563-41D2-AB15-C28D5057B044}"/>
                  </a:ext>
                </a:extLst>
              </p:cNvPr>
              <p:cNvSpPr/>
              <p:nvPr/>
            </p:nvSpPr>
            <p:spPr>
              <a:xfrm>
                <a:off x="554095" y="5599737"/>
                <a:ext cx="209550" cy="152400"/>
              </a:xfrm>
              <a:custGeom>
                <a:avLst/>
                <a:gdLst/>
                <a:ahLst/>
                <a:cxnLst/>
                <a:rect l="0" t="0" r="0" b="0"/>
                <a:pathLst>
                  <a:path w="209550" h="152400">
                    <a:moveTo>
                      <a:pt x="107156" y="146694"/>
                    </a:moveTo>
                    <a:cubicBezTo>
                      <a:pt x="52864" y="146694"/>
                      <a:pt x="8096" y="102879"/>
                      <a:pt x="7144" y="48587"/>
                    </a:cubicBezTo>
                    <a:cubicBezTo>
                      <a:pt x="7144" y="38109"/>
                      <a:pt x="8096" y="27632"/>
                      <a:pt x="11906" y="17154"/>
                    </a:cubicBezTo>
                    <a:cubicBezTo>
                      <a:pt x="13811" y="9534"/>
                      <a:pt x="22384" y="5724"/>
                      <a:pt x="30004" y="7629"/>
                    </a:cubicBezTo>
                    <a:cubicBezTo>
                      <a:pt x="37624" y="9534"/>
                      <a:pt x="41434" y="18107"/>
                      <a:pt x="39529" y="25727"/>
                    </a:cubicBezTo>
                    <a:cubicBezTo>
                      <a:pt x="37624" y="33347"/>
                      <a:pt x="35719" y="40967"/>
                      <a:pt x="36671" y="48587"/>
                    </a:cubicBezTo>
                    <a:cubicBezTo>
                      <a:pt x="37624" y="87639"/>
                      <a:pt x="69056" y="119072"/>
                      <a:pt x="109061" y="118119"/>
                    </a:cubicBezTo>
                    <a:cubicBezTo>
                      <a:pt x="139541" y="117167"/>
                      <a:pt x="166211" y="98117"/>
                      <a:pt x="175736" y="68589"/>
                    </a:cubicBezTo>
                    <a:cubicBezTo>
                      <a:pt x="178594" y="60969"/>
                      <a:pt x="186214" y="57159"/>
                      <a:pt x="193834" y="59064"/>
                    </a:cubicBezTo>
                    <a:cubicBezTo>
                      <a:pt x="201454" y="61922"/>
                      <a:pt x="205264" y="69542"/>
                      <a:pt x="203359" y="77162"/>
                    </a:cubicBezTo>
                    <a:cubicBezTo>
                      <a:pt x="190024" y="118119"/>
                      <a:pt x="152876" y="145742"/>
                      <a:pt x="110014" y="146694"/>
                    </a:cubicBezTo>
                    <a:cubicBezTo>
                      <a:pt x="108109" y="146694"/>
                      <a:pt x="107156" y="146694"/>
                      <a:pt x="107156" y="146694"/>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58" name="Freeform: Shape 257">
                <a:extLst>
                  <a:ext uri="{FF2B5EF4-FFF2-40B4-BE49-F238E27FC236}">
                    <a16:creationId xmlns:a16="http://schemas.microsoft.com/office/drawing/2014/main" id="{118F209C-B28B-4815-AC97-402A3CF2E4DD}"/>
                  </a:ext>
                </a:extLst>
              </p:cNvPr>
              <p:cNvSpPr/>
              <p:nvPr/>
            </p:nvSpPr>
            <p:spPr>
              <a:xfrm>
                <a:off x="409315" y="5708808"/>
                <a:ext cx="247650" cy="114300"/>
              </a:xfrm>
              <a:custGeom>
                <a:avLst/>
                <a:gdLst/>
                <a:ahLst/>
                <a:cxnLst/>
                <a:rect l="0" t="0" r="0" b="0"/>
                <a:pathLst>
                  <a:path w="247650" h="114300">
                    <a:moveTo>
                      <a:pt x="151924" y="110966"/>
                    </a:moveTo>
                    <a:lnTo>
                      <a:pt x="21431" y="110966"/>
                    </a:lnTo>
                    <a:cubicBezTo>
                      <a:pt x="13811" y="110966"/>
                      <a:pt x="7144" y="104299"/>
                      <a:pt x="7144" y="96679"/>
                    </a:cubicBezTo>
                    <a:cubicBezTo>
                      <a:pt x="7144" y="89059"/>
                      <a:pt x="13811" y="82391"/>
                      <a:pt x="21431" y="82391"/>
                    </a:cubicBezTo>
                    <a:lnTo>
                      <a:pt x="151924" y="82391"/>
                    </a:lnTo>
                    <a:cubicBezTo>
                      <a:pt x="185261" y="82391"/>
                      <a:pt x="212884" y="54769"/>
                      <a:pt x="212884" y="21431"/>
                    </a:cubicBezTo>
                    <a:cubicBezTo>
                      <a:pt x="212884" y="13811"/>
                      <a:pt x="219551" y="7144"/>
                      <a:pt x="227171" y="7144"/>
                    </a:cubicBezTo>
                    <a:cubicBezTo>
                      <a:pt x="234791" y="7144"/>
                      <a:pt x="241459" y="13811"/>
                      <a:pt x="241459" y="21431"/>
                    </a:cubicBezTo>
                    <a:cubicBezTo>
                      <a:pt x="241459" y="70009"/>
                      <a:pt x="201454" y="110966"/>
                      <a:pt x="151924" y="110966"/>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sp>
          <p:nvSpPr>
            <p:cNvPr id="247" name="Freeform: Shape 246">
              <a:extLst>
                <a:ext uri="{FF2B5EF4-FFF2-40B4-BE49-F238E27FC236}">
                  <a16:creationId xmlns:a16="http://schemas.microsoft.com/office/drawing/2014/main" id="{169C94F1-712C-4526-82EE-3F142B13EAF6}"/>
                </a:ext>
              </a:extLst>
            </p:cNvPr>
            <p:cNvSpPr/>
            <p:nvPr/>
          </p:nvSpPr>
          <p:spPr>
            <a:xfrm>
              <a:off x="1317051" y="5420698"/>
              <a:ext cx="193319" cy="197477"/>
            </a:xfrm>
            <a:custGeom>
              <a:avLst/>
              <a:gdLst/>
              <a:ahLst/>
              <a:cxnLst/>
              <a:rect l="0" t="0" r="0" b="0"/>
              <a:pathLst>
                <a:path w="885825" h="904875">
                  <a:moveTo>
                    <a:pt x="877888" y="604667"/>
                  </a:moveTo>
                  <a:lnTo>
                    <a:pt x="774865" y="235544"/>
                  </a:lnTo>
                  <a:cubicBezTo>
                    <a:pt x="767702" y="210036"/>
                    <a:pt x="749567" y="189415"/>
                    <a:pt x="725173" y="179014"/>
                  </a:cubicBezTo>
                  <a:cubicBezTo>
                    <a:pt x="707504" y="171403"/>
                    <a:pt x="686178" y="169984"/>
                    <a:pt x="667595" y="175204"/>
                  </a:cubicBezTo>
                  <a:cubicBezTo>
                    <a:pt x="648088" y="180661"/>
                    <a:pt x="631438" y="192472"/>
                    <a:pt x="619913" y="208855"/>
                  </a:cubicBezTo>
                  <a:cubicBezTo>
                    <a:pt x="610683" y="195558"/>
                    <a:pt x="597805" y="184967"/>
                    <a:pt x="582403" y="178385"/>
                  </a:cubicBezTo>
                  <a:cubicBezTo>
                    <a:pt x="564620" y="170841"/>
                    <a:pt x="543198" y="169536"/>
                    <a:pt x="525005" y="174699"/>
                  </a:cubicBezTo>
                  <a:cubicBezTo>
                    <a:pt x="505641" y="180061"/>
                    <a:pt x="489630" y="191644"/>
                    <a:pt x="478504" y="206674"/>
                  </a:cubicBezTo>
                  <a:cubicBezTo>
                    <a:pt x="469179" y="191110"/>
                    <a:pt x="455121" y="178775"/>
                    <a:pt x="437995" y="171517"/>
                  </a:cubicBezTo>
                  <a:cubicBezTo>
                    <a:pt x="420430" y="163974"/>
                    <a:pt x="399256" y="162535"/>
                    <a:pt x="380454" y="167736"/>
                  </a:cubicBezTo>
                  <a:cubicBezTo>
                    <a:pt x="362280" y="172822"/>
                    <a:pt x="347059" y="183395"/>
                    <a:pt x="336068" y="197159"/>
                  </a:cubicBezTo>
                  <a:lnTo>
                    <a:pt x="300711" y="70552"/>
                  </a:lnTo>
                  <a:cubicBezTo>
                    <a:pt x="293510" y="45035"/>
                    <a:pt x="275374" y="24404"/>
                    <a:pt x="250857" y="13907"/>
                  </a:cubicBezTo>
                  <a:cubicBezTo>
                    <a:pt x="233036" y="6411"/>
                    <a:pt x="211843" y="5087"/>
                    <a:pt x="193583" y="10230"/>
                  </a:cubicBezTo>
                  <a:cubicBezTo>
                    <a:pt x="171152" y="16479"/>
                    <a:pt x="152511" y="31062"/>
                    <a:pt x="141062" y="51321"/>
                  </a:cubicBezTo>
                  <a:cubicBezTo>
                    <a:pt x="129594" y="71695"/>
                    <a:pt x="126775" y="95203"/>
                    <a:pt x="133080" y="117444"/>
                  </a:cubicBezTo>
                  <a:lnTo>
                    <a:pt x="243418" y="512760"/>
                  </a:lnTo>
                  <a:lnTo>
                    <a:pt x="137138" y="455762"/>
                  </a:lnTo>
                  <a:cubicBezTo>
                    <a:pt x="132756" y="453362"/>
                    <a:pt x="129785" y="452086"/>
                    <a:pt x="128508" y="451609"/>
                  </a:cubicBezTo>
                  <a:cubicBezTo>
                    <a:pt x="119612" y="447647"/>
                    <a:pt x="109449" y="445256"/>
                    <a:pt x="98514" y="444666"/>
                  </a:cubicBezTo>
                  <a:lnTo>
                    <a:pt x="94199" y="444551"/>
                  </a:lnTo>
                  <a:cubicBezTo>
                    <a:pt x="62871" y="444551"/>
                    <a:pt x="33820" y="461449"/>
                    <a:pt x="18352" y="488728"/>
                  </a:cubicBezTo>
                  <a:cubicBezTo>
                    <a:pt x="6931" y="508969"/>
                    <a:pt x="4131" y="532486"/>
                    <a:pt x="10446" y="554918"/>
                  </a:cubicBezTo>
                  <a:cubicBezTo>
                    <a:pt x="16770" y="577340"/>
                    <a:pt x="31449" y="595999"/>
                    <a:pt x="52565" y="607886"/>
                  </a:cubicBezTo>
                  <a:cubicBezTo>
                    <a:pt x="62395" y="613058"/>
                    <a:pt x="294167" y="735626"/>
                    <a:pt x="372453" y="826694"/>
                  </a:cubicBezTo>
                  <a:cubicBezTo>
                    <a:pt x="372853" y="827161"/>
                    <a:pt x="373263" y="827599"/>
                    <a:pt x="373691" y="828028"/>
                  </a:cubicBezTo>
                  <a:lnTo>
                    <a:pt x="410763" y="864347"/>
                  </a:lnTo>
                  <a:lnTo>
                    <a:pt x="413201" y="866528"/>
                  </a:lnTo>
                  <a:cubicBezTo>
                    <a:pt x="427069" y="878206"/>
                    <a:pt x="440700" y="886797"/>
                    <a:pt x="454873" y="892827"/>
                  </a:cubicBezTo>
                  <a:cubicBezTo>
                    <a:pt x="469846" y="899180"/>
                    <a:pt x="486324" y="902409"/>
                    <a:pt x="503822" y="902409"/>
                  </a:cubicBezTo>
                  <a:cubicBezTo>
                    <a:pt x="520853" y="902409"/>
                    <a:pt x="535626" y="899284"/>
                    <a:pt x="545008" y="896656"/>
                  </a:cubicBezTo>
                  <a:lnTo>
                    <a:pt x="741575" y="841782"/>
                  </a:lnTo>
                  <a:cubicBezTo>
                    <a:pt x="803393" y="823199"/>
                    <a:pt x="847655" y="782803"/>
                    <a:pt x="869506" y="725015"/>
                  </a:cubicBezTo>
                  <a:cubicBezTo>
                    <a:pt x="886584" y="680333"/>
                    <a:pt x="885974" y="632242"/>
                    <a:pt x="877888" y="604667"/>
                  </a:cubicBezTo>
                  <a:close/>
                  <a:moveTo>
                    <a:pt x="829653" y="709870"/>
                  </a:moveTo>
                  <a:cubicBezTo>
                    <a:pt x="812641" y="754838"/>
                    <a:pt x="777942" y="786318"/>
                    <a:pt x="729698" y="800825"/>
                  </a:cubicBezTo>
                  <a:lnTo>
                    <a:pt x="533521" y="855593"/>
                  </a:lnTo>
                  <a:cubicBezTo>
                    <a:pt x="526691" y="857498"/>
                    <a:pt x="516014" y="859765"/>
                    <a:pt x="503812" y="859765"/>
                  </a:cubicBezTo>
                  <a:cubicBezTo>
                    <a:pt x="492068" y="859765"/>
                    <a:pt x="481200" y="857689"/>
                    <a:pt x="471523" y="853574"/>
                  </a:cubicBezTo>
                  <a:cubicBezTo>
                    <a:pt x="461331" y="849240"/>
                    <a:pt x="451225" y="842811"/>
                    <a:pt x="441224" y="834410"/>
                  </a:cubicBezTo>
                  <a:lnTo>
                    <a:pt x="404171" y="798196"/>
                  </a:lnTo>
                  <a:cubicBezTo>
                    <a:pt x="321580" y="702803"/>
                    <a:pt x="97733" y="583483"/>
                    <a:pt x="72730" y="570339"/>
                  </a:cubicBezTo>
                  <a:cubicBezTo>
                    <a:pt x="62271" y="564443"/>
                    <a:pt x="54728" y="554870"/>
                    <a:pt x="51480" y="543364"/>
                  </a:cubicBezTo>
                  <a:cubicBezTo>
                    <a:pt x="48260" y="531934"/>
                    <a:pt x="49689" y="519961"/>
                    <a:pt x="55461" y="509722"/>
                  </a:cubicBezTo>
                  <a:cubicBezTo>
                    <a:pt x="63348" y="495825"/>
                    <a:pt x="78197" y="487185"/>
                    <a:pt x="93618" y="487176"/>
                  </a:cubicBezTo>
                  <a:lnTo>
                    <a:pt x="96771" y="487262"/>
                  </a:lnTo>
                  <a:cubicBezTo>
                    <a:pt x="101924" y="487538"/>
                    <a:pt x="107039" y="488719"/>
                    <a:pt x="112001" y="490900"/>
                  </a:cubicBezTo>
                  <a:cubicBezTo>
                    <a:pt x="113154" y="491357"/>
                    <a:pt x="114507" y="491967"/>
                    <a:pt x="116821" y="493234"/>
                  </a:cubicBezTo>
                  <a:lnTo>
                    <a:pt x="261563" y="570872"/>
                  </a:lnTo>
                  <a:cubicBezTo>
                    <a:pt x="264925" y="572672"/>
                    <a:pt x="268726" y="573510"/>
                    <a:pt x="272507" y="573387"/>
                  </a:cubicBezTo>
                  <a:cubicBezTo>
                    <a:pt x="276813" y="573206"/>
                    <a:pt x="280632" y="572339"/>
                    <a:pt x="283871" y="570786"/>
                  </a:cubicBezTo>
                  <a:cubicBezTo>
                    <a:pt x="286318" y="569596"/>
                    <a:pt x="288519" y="567957"/>
                    <a:pt x="290357" y="565948"/>
                  </a:cubicBezTo>
                  <a:cubicBezTo>
                    <a:pt x="295262" y="560585"/>
                    <a:pt x="297748" y="552165"/>
                    <a:pt x="296558" y="544993"/>
                  </a:cubicBezTo>
                  <a:cubicBezTo>
                    <a:pt x="296425" y="544250"/>
                    <a:pt x="296272" y="543507"/>
                    <a:pt x="296063" y="542783"/>
                  </a:cubicBezTo>
                  <a:lnTo>
                    <a:pt x="174124" y="105900"/>
                  </a:lnTo>
                  <a:cubicBezTo>
                    <a:pt x="170914" y="94584"/>
                    <a:pt x="172371" y="82630"/>
                    <a:pt x="178200" y="72257"/>
                  </a:cubicBezTo>
                  <a:cubicBezTo>
                    <a:pt x="184030" y="61942"/>
                    <a:pt x="193555" y="54503"/>
                    <a:pt x="205080" y="51293"/>
                  </a:cubicBezTo>
                  <a:cubicBezTo>
                    <a:pt x="214281" y="48702"/>
                    <a:pt x="225378" y="49454"/>
                    <a:pt x="234207" y="53160"/>
                  </a:cubicBezTo>
                  <a:cubicBezTo>
                    <a:pt x="246704" y="58513"/>
                    <a:pt x="255981" y="69076"/>
                    <a:pt x="259648" y="82087"/>
                  </a:cubicBezTo>
                  <a:lnTo>
                    <a:pt x="362004" y="448342"/>
                  </a:lnTo>
                  <a:cubicBezTo>
                    <a:pt x="364776" y="459020"/>
                    <a:pt x="371291" y="464135"/>
                    <a:pt x="376263" y="466535"/>
                  </a:cubicBezTo>
                  <a:cubicBezTo>
                    <a:pt x="381778" y="469212"/>
                    <a:pt x="388160" y="469393"/>
                    <a:pt x="393799" y="466992"/>
                  </a:cubicBezTo>
                  <a:lnTo>
                    <a:pt x="396532" y="465849"/>
                  </a:lnTo>
                  <a:cubicBezTo>
                    <a:pt x="402800" y="463220"/>
                    <a:pt x="407419" y="457763"/>
                    <a:pt x="409000" y="451162"/>
                  </a:cubicBezTo>
                  <a:lnTo>
                    <a:pt x="409820" y="447761"/>
                  </a:lnTo>
                  <a:cubicBezTo>
                    <a:pt x="410658" y="444237"/>
                    <a:pt x="410601" y="440551"/>
                    <a:pt x="409620" y="437055"/>
                  </a:cubicBezTo>
                  <a:lnTo>
                    <a:pt x="361118" y="263586"/>
                  </a:lnTo>
                  <a:cubicBezTo>
                    <a:pt x="354622" y="239964"/>
                    <a:pt x="368462" y="215389"/>
                    <a:pt x="391913" y="208817"/>
                  </a:cubicBezTo>
                  <a:cubicBezTo>
                    <a:pt x="401295" y="206226"/>
                    <a:pt x="412344" y="206903"/>
                    <a:pt x="421278" y="210732"/>
                  </a:cubicBezTo>
                  <a:cubicBezTo>
                    <a:pt x="433785" y="216047"/>
                    <a:pt x="443033" y="226572"/>
                    <a:pt x="446681" y="239650"/>
                  </a:cubicBezTo>
                  <a:lnTo>
                    <a:pt x="495649" y="414700"/>
                  </a:lnTo>
                  <a:cubicBezTo>
                    <a:pt x="497316" y="420663"/>
                    <a:pt x="501383" y="425340"/>
                    <a:pt x="506508" y="427959"/>
                  </a:cubicBezTo>
                  <a:cubicBezTo>
                    <a:pt x="507298" y="428397"/>
                    <a:pt x="508118" y="428816"/>
                    <a:pt x="508975" y="429207"/>
                  </a:cubicBezTo>
                  <a:cubicBezTo>
                    <a:pt x="514299" y="431588"/>
                    <a:pt x="520338" y="431683"/>
                    <a:pt x="525758" y="429483"/>
                  </a:cubicBezTo>
                  <a:lnTo>
                    <a:pt x="529177" y="428092"/>
                  </a:lnTo>
                  <a:cubicBezTo>
                    <a:pt x="539150" y="424016"/>
                    <a:pt x="544513" y="413148"/>
                    <a:pt x="541684" y="402746"/>
                  </a:cubicBezTo>
                  <a:lnTo>
                    <a:pt x="505622" y="270454"/>
                  </a:lnTo>
                  <a:cubicBezTo>
                    <a:pt x="499097" y="246841"/>
                    <a:pt x="512918" y="222324"/>
                    <a:pt x="536550" y="215770"/>
                  </a:cubicBezTo>
                  <a:cubicBezTo>
                    <a:pt x="545808" y="213142"/>
                    <a:pt x="556895" y="213865"/>
                    <a:pt x="565725" y="217618"/>
                  </a:cubicBezTo>
                  <a:cubicBezTo>
                    <a:pt x="578250" y="222981"/>
                    <a:pt x="587547" y="233535"/>
                    <a:pt x="591204" y="246565"/>
                  </a:cubicBezTo>
                  <a:lnTo>
                    <a:pt x="627399" y="376314"/>
                  </a:lnTo>
                  <a:cubicBezTo>
                    <a:pt x="629295" y="383334"/>
                    <a:pt x="634352" y="389268"/>
                    <a:pt x="640944" y="392202"/>
                  </a:cubicBezTo>
                  <a:cubicBezTo>
                    <a:pt x="644163" y="393621"/>
                    <a:pt x="647687" y="394259"/>
                    <a:pt x="651174" y="393974"/>
                  </a:cubicBezTo>
                  <a:cubicBezTo>
                    <a:pt x="658584" y="393421"/>
                    <a:pt x="665385" y="389792"/>
                    <a:pt x="669833" y="384011"/>
                  </a:cubicBezTo>
                  <a:cubicBezTo>
                    <a:pt x="674005" y="378572"/>
                    <a:pt x="675710" y="371752"/>
                    <a:pt x="674491" y="365303"/>
                  </a:cubicBezTo>
                  <a:cubicBezTo>
                    <a:pt x="674377" y="364703"/>
                    <a:pt x="674243" y="364103"/>
                    <a:pt x="674072" y="363513"/>
                  </a:cubicBezTo>
                  <a:lnTo>
                    <a:pt x="648230" y="271006"/>
                  </a:lnTo>
                  <a:cubicBezTo>
                    <a:pt x="645049" y="259633"/>
                    <a:pt x="646516" y="247632"/>
                    <a:pt x="652393" y="237249"/>
                  </a:cubicBezTo>
                  <a:cubicBezTo>
                    <a:pt x="658222" y="226924"/>
                    <a:pt x="667719" y="219476"/>
                    <a:pt x="679110" y="216285"/>
                  </a:cubicBezTo>
                  <a:cubicBezTo>
                    <a:pt x="688454" y="213675"/>
                    <a:pt x="699465" y="214389"/>
                    <a:pt x="708409" y="218228"/>
                  </a:cubicBezTo>
                  <a:cubicBezTo>
                    <a:pt x="720916" y="223562"/>
                    <a:pt x="730184" y="234087"/>
                    <a:pt x="733832" y="247060"/>
                  </a:cubicBezTo>
                  <a:lnTo>
                    <a:pt x="836911" y="616430"/>
                  </a:lnTo>
                  <a:cubicBezTo>
                    <a:pt x="841864" y="633337"/>
                    <a:pt x="844045" y="672199"/>
                    <a:pt x="829653" y="709870"/>
                  </a:cubicBezTo>
                  <a:close/>
                </a:path>
              </a:pathLst>
            </a:custGeom>
            <a:solidFill>
              <a:schemeClr val="accent1"/>
            </a:solidFill>
            <a:ln w="9525" cap="flat">
              <a:noFill/>
              <a:prstDash val="solid"/>
              <a:miter/>
            </a:ln>
          </p:spPr>
          <p:txBody>
            <a:bodyPr/>
            <a:lstStyle/>
            <a:p>
              <a:pPr defTabSz="932418"/>
              <a:endParaRPr lang="en-US" sz="1836">
                <a:solidFill>
                  <a:srgbClr val="505050"/>
                </a:solidFill>
                <a:latin typeface="Segoe UI"/>
              </a:endParaRPr>
            </a:p>
          </p:txBody>
        </p:sp>
        <p:grpSp>
          <p:nvGrpSpPr>
            <p:cNvPr id="248" name="Group 247">
              <a:extLst>
                <a:ext uri="{FF2B5EF4-FFF2-40B4-BE49-F238E27FC236}">
                  <a16:creationId xmlns:a16="http://schemas.microsoft.com/office/drawing/2014/main" id="{042BD6FE-4155-469A-B64A-F58A6345F9EE}"/>
                </a:ext>
              </a:extLst>
            </p:cNvPr>
            <p:cNvGrpSpPr/>
            <p:nvPr/>
          </p:nvGrpSpPr>
          <p:grpSpPr>
            <a:xfrm rot="15176001">
              <a:off x="1179502" y="5509308"/>
              <a:ext cx="206394" cy="71771"/>
              <a:chOff x="5782196" y="3304639"/>
              <a:chExt cx="627608" cy="218242"/>
            </a:xfrm>
            <a:solidFill>
              <a:schemeClr val="accent1"/>
            </a:solidFill>
          </p:grpSpPr>
          <p:sp>
            <p:nvSpPr>
              <p:cNvPr id="249" name="Freeform: Shape 248">
                <a:extLst>
                  <a:ext uri="{FF2B5EF4-FFF2-40B4-BE49-F238E27FC236}">
                    <a16:creationId xmlns:a16="http://schemas.microsoft.com/office/drawing/2014/main" id="{34DEA1DD-B1A2-4C47-884B-8F4943786A6A}"/>
                  </a:ext>
                </a:extLst>
              </p:cNvPr>
              <p:cNvSpPr>
                <a:spLocks/>
              </p:cNvSpPr>
              <p:nvPr/>
            </p:nvSpPr>
            <p:spPr bwMode="auto">
              <a:xfrm rot="18875996">
                <a:off x="6240176" y="3354552"/>
                <a:ext cx="187762" cy="148896"/>
              </a:xfrm>
              <a:custGeom>
                <a:avLst/>
                <a:gdLst>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61312 w 427380"/>
                  <a:gd name="connsiteY9" fmla="*/ 262514 h 338914"/>
                  <a:gd name="connsiteX10" fmla="*/ 260536 w 427380"/>
                  <a:gd name="connsiteY10" fmla="*/ 260728 h 338914"/>
                  <a:gd name="connsiteX11" fmla="*/ 289844 w 427380"/>
                  <a:gd name="connsiteY11" fmla="*/ 269236 h 338914"/>
                  <a:gd name="connsiteX12" fmla="*/ 305354 w 427380"/>
                  <a:gd name="connsiteY12" fmla="*/ 216504 h 338914"/>
                  <a:gd name="connsiteX13" fmla="*/ 306513 w 427380"/>
                  <a:gd name="connsiteY13" fmla="*/ 218971 h 338914"/>
                  <a:gd name="connsiteX14" fmla="*/ 371086 w 427380"/>
                  <a:gd name="connsiteY14" fmla="*/ 20611 h 338914"/>
                  <a:gd name="connsiteX15" fmla="*/ 408215 w 427380"/>
                  <a:gd name="connsiteY15" fmla="*/ 1259 h 338914"/>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61312 w 427380"/>
                  <a:gd name="connsiteY9" fmla="*/ 262514 h 338914"/>
                  <a:gd name="connsiteX10" fmla="*/ 260536 w 427380"/>
                  <a:gd name="connsiteY10" fmla="*/ 260728 h 338914"/>
                  <a:gd name="connsiteX11" fmla="*/ 289844 w 427380"/>
                  <a:gd name="connsiteY11" fmla="*/ 269236 h 338914"/>
                  <a:gd name="connsiteX12" fmla="*/ 305354 w 427380"/>
                  <a:gd name="connsiteY12" fmla="*/ 216504 h 338914"/>
                  <a:gd name="connsiteX13" fmla="*/ 371086 w 427380"/>
                  <a:gd name="connsiteY13" fmla="*/ 20611 h 338914"/>
                  <a:gd name="connsiteX14" fmla="*/ 408215 w 427380"/>
                  <a:gd name="connsiteY14" fmla="*/ 1259 h 338914"/>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61312 w 427380"/>
                  <a:gd name="connsiteY9" fmla="*/ 262514 h 338914"/>
                  <a:gd name="connsiteX10" fmla="*/ 260536 w 427380"/>
                  <a:gd name="connsiteY10" fmla="*/ 260728 h 338914"/>
                  <a:gd name="connsiteX11" fmla="*/ 289844 w 427380"/>
                  <a:gd name="connsiteY11" fmla="*/ 269236 h 338914"/>
                  <a:gd name="connsiteX12" fmla="*/ 371086 w 427380"/>
                  <a:gd name="connsiteY12" fmla="*/ 20611 h 338914"/>
                  <a:gd name="connsiteX13" fmla="*/ 408215 w 427380"/>
                  <a:gd name="connsiteY13" fmla="*/ 1259 h 338914"/>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61312 w 427380"/>
                  <a:gd name="connsiteY9" fmla="*/ 262514 h 338914"/>
                  <a:gd name="connsiteX10" fmla="*/ 289844 w 427380"/>
                  <a:gd name="connsiteY10" fmla="*/ 269236 h 338914"/>
                  <a:gd name="connsiteX11" fmla="*/ 371086 w 427380"/>
                  <a:gd name="connsiteY11" fmla="*/ 20611 h 338914"/>
                  <a:gd name="connsiteX12" fmla="*/ 408215 w 427380"/>
                  <a:gd name="connsiteY12" fmla="*/ 1259 h 338914"/>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89844 w 427380"/>
                  <a:gd name="connsiteY9" fmla="*/ 269236 h 338914"/>
                  <a:gd name="connsiteX10" fmla="*/ 371086 w 427380"/>
                  <a:gd name="connsiteY10" fmla="*/ 20611 h 338914"/>
                  <a:gd name="connsiteX11" fmla="*/ 408215 w 427380"/>
                  <a:gd name="connsiteY11" fmla="*/ 1259 h 3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380" h="338914">
                    <a:moveTo>
                      <a:pt x="408215" y="1259"/>
                    </a:moveTo>
                    <a:cubicBezTo>
                      <a:pt x="422744" y="6097"/>
                      <a:pt x="430815" y="23836"/>
                      <a:pt x="425972" y="38351"/>
                    </a:cubicBezTo>
                    <a:lnTo>
                      <a:pt x="335571" y="317345"/>
                    </a:lnTo>
                    <a:cubicBezTo>
                      <a:pt x="332342" y="328634"/>
                      <a:pt x="324270" y="335085"/>
                      <a:pt x="314585" y="336697"/>
                    </a:cubicBezTo>
                    <a:cubicBezTo>
                      <a:pt x="314585" y="336697"/>
                      <a:pt x="312970" y="336697"/>
                      <a:pt x="312970" y="338310"/>
                    </a:cubicBezTo>
                    <a:cubicBezTo>
                      <a:pt x="304899" y="339923"/>
                      <a:pt x="295213" y="338310"/>
                      <a:pt x="288756" y="333472"/>
                    </a:cubicBezTo>
                    <a:lnTo>
                      <a:pt x="19165" y="246387"/>
                    </a:lnTo>
                    <a:cubicBezTo>
                      <a:pt x="4637" y="241549"/>
                      <a:pt x="-3435" y="225422"/>
                      <a:pt x="1408" y="209295"/>
                    </a:cubicBezTo>
                    <a:cubicBezTo>
                      <a:pt x="6251" y="194781"/>
                      <a:pt x="22394" y="185105"/>
                      <a:pt x="36923" y="191556"/>
                    </a:cubicBezTo>
                    <a:lnTo>
                      <a:pt x="289844" y="269236"/>
                    </a:lnTo>
                    <a:lnTo>
                      <a:pt x="371086" y="20611"/>
                    </a:lnTo>
                    <a:cubicBezTo>
                      <a:pt x="375928" y="6097"/>
                      <a:pt x="392072" y="-3579"/>
                      <a:pt x="408215" y="1259"/>
                    </a:cubicBezTo>
                    <a:close/>
                  </a:path>
                </a:pathLst>
              </a:custGeom>
              <a:grpFill/>
              <a:ln>
                <a:noFill/>
              </a:ln>
            </p:spPr>
            <p:txBody>
              <a:bodyPr vert="horz" wrap="square" lIns="93247" tIns="46623" rIns="93247" bIns="46623"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a:endParaRPr lang="en-US" sz="1836">
                  <a:solidFill>
                    <a:srgbClr val="505050"/>
                  </a:solidFill>
                  <a:latin typeface="Segoe UI"/>
                </a:endParaRPr>
              </a:p>
            </p:txBody>
          </p:sp>
          <p:sp>
            <p:nvSpPr>
              <p:cNvPr id="250" name="Freeform: Shape 249">
                <a:extLst>
                  <a:ext uri="{FF2B5EF4-FFF2-40B4-BE49-F238E27FC236}">
                    <a16:creationId xmlns:a16="http://schemas.microsoft.com/office/drawing/2014/main" id="{28CC074D-28D0-4CB4-8D08-BE2C2391419A}"/>
                  </a:ext>
                </a:extLst>
              </p:cNvPr>
              <p:cNvSpPr/>
              <p:nvPr/>
            </p:nvSpPr>
            <p:spPr>
              <a:xfrm>
                <a:off x="5782196" y="3354327"/>
                <a:ext cx="627608" cy="96555"/>
              </a:xfrm>
              <a:custGeom>
                <a:avLst/>
                <a:gdLst/>
                <a:ahLst/>
                <a:cxnLst/>
                <a:rect l="0" t="0" r="0" b="0"/>
                <a:pathLst>
                  <a:path w="2800925" h="430911">
                    <a:moveTo>
                      <a:pt x="2694106" y="395977"/>
                    </a:moveTo>
                    <a:cubicBezTo>
                      <a:pt x="2686924" y="395977"/>
                      <a:pt x="2679742" y="395977"/>
                      <a:pt x="2672561" y="395977"/>
                    </a:cubicBezTo>
                    <a:cubicBezTo>
                      <a:pt x="1861010" y="115884"/>
                      <a:pt x="963278" y="108702"/>
                      <a:pt x="144545" y="381613"/>
                    </a:cubicBezTo>
                    <a:cubicBezTo>
                      <a:pt x="108636" y="388795"/>
                      <a:pt x="72727" y="367249"/>
                      <a:pt x="58363" y="338522"/>
                    </a:cubicBezTo>
                    <a:cubicBezTo>
                      <a:pt x="43999" y="302613"/>
                      <a:pt x="65545" y="266703"/>
                      <a:pt x="101454" y="259521"/>
                    </a:cubicBezTo>
                    <a:cubicBezTo>
                      <a:pt x="948914" y="-20571"/>
                      <a:pt x="1875374" y="-13389"/>
                      <a:pt x="2715652" y="273885"/>
                    </a:cubicBezTo>
                    <a:cubicBezTo>
                      <a:pt x="2751561" y="288249"/>
                      <a:pt x="2765925" y="324158"/>
                      <a:pt x="2758743" y="360067"/>
                    </a:cubicBezTo>
                    <a:cubicBezTo>
                      <a:pt x="2744379" y="381613"/>
                      <a:pt x="2722833" y="395977"/>
                      <a:pt x="2694106" y="395977"/>
                    </a:cubicBezTo>
                    <a:close/>
                  </a:path>
                </a:pathLst>
              </a:custGeom>
              <a:grpFill/>
              <a:ln w="9525" cap="flat">
                <a:noFill/>
                <a:prstDash val="solid"/>
                <a:miter/>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a:endParaRPr lang="en-US" sz="1836">
                  <a:solidFill>
                    <a:srgbClr val="505050"/>
                  </a:solidFill>
                  <a:latin typeface="Segoe UI"/>
                </a:endParaRPr>
              </a:p>
            </p:txBody>
          </p:sp>
          <p:sp>
            <p:nvSpPr>
              <p:cNvPr id="251" name="Freeform: Shape 250">
                <a:extLst>
                  <a:ext uri="{FF2B5EF4-FFF2-40B4-BE49-F238E27FC236}">
                    <a16:creationId xmlns:a16="http://schemas.microsoft.com/office/drawing/2014/main" id="{DBE52A8A-94EF-4DDE-ABB3-DA933B525D3F}"/>
                  </a:ext>
                </a:extLst>
              </p:cNvPr>
              <p:cNvSpPr>
                <a:spLocks/>
              </p:cNvSpPr>
              <p:nvPr/>
            </p:nvSpPr>
            <p:spPr bwMode="auto">
              <a:xfrm rot="5639096">
                <a:off x="5763926" y="3324072"/>
                <a:ext cx="187762" cy="148896"/>
              </a:xfrm>
              <a:custGeom>
                <a:avLst/>
                <a:gdLst>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61312 w 427380"/>
                  <a:gd name="connsiteY9" fmla="*/ 262514 h 338914"/>
                  <a:gd name="connsiteX10" fmla="*/ 260536 w 427380"/>
                  <a:gd name="connsiteY10" fmla="*/ 260728 h 338914"/>
                  <a:gd name="connsiteX11" fmla="*/ 289844 w 427380"/>
                  <a:gd name="connsiteY11" fmla="*/ 269236 h 338914"/>
                  <a:gd name="connsiteX12" fmla="*/ 305354 w 427380"/>
                  <a:gd name="connsiteY12" fmla="*/ 216504 h 338914"/>
                  <a:gd name="connsiteX13" fmla="*/ 306513 w 427380"/>
                  <a:gd name="connsiteY13" fmla="*/ 218971 h 338914"/>
                  <a:gd name="connsiteX14" fmla="*/ 371086 w 427380"/>
                  <a:gd name="connsiteY14" fmla="*/ 20611 h 338914"/>
                  <a:gd name="connsiteX15" fmla="*/ 408215 w 427380"/>
                  <a:gd name="connsiteY15" fmla="*/ 1259 h 338914"/>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61312 w 427380"/>
                  <a:gd name="connsiteY9" fmla="*/ 262514 h 338914"/>
                  <a:gd name="connsiteX10" fmla="*/ 260536 w 427380"/>
                  <a:gd name="connsiteY10" fmla="*/ 260728 h 338914"/>
                  <a:gd name="connsiteX11" fmla="*/ 289844 w 427380"/>
                  <a:gd name="connsiteY11" fmla="*/ 269236 h 338914"/>
                  <a:gd name="connsiteX12" fmla="*/ 305354 w 427380"/>
                  <a:gd name="connsiteY12" fmla="*/ 216504 h 338914"/>
                  <a:gd name="connsiteX13" fmla="*/ 371086 w 427380"/>
                  <a:gd name="connsiteY13" fmla="*/ 20611 h 338914"/>
                  <a:gd name="connsiteX14" fmla="*/ 408215 w 427380"/>
                  <a:gd name="connsiteY14" fmla="*/ 1259 h 338914"/>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61312 w 427380"/>
                  <a:gd name="connsiteY9" fmla="*/ 262514 h 338914"/>
                  <a:gd name="connsiteX10" fmla="*/ 260536 w 427380"/>
                  <a:gd name="connsiteY10" fmla="*/ 260728 h 338914"/>
                  <a:gd name="connsiteX11" fmla="*/ 289844 w 427380"/>
                  <a:gd name="connsiteY11" fmla="*/ 269236 h 338914"/>
                  <a:gd name="connsiteX12" fmla="*/ 371086 w 427380"/>
                  <a:gd name="connsiteY12" fmla="*/ 20611 h 338914"/>
                  <a:gd name="connsiteX13" fmla="*/ 408215 w 427380"/>
                  <a:gd name="connsiteY13" fmla="*/ 1259 h 338914"/>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61312 w 427380"/>
                  <a:gd name="connsiteY9" fmla="*/ 262514 h 338914"/>
                  <a:gd name="connsiteX10" fmla="*/ 289844 w 427380"/>
                  <a:gd name="connsiteY10" fmla="*/ 269236 h 338914"/>
                  <a:gd name="connsiteX11" fmla="*/ 371086 w 427380"/>
                  <a:gd name="connsiteY11" fmla="*/ 20611 h 338914"/>
                  <a:gd name="connsiteX12" fmla="*/ 408215 w 427380"/>
                  <a:gd name="connsiteY12" fmla="*/ 1259 h 338914"/>
                  <a:gd name="connsiteX0" fmla="*/ 408215 w 427380"/>
                  <a:gd name="connsiteY0" fmla="*/ 1259 h 338914"/>
                  <a:gd name="connsiteX1" fmla="*/ 425972 w 427380"/>
                  <a:gd name="connsiteY1" fmla="*/ 38351 h 338914"/>
                  <a:gd name="connsiteX2" fmla="*/ 335571 w 427380"/>
                  <a:gd name="connsiteY2" fmla="*/ 317345 h 338914"/>
                  <a:gd name="connsiteX3" fmla="*/ 314585 w 427380"/>
                  <a:gd name="connsiteY3" fmla="*/ 336697 h 338914"/>
                  <a:gd name="connsiteX4" fmla="*/ 312970 w 427380"/>
                  <a:gd name="connsiteY4" fmla="*/ 338310 h 338914"/>
                  <a:gd name="connsiteX5" fmla="*/ 288756 w 427380"/>
                  <a:gd name="connsiteY5" fmla="*/ 333472 h 338914"/>
                  <a:gd name="connsiteX6" fmla="*/ 19165 w 427380"/>
                  <a:gd name="connsiteY6" fmla="*/ 246387 h 338914"/>
                  <a:gd name="connsiteX7" fmla="*/ 1408 w 427380"/>
                  <a:gd name="connsiteY7" fmla="*/ 209295 h 338914"/>
                  <a:gd name="connsiteX8" fmla="*/ 36923 w 427380"/>
                  <a:gd name="connsiteY8" fmla="*/ 191556 h 338914"/>
                  <a:gd name="connsiteX9" fmla="*/ 289844 w 427380"/>
                  <a:gd name="connsiteY9" fmla="*/ 269236 h 338914"/>
                  <a:gd name="connsiteX10" fmla="*/ 371086 w 427380"/>
                  <a:gd name="connsiteY10" fmla="*/ 20611 h 338914"/>
                  <a:gd name="connsiteX11" fmla="*/ 408215 w 427380"/>
                  <a:gd name="connsiteY11" fmla="*/ 1259 h 338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7380" h="338914">
                    <a:moveTo>
                      <a:pt x="408215" y="1259"/>
                    </a:moveTo>
                    <a:cubicBezTo>
                      <a:pt x="422744" y="6097"/>
                      <a:pt x="430815" y="23836"/>
                      <a:pt x="425972" y="38351"/>
                    </a:cubicBezTo>
                    <a:lnTo>
                      <a:pt x="335571" y="317345"/>
                    </a:lnTo>
                    <a:cubicBezTo>
                      <a:pt x="332342" y="328634"/>
                      <a:pt x="324270" y="335085"/>
                      <a:pt x="314585" y="336697"/>
                    </a:cubicBezTo>
                    <a:cubicBezTo>
                      <a:pt x="314585" y="336697"/>
                      <a:pt x="312970" y="336697"/>
                      <a:pt x="312970" y="338310"/>
                    </a:cubicBezTo>
                    <a:cubicBezTo>
                      <a:pt x="304899" y="339923"/>
                      <a:pt x="295213" y="338310"/>
                      <a:pt x="288756" y="333472"/>
                    </a:cubicBezTo>
                    <a:lnTo>
                      <a:pt x="19165" y="246387"/>
                    </a:lnTo>
                    <a:cubicBezTo>
                      <a:pt x="4637" y="241549"/>
                      <a:pt x="-3435" y="225422"/>
                      <a:pt x="1408" y="209295"/>
                    </a:cubicBezTo>
                    <a:cubicBezTo>
                      <a:pt x="6251" y="194781"/>
                      <a:pt x="22394" y="185105"/>
                      <a:pt x="36923" y="191556"/>
                    </a:cubicBezTo>
                    <a:lnTo>
                      <a:pt x="289844" y="269236"/>
                    </a:lnTo>
                    <a:lnTo>
                      <a:pt x="371086" y="20611"/>
                    </a:lnTo>
                    <a:cubicBezTo>
                      <a:pt x="375928" y="6097"/>
                      <a:pt x="392072" y="-3579"/>
                      <a:pt x="408215" y="1259"/>
                    </a:cubicBezTo>
                    <a:close/>
                  </a:path>
                </a:pathLst>
              </a:custGeom>
              <a:grpFill/>
              <a:ln>
                <a:noFill/>
              </a:ln>
            </p:spPr>
            <p:txBody>
              <a:bodyPr vert="horz" wrap="square" lIns="93247" tIns="46623" rIns="93247" bIns="46623"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32418"/>
                <a:endParaRPr lang="en-US" sz="1836">
                  <a:solidFill>
                    <a:srgbClr val="505050"/>
                  </a:solidFill>
                  <a:latin typeface="Segoe UI"/>
                </a:endParaRPr>
              </a:p>
            </p:txBody>
          </p:sp>
        </p:grpSp>
      </p:grpSp>
      <p:sp>
        <p:nvSpPr>
          <p:cNvPr id="259" name="Freeform: Shape 258">
            <a:extLst>
              <a:ext uri="{FF2B5EF4-FFF2-40B4-BE49-F238E27FC236}">
                <a16:creationId xmlns:a16="http://schemas.microsoft.com/office/drawing/2014/main" id="{DC48F7C0-4BB0-4730-B15B-BAE9D08A36ED}"/>
              </a:ext>
            </a:extLst>
          </p:cNvPr>
          <p:cNvSpPr/>
          <p:nvPr/>
        </p:nvSpPr>
        <p:spPr>
          <a:xfrm>
            <a:off x="8703632" y="2032330"/>
            <a:ext cx="301658" cy="328142"/>
          </a:xfrm>
          <a:custGeom>
            <a:avLst/>
            <a:gdLst/>
            <a:ahLst/>
            <a:cxnLst/>
            <a:rect l="0" t="0" r="0" b="0"/>
            <a:pathLst>
              <a:path w="993889" h="1081147">
                <a:moveTo>
                  <a:pt x="994245" y="174658"/>
                </a:moveTo>
                <a:lnTo>
                  <a:pt x="994245" y="139755"/>
                </a:lnTo>
                <a:lnTo>
                  <a:pt x="944444" y="139755"/>
                </a:lnTo>
                <a:lnTo>
                  <a:pt x="558381" y="22276"/>
                </a:lnTo>
                <a:lnTo>
                  <a:pt x="558381" y="355"/>
                </a:lnTo>
                <a:lnTo>
                  <a:pt x="349174" y="355"/>
                </a:lnTo>
                <a:lnTo>
                  <a:pt x="349174" y="24830"/>
                </a:lnTo>
                <a:lnTo>
                  <a:pt x="135499" y="139755"/>
                </a:lnTo>
                <a:lnTo>
                  <a:pt x="87613" y="139755"/>
                </a:lnTo>
                <a:lnTo>
                  <a:pt x="87613" y="209562"/>
                </a:lnTo>
                <a:lnTo>
                  <a:pt x="355" y="209562"/>
                </a:lnTo>
                <a:lnTo>
                  <a:pt x="355" y="418768"/>
                </a:lnTo>
                <a:lnTo>
                  <a:pt x="209562" y="418768"/>
                </a:lnTo>
                <a:lnTo>
                  <a:pt x="209562" y="209562"/>
                </a:lnTo>
                <a:lnTo>
                  <a:pt x="122304" y="209562"/>
                </a:lnTo>
                <a:lnTo>
                  <a:pt x="122304" y="174658"/>
                </a:lnTo>
                <a:lnTo>
                  <a:pt x="348961" y="174658"/>
                </a:lnTo>
                <a:lnTo>
                  <a:pt x="348961" y="1046599"/>
                </a:lnTo>
                <a:lnTo>
                  <a:pt x="227013" y="1046599"/>
                </a:lnTo>
                <a:lnTo>
                  <a:pt x="227013" y="1081502"/>
                </a:lnTo>
                <a:lnTo>
                  <a:pt x="680329" y="1081502"/>
                </a:lnTo>
                <a:lnTo>
                  <a:pt x="680329" y="1046599"/>
                </a:lnTo>
                <a:lnTo>
                  <a:pt x="558168" y="1046599"/>
                </a:lnTo>
                <a:lnTo>
                  <a:pt x="558168" y="174658"/>
                </a:lnTo>
                <a:lnTo>
                  <a:pt x="784826" y="174658"/>
                </a:lnTo>
                <a:lnTo>
                  <a:pt x="784826" y="279368"/>
                </a:lnTo>
                <a:lnTo>
                  <a:pt x="710124" y="279368"/>
                </a:lnTo>
                <a:lnTo>
                  <a:pt x="736302" y="384077"/>
                </a:lnTo>
                <a:lnTo>
                  <a:pt x="784826" y="384077"/>
                </a:lnTo>
                <a:lnTo>
                  <a:pt x="784826" y="438135"/>
                </a:lnTo>
                <a:cubicBezTo>
                  <a:pt x="745027" y="446222"/>
                  <a:pt x="715019" y="481551"/>
                  <a:pt x="715019" y="523477"/>
                </a:cubicBezTo>
                <a:cubicBezTo>
                  <a:pt x="715019" y="571576"/>
                  <a:pt x="754179" y="610735"/>
                  <a:pt x="802277" y="610735"/>
                </a:cubicBezTo>
                <a:cubicBezTo>
                  <a:pt x="850375" y="610735"/>
                  <a:pt x="889535" y="571576"/>
                  <a:pt x="889535" y="523477"/>
                </a:cubicBezTo>
                <a:lnTo>
                  <a:pt x="854845" y="523477"/>
                </a:lnTo>
                <a:cubicBezTo>
                  <a:pt x="854845" y="552421"/>
                  <a:pt x="831434" y="575832"/>
                  <a:pt x="802490" y="575832"/>
                </a:cubicBezTo>
                <a:cubicBezTo>
                  <a:pt x="773546" y="575832"/>
                  <a:pt x="750135" y="552421"/>
                  <a:pt x="750135" y="523477"/>
                </a:cubicBezTo>
                <a:cubicBezTo>
                  <a:pt x="750135" y="494533"/>
                  <a:pt x="773546" y="471123"/>
                  <a:pt x="802490" y="471123"/>
                </a:cubicBezTo>
                <a:lnTo>
                  <a:pt x="819942" y="471123"/>
                </a:lnTo>
                <a:lnTo>
                  <a:pt x="819942" y="383865"/>
                </a:lnTo>
                <a:lnTo>
                  <a:pt x="868465" y="383865"/>
                </a:lnTo>
                <a:lnTo>
                  <a:pt x="894643" y="279155"/>
                </a:lnTo>
                <a:lnTo>
                  <a:pt x="819942" y="279155"/>
                </a:lnTo>
                <a:lnTo>
                  <a:pt x="819942" y="174658"/>
                </a:lnTo>
                <a:lnTo>
                  <a:pt x="994245" y="174658"/>
                </a:lnTo>
                <a:close/>
                <a:moveTo>
                  <a:pt x="174658" y="384077"/>
                </a:moveTo>
                <a:lnTo>
                  <a:pt x="35259" y="384077"/>
                </a:lnTo>
                <a:lnTo>
                  <a:pt x="35259" y="244678"/>
                </a:lnTo>
                <a:lnTo>
                  <a:pt x="174658" y="244678"/>
                </a:lnTo>
                <a:lnTo>
                  <a:pt x="174658" y="384077"/>
                </a:lnTo>
                <a:close/>
                <a:moveTo>
                  <a:pt x="841224" y="349174"/>
                </a:moveTo>
                <a:lnTo>
                  <a:pt x="763756" y="349174"/>
                </a:lnTo>
                <a:lnTo>
                  <a:pt x="755030" y="314271"/>
                </a:lnTo>
                <a:lnTo>
                  <a:pt x="849950" y="314271"/>
                </a:lnTo>
                <a:lnTo>
                  <a:pt x="841224" y="349174"/>
                </a:lnTo>
                <a:close/>
                <a:moveTo>
                  <a:pt x="523477" y="35259"/>
                </a:moveTo>
                <a:lnTo>
                  <a:pt x="523477" y="139968"/>
                </a:lnTo>
                <a:lnTo>
                  <a:pt x="384077" y="139968"/>
                </a:lnTo>
                <a:lnTo>
                  <a:pt x="384077" y="35259"/>
                </a:lnTo>
                <a:lnTo>
                  <a:pt x="523477" y="35259"/>
                </a:lnTo>
                <a:close/>
                <a:moveTo>
                  <a:pt x="208923" y="139755"/>
                </a:moveTo>
                <a:lnTo>
                  <a:pt x="348961" y="64415"/>
                </a:lnTo>
                <a:lnTo>
                  <a:pt x="348961" y="139755"/>
                </a:lnTo>
                <a:lnTo>
                  <a:pt x="208923" y="139755"/>
                </a:lnTo>
                <a:close/>
                <a:moveTo>
                  <a:pt x="501131" y="174658"/>
                </a:moveTo>
                <a:lnTo>
                  <a:pt x="383865" y="321082"/>
                </a:lnTo>
                <a:lnTo>
                  <a:pt x="383865" y="174658"/>
                </a:lnTo>
                <a:lnTo>
                  <a:pt x="501131" y="174658"/>
                </a:lnTo>
                <a:close/>
                <a:moveTo>
                  <a:pt x="523477" y="844416"/>
                </a:moveTo>
                <a:lnTo>
                  <a:pt x="406211" y="697993"/>
                </a:lnTo>
                <a:lnTo>
                  <a:pt x="523477" y="551570"/>
                </a:lnTo>
                <a:lnTo>
                  <a:pt x="523477" y="844416"/>
                </a:lnTo>
                <a:close/>
                <a:moveTo>
                  <a:pt x="383865" y="377054"/>
                </a:moveTo>
                <a:lnTo>
                  <a:pt x="501131" y="523477"/>
                </a:lnTo>
                <a:lnTo>
                  <a:pt x="383865" y="669900"/>
                </a:lnTo>
                <a:lnTo>
                  <a:pt x="383865" y="377054"/>
                </a:lnTo>
                <a:close/>
                <a:moveTo>
                  <a:pt x="383865" y="725873"/>
                </a:moveTo>
                <a:lnTo>
                  <a:pt x="501131" y="872296"/>
                </a:lnTo>
                <a:lnTo>
                  <a:pt x="383865" y="1018719"/>
                </a:lnTo>
                <a:lnTo>
                  <a:pt x="383865" y="725873"/>
                </a:lnTo>
                <a:close/>
                <a:moveTo>
                  <a:pt x="523477" y="495597"/>
                </a:moveTo>
                <a:lnTo>
                  <a:pt x="406211" y="349174"/>
                </a:lnTo>
                <a:lnTo>
                  <a:pt x="523477" y="202751"/>
                </a:lnTo>
                <a:lnTo>
                  <a:pt x="523477" y="495597"/>
                </a:lnTo>
                <a:close/>
                <a:moveTo>
                  <a:pt x="406211" y="1046599"/>
                </a:moveTo>
                <a:lnTo>
                  <a:pt x="523477" y="900176"/>
                </a:lnTo>
                <a:lnTo>
                  <a:pt x="523477" y="1046599"/>
                </a:lnTo>
                <a:lnTo>
                  <a:pt x="406211" y="1046599"/>
                </a:lnTo>
                <a:close/>
                <a:moveTo>
                  <a:pt x="558381" y="58669"/>
                </a:moveTo>
                <a:lnTo>
                  <a:pt x="824836" y="139755"/>
                </a:lnTo>
                <a:lnTo>
                  <a:pt x="558381" y="139755"/>
                </a:lnTo>
                <a:lnTo>
                  <a:pt x="558381" y="58669"/>
                </a:lnTo>
                <a:close/>
              </a:path>
            </a:pathLst>
          </a:custGeom>
          <a:solidFill>
            <a:schemeClr val="accent1"/>
          </a:solidFill>
          <a:ln w="2121" cap="flat">
            <a:noFill/>
            <a:prstDash val="solid"/>
            <a:miter/>
          </a:ln>
        </p:spPr>
        <p:txBody>
          <a:bodyPr/>
          <a:lstStyle/>
          <a:p>
            <a:pPr defTabSz="932418"/>
            <a:endParaRPr lang="en-US" sz="1836">
              <a:solidFill>
                <a:srgbClr val="505050"/>
              </a:solidFill>
              <a:latin typeface="Segoe UI"/>
            </a:endParaRPr>
          </a:p>
        </p:txBody>
      </p:sp>
      <p:sp>
        <p:nvSpPr>
          <p:cNvPr id="260" name="Freeform 65">
            <a:extLst>
              <a:ext uri="{FF2B5EF4-FFF2-40B4-BE49-F238E27FC236}">
                <a16:creationId xmlns:a16="http://schemas.microsoft.com/office/drawing/2014/main" id="{563D1854-485F-4D5F-B789-B8D177AC0472}"/>
              </a:ext>
            </a:extLst>
          </p:cNvPr>
          <p:cNvSpPr>
            <a:spLocks/>
          </p:cNvSpPr>
          <p:nvPr/>
        </p:nvSpPr>
        <p:spPr bwMode="auto">
          <a:xfrm>
            <a:off x="8806810" y="2815625"/>
            <a:ext cx="337407" cy="276372"/>
          </a:xfrm>
          <a:custGeom>
            <a:avLst/>
            <a:gdLst>
              <a:gd name="connsiteX0" fmla="*/ 2029398 w 3816350"/>
              <a:gd name="connsiteY0" fmla="*/ 2467191 h 3126004"/>
              <a:gd name="connsiteX1" fmla="*/ 2279078 w 3816350"/>
              <a:gd name="connsiteY1" fmla="*/ 2467191 h 3126004"/>
              <a:gd name="connsiteX2" fmla="*/ 2339975 w 3816350"/>
              <a:gd name="connsiteY2" fmla="*/ 2527516 h 3126004"/>
              <a:gd name="connsiteX3" fmla="*/ 2279078 w 3816350"/>
              <a:gd name="connsiteY3" fmla="*/ 2587841 h 3126004"/>
              <a:gd name="connsiteX4" fmla="*/ 2029398 w 3816350"/>
              <a:gd name="connsiteY4" fmla="*/ 2587841 h 3126004"/>
              <a:gd name="connsiteX5" fmla="*/ 1968500 w 3816350"/>
              <a:gd name="connsiteY5" fmla="*/ 2527516 h 3126004"/>
              <a:gd name="connsiteX6" fmla="*/ 2029398 w 3816350"/>
              <a:gd name="connsiteY6" fmla="*/ 2467191 h 3126004"/>
              <a:gd name="connsiteX7" fmla="*/ 1430910 w 3816350"/>
              <a:gd name="connsiteY7" fmla="*/ 2467191 h 3126004"/>
              <a:gd name="connsiteX8" fmla="*/ 1680591 w 3816350"/>
              <a:gd name="connsiteY8" fmla="*/ 2467191 h 3126004"/>
              <a:gd name="connsiteX9" fmla="*/ 1741488 w 3816350"/>
              <a:gd name="connsiteY9" fmla="*/ 2527516 h 3126004"/>
              <a:gd name="connsiteX10" fmla="*/ 1680591 w 3816350"/>
              <a:gd name="connsiteY10" fmla="*/ 2587841 h 3126004"/>
              <a:gd name="connsiteX11" fmla="*/ 1430910 w 3816350"/>
              <a:gd name="connsiteY11" fmla="*/ 2587841 h 3126004"/>
              <a:gd name="connsiteX12" fmla="*/ 1370013 w 3816350"/>
              <a:gd name="connsiteY12" fmla="*/ 2527516 h 3126004"/>
              <a:gd name="connsiteX13" fmla="*/ 1430910 w 3816350"/>
              <a:gd name="connsiteY13" fmla="*/ 2467191 h 3126004"/>
              <a:gd name="connsiteX14" fmla="*/ 2029398 w 3816350"/>
              <a:gd name="connsiteY14" fmla="*/ 2116354 h 3126004"/>
              <a:gd name="connsiteX15" fmla="*/ 2279078 w 3816350"/>
              <a:gd name="connsiteY15" fmla="*/ 2116354 h 3126004"/>
              <a:gd name="connsiteX16" fmla="*/ 2339975 w 3816350"/>
              <a:gd name="connsiteY16" fmla="*/ 2177473 h 3126004"/>
              <a:gd name="connsiteX17" fmla="*/ 2279078 w 3816350"/>
              <a:gd name="connsiteY17" fmla="*/ 2238592 h 3126004"/>
              <a:gd name="connsiteX18" fmla="*/ 2029398 w 3816350"/>
              <a:gd name="connsiteY18" fmla="*/ 2238592 h 3126004"/>
              <a:gd name="connsiteX19" fmla="*/ 1968500 w 3816350"/>
              <a:gd name="connsiteY19" fmla="*/ 2177473 h 3126004"/>
              <a:gd name="connsiteX20" fmla="*/ 2029398 w 3816350"/>
              <a:gd name="connsiteY20" fmla="*/ 2116354 h 3126004"/>
              <a:gd name="connsiteX21" fmla="*/ 1430910 w 3816350"/>
              <a:gd name="connsiteY21" fmla="*/ 2116354 h 3126004"/>
              <a:gd name="connsiteX22" fmla="*/ 1680591 w 3816350"/>
              <a:gd name="connsiteY22" fmla="*/ 2116354 h 3126004"/>
              <a:gd name="connsiteX23" fmla="*/ 1741488 w 3816350"/>
              <a:gd name="connsiteY23" fmla="*/ 2177473 h 3126004"/>
              <a:gd name="connsiteX24" fmla="*/ 1680591 w 3816350"/>
              <a:gd name="connsiteY24" fmla="*/ 2238592 h 3126004"/>
              <a:gd name="connsiteX25" fmla="*/ 1430910 w 3816350"/>
              <a:gd name="connsiteY25" fmla="*/ 2238592 h 3126004"/>
              <a:gd name="connsiteX26" fmla="*/ 1370013 w 3816350"/>
              <a:gd name="connsiteY26" fmla="*/ 2177473 h 3126004"/>
              <a:gd name="connsiteX27" fmla="*/ 1430910 w 3816350"/>
              <a:gd name="connsiteY27" fmla="*/ 2116354 h 3126004"/>
              <a:gd name="connsiteX28" fmla="*/ 2984500 w 3816350"/>
              <a:gd name="connsiteY28" fmla="*/ 1960619 h 3126004"/>
              <a:gd name="connsiteX29" fmla="*/ 2984500 w 3816350"/>
              <a:gd name="connsiteY29" fmla="*/ 2096147 h 3126004"/>
              <a:gd name="connsiteX30" fmla="*/ 2984500 w 3816350"/>
              <a:gd name="connsiteY30" fmla="*/ 2984073 h 3126004"/>
              <a:gd name="connsiteX31" fmla="*/ 2984500 w 3816350"/>
              <a:gd name="connsiteY31" fmla="*/ 3003766 h 3126004"/>
              <a:gd name="connsiteX32" fmla="*/ 3097983 w 3816350"/>
              <a:gd name="connsiteY32" fmla="*/ 3003766 h 3126004"/>
              <a:gd name="connsiteX33" fmla="*/ 3446176 w 3816350"/>
              <a:gd name="connsiteY33" fmla="*/ 3003766 h 3126004"/>
              <a:gd name="connsiteX34" fmla="*/ 3455004 w 3816350"/>
              <a:gd name="connsiteY34" fmla="*/ 3003766 h 3126004"/>
              <a:gd name="connsiteX35" fmla="*/ 3455004 w 3816350"/>
              <a:gd name="connsiteY35" fmla="*/ 2892548 h 3126004"/>
              <a:gd name="connsiteX36" fmla="*/ 3455004 w 3816350"/>
              <a:gd name="connsiteY36" fmla="*/ 2128827 h 3126004"/>
              <a:gd name="connsiteX37" fmla="*/ 3290799 w 3816350"/>
              <a:gd name="connsiteY37" fmla="*/ 1961686 h 3126004"/>
              <a:gd name="connsiteX38" fmla="*/ 2989755 w 3816350"/>
              <a:gd name="connsiteY38" fmla="*/ 1961686 h 3126004"/>
              <a:gd name="connsiteX39" fmla="*/ 1182688 w 3816350"/>
              <a:gd name="connsiteY39" fmla="*/ 1721977 h 3126004"/>
              <a:gd name="connsiteX40" fmla="*/ 1182688 w 3816350"/>
              <a:gd name="connsiteY40" fmla="*/ 1820468 h 3126004"/>
              <a:gd name="connsiteX41" fmla="*/ 1182688 w 3816350"/>
              <a:gd name="connsiteY41" fmla="*/ 2996584 h 3126004"/>
              <a:gd name="connsiteX42" fmla="*/ 1182688 w 3816350"/>
              <a:gd name="connsiteY42" fmla="*/ 3003766 h 3126004"/>
              <a:gd name="connsiteX43" fmla="*/ 1280346 w 3816350"/>
              <a:gd name="connsiteY43" fmla="*/ 3003766 h 3126004"/>
              <a:gd name="connsiteX44" fmla="*/ 2853527 w 3816350"/>
              <a:gd name="connsiteY44" fmla="*/ 3003766 h 3126004"/>
              <a:gd name="connsiteX45" fmla="*/ 2862878 w 3816350"/>
              <a:gd name="connsiteY45" fmla="*/ 3003766 h 3126004"/>
              <a:gd name="connsiteX46" fmla="*/ 2862878 w 3816350"/>
              <a:gd name="connsiteY46" fmla="*/ 2858200 h 3126004"/>
              <a:gd name="connsiteX47" fmla="*/ 2862878 w 3816350"/>
              <a:gd name="connsiteY47" fmla="*/ 1889123 h 3126004"/>
              <a:gd name="connsiteX48" fmla="*/ 2695648 w 3816350"/>
              <a:gd name="connsiteY48" fmla="*/ 1721977 h 3126004"/>
              <a:gd name="connsiteX49" fmla="*/ 2652392 w 3816350"/>
              <a:gd name="connsiteY49" fmla="*/ 1721977 h 3126004"/>
              <a:gd name="connsiteX50" fmla="*/ 2649065 w 3816350"/>
              <a:gd name="connsiteY50" fmla="*/ 1722654 h 3126004"/>
              <a:gd name="connsiteX51" fmla="*/ 2646025 w 3816350"/>
              <a:gd name="connsiteY51" fmla="*/ 1722654 h 3126004"/>
              <a:gd name="connsiteX52" fmla="*/ 2642393 w 3816350"/>
              <a:gd name="connsiteY52" fmla="*/ 1721977 h 3126004"/>
              <a:gd name="connsiteX53" fmla="*/ 2450186 w 3816350"/>
              <a:gd name="connsiteY53" fmla="*/ 1721977 h 3126004"/>
              <a:gd name="connsiteX54" fmla="*/ 2232738 w 3816350"/>
              <a:gd name="connsiteY54" fmla="*/ 1721977 h 3126004"/>
              <a:gd name="connsiteX55" fmla="*/ 2212180 w 3816350"/>
              <a:gd name="connsiteY55" fmla="*/ 1721977 h 3126004"/>
              <a:gd name="connsiteX56" fmla="*/ 2208551 w 3816350"/>
              <a:gd name="connsiteY56" fmla="*/ 1722654 h 3126004"/>
              <a:gd name="connsiteX57" fmla="*/ 2205511 w 3816350"/>
              <a:gd name="connsiteY57" fmla="*/ 1722654 h 3126004"/>
              <a:gd name="connsiteX58" fmla="*/ 2202188 w 3816350"/>
              <a:gd name="connsiteY58" fmla="*/ 1721977 h 3126004"/>
              <a:gd name="connsiteX59" fmla="*/ 2041607 w 3816350"/>
              <a:gd name="connsiteY59" fmla="*/ 1721977 h 3126004"/>
              <a:gd name="connsiteX60" fmla="*/ 1875094 w 3816350"/>
              <a:gd name="connsiteY60" fmla="*/ 1721977 h 3126004"/>
              <a:gd name="connsiteX61" fmla="*/ 1850551 w 3816350"/>
              <a:gd name="connsiteY61" fmla="*/ 1721977 h 3126004"/>
              <a:gd name="connsiteX62" fmla="*/ 1847215 w 3816350"/>
              <a:gd name="connsiteY62" fmla="*/ 1722654 h 3126004"/>
              <a:gd name="connsiteX63" fmla="*/ 1844167 w 3816350"/>
              <a:gd name="connsiteY63" fmla="*/ 1722654 h 3126004"/>
              <a:gd name="connsiteX64" fmla="*/ 1840525 w 3816350"/>
              <a:gd name="connsiteY64" fmla="*/ 1721977 h 3126004"/>
              <a:gd name="connsiteX65" fmla="*/ 1731502 w 3816350"/>
              <a:gd name="connsiteY65" fmla="*/ 1721977 h 3126004"/>
              <a:gd name="connsiteX66" fmla="*/ 1421283 w 3816350"/>
              <a:gd name="connsiteY66" fmla="*/ 1721977 h 3126004"/>
              <a:gd name="connsiteX67" fmla="*/ 1404347 w 3816350"/>
              <a:gd name="connsiteY67" fmla="*/ 1721977 h 3126004"/>
              <a:gd name="connsiteX68" fmla="*/ 1400648 w 3816350"/>
              <a:gd name="connsiteY68" fmla="*/ 1722654 h 3126004"/>
              <a:gd name="connsiteX69" fmla="*/ 1397315 w 3816350"/>
              <a:gd name="connsiteY69" fmla="*/ 1721977 h 3126004"/>
              <a:gd name="connsiteX70" fmla="*/ 1359314 w 3816350"/>
              <a:gd name="connsiteY70" fmla="*/ 1721977 h 3126004"/>
              <a:gd name="connsiteX71" fmla="*/ 1188412 w 3816350"/>
              <a:gd name="connsiteY71" fmla="*/ 1721977 h 3126004"/>
              <a:gd name="connsiteX72" fmla="*/ 514218 w 3816350"/>
              <a:gd name="connsiteY72" fmla="*/ 1229832 h 3126004"/>
              <a:gd name="connsiteX73" fmla="*/ 350140 w 3816350"/>
              <a:gd name="connsiteY73" fmla="*/ 1393912 h 3126004"/>
              <a:gd name="connsiteX74" fmla="*/ 350140 w 3816350"/>
              <a:gd name="connsiteY74" fmla="*/ 2974090 h 3126004"/>
              <a:gd name="connsiteX75" fmla="*/ 350140 w 3816350"/>
              <a:gd name="connsiteY75" fmla="*/ 3003766 h 3126004"/>
              <a:gd name="connsiteX76" fmla="*/ 396446 w 3816350"/>
              <a:gd name="connsiteY76" fmla="*/ 3003766 h 3126004"/>
              <a:gd name="connsiteX77" fmla="*/ 1005558 w 3816350"/>
              <a:gd name="connsiteY77" fmla="*/ 3003766 h 3126004"/>
              <a:gd name="connsiteX78" fmla="*/ 1061148 w 3816350"/>
              <a:gd name="connsiteY78" fmla="*/ 3003766 h 3126004"/>
              <a:gd name="connsiteX79" fmla="*/ 1061148 w 3816350"/>
              <a:gd name="connsiteY79" fmla="*/ 2910506 h 3126004"/>
              <a:gd name="connsiteX80" fmla="*/ 1061148 w 3816350"/>
              <a:gd name="connsiteY80" fmla="*/ 1393912 h 3126004"/>
              <a:gd name="connsiteX81" fmla="*/ 894031 w 3816350"/>
              <a:gd name="connsiteY81" fmla="*/ 1229832 h 3126004"/>
              <a:gd name="connsiteX82" fmla="*/ 514218 w 3816350"/>
              <a:gd name="connsiteY82" fmla="*/ 1229832 h 3126004"/>
              <a:gd name="connsiteX83" fmla="*/ 2287398 w 3816350"/>
              <a:gd name="connsiteY83" fmla="*/ 1098766 h 3126004"/>
              <a:gd name="connsiteX84" fmla="*/ 2284378 w 3816350"/>
              <a:gd name="connsiteY84" fmla="*/ 1193505 h 3126004"/>
              <a:gd name="connsiteX85" fmla="*/ 2271629 w 3816350"/>
              <a:gd name="connsiteY85" fmla="*/ 1593339 h 3126004"/>
              <a:gd name="connsiteX86" fmla="*/ 2271403 w 3816350"/>
              <a:gd name="connsiteY86" fmla="*/ 1600416 h 3126004"/>
              <a:gd name="connsiteX87" fmla="*/ 2287237 w 3816350"/>
              <a:gd name="connsiteY87" fmla="*/ 1600416 h 3126004"/>
              <a:gd name="connsiteX88" fmla="*/ 2523350 w 3816350"/>
              <a:gd name="connsiteY88" fmla="*/ 1600416 h 3126004"/>
              <a:gd name="connsiteX89" fmla="*/ 2583101 w 3816350"/>
              <a:gd name="connsiteY89" fmla="*/ 1600416 h 3126004"/>
              <a:gd name="connsiteX90" fmla="*/ 2582017 w 3816350"/>
              <a:gd name="connsiteY90" fmla="*/ 1567547 h 3126004"/>
              <a:gd name="connsiteX91" fmla="*/ 2566988 w 3816350"/>
              <a:gd name="connsiteY91" fmla="*/ 1111788 h 3126004"/>
              <a:gd name="connsiteX92" fmla="*/ 2571901 w 3816350"/>
              <a:gd name="connsiteY92" fmla="*/ 1098766 h 3126004"/>
              <a:gd name="connsiteX93" fmla="*/ 2489215 w 3816350"/>
              <a:gd name="connsiteY93" fmla="*/ 1098766 h 3126004"/>
              <a:gd name="connsiteX94" fmla="*/ 2317442 w 3816350"/>
              <a:gd name="connsiteY94" fmla="*/ 1098766 h 3126004"/>
              <a:gd name="connsiteX95" fmla="*/ 1481340 w 3816350"/>
              <a:gd name="connsiteY95" fmla="*/ 636804 h 3126004"/>
              <a:gd name="connsiteX96" fmla="*/ 1482725 w 3816350"/>
              <a:gd name="connsiteY96" fmla="*/ 643620 h 3126004"/>
              <a:gd name="connsiteX97" fmla="*/ 1463227 w 3816350"/>
              <a:gd name="connsiteY97" fmla="*/ 1579381 h 3126004"/>
              <a:gd name="connsiteX98" fmla="*/ 1462789 w 3816350"/>
              <a:gd name="connsiteY98" fmla="*/ 1600416 h 3126004"/>
              <a:gd name="connsiteX99" fmla="*/ 1559061 w 3816350"/>
              <a:gd name="connsiteY99" fmla="*/ 1600416 h 3126004"/>
              <a:gd name="connsiteX100" fmla="*/ 1759130 w 3816350"/>
              <a:gd name="connsiteY100" fmla="*/ 1600416 h 3126004"/>
              <a:gd name="connsiteX101" fmla="*/ 1781464 w 3816350"/>
              <a:gd name="connsiteY101" fmla="*/ 1600416 h 3126004"/>
              <a:gd name="connsiteX102" fmla="*/ 1778379 w 3816350"/>
              <a:gd name="connsiteY102" fmla="*/ 1486229 h 3126004"/>
              <a:gd name="connsiteX103" fmla="*/ 1755775 w 3816350"/>
              <a:gd name="connsiteY103" fmla="*/ 649827 h 3126004"/>
              <a:gd name="connsiteX104" fmla="*/ 1760702 w 3816350"/>
              <a:gd name="connsiteY104" fmla="*/ 636804 h 3126004"/>
              <a:gd name="connsiteX105" fmla="*/ 1679273 w 3816350"/>
              <a:gd name="connsiteY105" fmla="*/ 636804 h 3126004"/>
              <a:gd name="connsiteX106" fmla="*/ 1508369 w 3816350"/>
              <a:gd name="connsiteY106" fmla="*/ 636804 h 3126004"/>
              <a:gd name="connsiteX107" fmla="*/ 2839291 w 3816350"/>
              <a:gd name="connsiteY107" fmla="*/ 598078 h 3126004"/>
              <a:gd name="connsiteX108" fmla="*/ 2950634 w 3816350"/>
              <a:gd name="connsiteY108" fmla="*/ 613017 h 3126004"/>
              <a:gd name="connsiteX109" fmla="*/ 2956710 w 3816350"/>
              <a:gd name="connsiteY109" fmla="*/ 613017 h 3126004"/>
              <a:gd name="connsiteX110" fmla="*/ 2959748 w 3816350"/>
              <a:gd name="connsiteY110" fmla="*/ 616061 h 3126004"/>
              <a:gd name="connsiteX111" fmla="*/ 3497440 w 3816350"/>
              <a:gd name="connsiteY111" fmla="*/ 640412 h 3126004"/>
              <a:gd name="connsiteX112" fmla="*/ 3582499 w 3816350"/>
              <a:gd name="connsiteY112" fmla="*/ 643455 h 3126004"/>
              <a:gd name="connsiteX113" fmla="*/ 3582499 w 3816350"/>
              <a:gd name="connsiteY113" fmla="*/ 728682 h 3126004"/>
              <a:gd name="connsiteX114" fmla="*/ 2920256 w 3816350"/>
              <a:gd name="connsiteY114" fmla="*/ 731726 h 3126004"/>
              <a:gd name="connsiteX115" fmla="*/ 2482812 w 3816350"/>
              <a:gd name="connsiteY115" fmla="*/ 850434 h 3126004"/>
              <a:gd name="connsiteX116" fmla="*/ 2443320 w 3816350"/>
              <a:gd name="connsiteY116" fmla="*/ 868697 h 3126004"/>
              <a:gd name="connsiteX117" fmla="*/ 2397753 w 3816350"/>
              <a:gd name="connsiteY117" fmla="*/ 847390 h 3126004"/>
              <a:gd name="connsiteX118" fmla="*/ 2400791 w 3816350"/>
              <a:gd name="connsiteY118" fmla="*/ 762164 h 3126004"/>
              <a:gd name="connsiteX119" fmla="*/ 2839291 w 3816350"/>
              <a:gd name="connsiteY119" fmla="*/ 598078 h 3126004"/>
              <a:gd name="connsiteX120" fmla="*/ 1306955 w 3816350"/>
              <a:gd name="connsiteY120" fmla="*/ 516154 h 3126004"/>
              <a:gd name="connsiteX121" fmla="*/ 1926784 w 3816350"/>
              <a:gd name="connsiteY121" fmla="*/ 516154 h 3126004"/>
              <a:gd name="connsiteX122" fmla="*/ 1987551 w 3816350"/>
              <a:gd name="connsiteY122" fmla="*/ 576479 h 3126004"/>
              <a:gd name="connsiteX123" fmla="*/ 1926784 w 3816350"/>
              <a:gd name="connsiteY123" fmla="*/ 636804 h 3126004"/>
              <a:gd name="connsiteX124" fmla="*/ 1875459 w 3816350"/>
              <a:gd name="connsiteY124" fmla="*/ 636804 h 3126004"/>
              <a:gd name="connsiteX125" fmla="*/ 1877695 w 3816350"/>
              <a:gd name="connsiteY125" fmla="*/ 646788 h 3126004"/>
              <a:gd name="connsiteX126" fmla="*/ 1902830 w 3816350"/>
              <a:gd name="connsiteY126" fmla="*/ 1576867 h 3126004"/>
              <a:gd name="connsiteX127" fmla="*/ 1903467 w 3816350"/>
              <a:gd name="connsiteY127" fmla="*/ 1600416 h 3126004"/>
              <a:gd name="connsiteX128" fmla="*/ 1934224 w 3816350"/>
              <a:gd name="connsiteY128" fmla="*/ 1600416 h 3126004"/>
              <a:gd name="connsiteX129" fmla="*/ 2068254 w 3816350"/>
              <a:gd name="connsiteY129" fmla="*/ 1600416 h 3126004"/>
              <a:gd name="connsiteX130" fmla="*/ 2149710 w 3816350"/>
              <a:gd name="connsiteY130" fmla="*/ 1600416 h 3126004"/>
              <a:gd name="connsiteX131" fmla="*/ 2150964 w 3816350"/>
              <a:gd name="connsiteY131" fmla="*/ 1561108 h 3126004"/>
              <a:gd name="connsiteX132" fmla="*/ 2165031 w 3816350"/>
              <a:gd name="connsiteY132" fmla="*/ 1119936 h 3126004"/>
              <a:gd name="connsiteX133" fmla="*/ 2165706 w 3816350"/>
              <a:gd name="connsiteY133" fmla="*/ 1098766 h 3126004"/>
              <a:gd name="connsiteX134" fmla="*/ 2147856 w 3816350"/>
              <a:gd name="connsiteY134" fmla="*/ 1098766 h 3126004"/>
              <a:gd name="connsiteX135" fmla="*/ 2115004 w 3816350"/>
              <a:gd name="connsiteY135" fmla="*/ 1098766 h 3126004"/>
              <a:gd name="connsiteX136" fmla="*/ 2054225 w 3816350"/>
              <a:gd name="connsiteY136" fmla="*/ 1038441 h 3126004"/>
              <a:gd name="connsiteX137" fmla="*/ 2115004 w 3816350"/>
              <a:gd name="connsiteY137" fmla="*/ 978116 h 3126004"/>
              <a:gd name="connsiteX138" fmla="*/ 2737985 w 3816350"/>
              <a:gd name="connsiteY138" fmla="*/ 978116 h 3126004"/>
              <a:gd name="connsiteX139" fmla="*/ 2798763 w 3816350"/>
              <a:gd name="connsiteY139" fmla="*/ 1038441 h 3126004"/>
              <a:gd name="connsiteX140" fmla="*/ 2737985 w 3816350"/>
              <a:gd name="connsiteY140" fmla="*/ 1098766 h 3126004"/>
              <a:gd name="connsiteX141" fmla="*/ 2686354 w 3816350"/>
              <a:gd name="connsiteY141" fmla="*/ 1098766 h 3126004"/>
              <a:gd name="connsiteX142" fmla="*/ 2688584 w 3816350"/>
              <a:gd name="connsiteY142" fmla="*/ 1108749 h 3126004"/>
              <a:gd name="connsiteX143" fmla="*/ 2704543 w 3816350"/>
              <a:gd name="connsiteY143" fmla="*/ 1592731 h 3126004"/>
              <a:gd name="connsiteX144" fmla="*/ 2704823 w 3816350"/>
              <a:gd name="connsiteY144" fmla="*/ 1601227 h 3126004"/>
              <a:gd name="connsiteX145" fmla="*/ 2747201 w 3816350"/>
              <a:gd name="connsiteY145" fmla="*/ 1604971 h 3126004"/>
              <a:gd name="connsiteX146" fmla="*/ 2978698 w 3816350"/>
              <a:gd name="connsiteY146" fmla="*/ 1831346 h 3126004"/>
              <a:gd name="connsiteX147" fmla="*/ 2979784 w 3816350"/>
              <a:gd name="connsiteY147" fmla="*/ 1842154 h 3126004"/>
              <a:gd name="connsiteX148" fmla="*/ 2989755 w 3816350"/>
              <a:gd name="connsiteY148" fmla="*/ 1840129 h 3126004"/>
              <a:gd name="connsiteX149" fmla="*/ 3290799 w 3816350"/>
              <a:gd name="connsiteY149" fmla="*/ 1840129 h 3126004"/>
              <a:gd name="connsiteX150" fmla="*/ 3576638 w 3816350"/>
              <a:gd name="connsiteY150" fmla="*/ 2128827 h 3126004"/>
              <a:gd name="connsiteX151" fmla="*/ 3576638 w 3816350"/>
              <a:gd name="connsiteY151" fmla="*/ 2978084 h 3126004"/>
              <a:gd name="connsiteX152" fmla="*/ 3576638 w 3816350"/>
              <a:gd name="connsiteY152" fmla="*/ 3003766 h 3126004"/>
              <a:gd name="connsiteX153" fmla="*/ 3642824 w 3816350"/>
              <a:gd name="connsiteY153" fmla="*/ 3003766 h 3126004"/>
              <a:gd name="connsiteX154" fmla="*/ 3755580 w 3816350"/>
              <a:gd name="connsiteY154" fmla="*/ 3003766 h 3126004"/>
              <a:gd name="connsiteX155" fmla="*/ 3816350 w 3816350"/>
              <a:gd name="connsiteY155" fmla="*/ 3064885 h 3126004"/>
              <a:gd name="connsiteX156" fmla="*/ 3755580 w 3816350"/>
              <a:gd name="connsiteY156" fmla="*/ 3126004 h 3126004"/>
              <a:gd name="connsiteX157" fmla="*/ 3105200 w 3816350"/>
              <a:gd name="connsiteY157" fmla="*/ 3126004 h 3126004"/>
              <a:gd name="connsiteX158" fmla="*/ 2923689 w 3816350"/>
              <a:gd name="connsiteY158" fmla="*/ 3126004 h 3126004"/>
              <a:gd name="connsiteX159" fmla="*/ 2810792 w 3816350"/>
              <a:gd name="connsiteY159" fmla="*/ 3126004 h 3126004"/>
              <a:gd name="connsiteX160" fmla="*/ 60770 w 3816350"/>
              <a:gd name="connsiteY160" fmla="*/ 3126004 h 3126004"/>
              <a:gd name="connsiteX161" fmla="*/ 0 w 3816350"/>
              <a:gd name="connsiteY161" fmla="*/ 3064885 h 3126004"/>
              <a:gd name="connsiteX162" fmla="*/ 60770 w 3816350"/>
              <a:gd name="connsiteY162" fmla="*/ 3003766 h 3126004"/>
              <a:gd name="connsiteX163" fmla="*/ 228600 w 3816350"/>
              <a:gd name="connsiteY163" fmla="*/ 3003766 h 3126004"/>
              <a:gd name="connsiteX164" fmla="*/ 228600 w 3816350"/>
              <a:gd name="connsiteY164" fmla="*/ 2910506 h 3126004"/>
              <a:gd name="connsiteX165" fmla="*/ 228600 w 3816350"/>
              <a:gd name="connsiteY165" fmla="*/ 1393912 h 3126004"/>
              <a:gd name="connsiteX166" fmla="*/ 514218 w 3816350"/>
              <a:gd name="connsiteY166" fmla="*/ 1108291 h 3126004"/>
              <a:gd name="connsiteX167" fmla="*/ 894031 w 3816350"/>
              <a:gd name="connsiteY167" fmla="*/ 1108291 h 3126004"/>
              <a:gd name="connsiteX168" fmla="*/ 1182688 w 3816350"/>
              <a:gd name="connsiteY168" fmla="*/ 1393912 h 3126004"/>
              <a:gd name="connsiteX169" fmla="*/ 1182688 w 3816350"/>
              <a:gd name="connsiteY169" fmla="*/ 1545464 h 3126004"/>
              <a:gd name="connsiteX170" fmla="*/ 1182688 w 3816350"/>
              <a:gd name="connsiteY170" fmla="*/ 1600416 h 3126004"/>
              <a:gd name="connsiteX171" fmla="*/ 1316253 w 3816350"/>
              <a:gd name="connsiteY171" fmla="*/ 1600416 h 3126004"/>
              <a:gd name="connsiteX172" fmla="*/ 1341130 w 3816350"/>
              <a:gd name="connsiteY172" fmla="*/ 1600416 h 3126004"/>
              <a:gd name="connsiteX173" fmla="*/ 1343596 w 3816350"/>
              <a:gd name="connsiteY173" fmla="*/ 1482092 h 3126004"/>
              <a:gd name="connsiteX174" fmla="*/ 1361129 w 3816350"/>
              <a:gd name="connsiteY174" fmla="*/ 640580 h 3126004"/>
              <a:gd name="connsiteX175" fmla="*/ 1361913 w 3816350"/>
              <a:gd name="connsiteY175" fmla="*/ 636804 h 3126004"/>
              <a:gd name="connsiteX176" fmla="*/ 1339642 w 3816350"/>
              <a:gd name="connsiteY176" fmla="*/ 636804 h 3126004"/>
              <a:gd name="connsiteX177" fmla="*/ 1306955 w 3816350"/>
              <a:gd name="connsiteY177" fmla="*/ 636804 h 3126004"/>
              <a:gd name="connsiteX178" fmla="*/ 1246188 w 3816350"/>
              <a:gd name="connsiteY178" fmla="*/ 576479 h 3126004"/>
              <a:gd name="connsiteX179" fmla="*/ 1306955 w 3816350"/>
              <a:gd name="connsiteY179" fmla="*/ 516154 h 3126004"/>
              <a:gd name="connsiteX180" fmla="*/ 2284286 w 3816350"/>
              <a:gd name="connsiteY180" fmla="*/ 483 h 3126004"/>
              <a:gd name="connsiteX181" fmla="*/ 2455036 w 3816350"/>
              <a:gd name="connsiteY181" fmla="*/ 23561 h 3126004"/>
              <a:gd name="connsiteX182" fmla="*/ 2458075 w 3816350"/>
              <a:gd name="connsiteY182" fmla="*/ 23561 h 3126004"/>
              <a:gd name="connsiteX183" fmla="*/ 2464151 w 3816350"/>
              <a:gd name="connsiteY183" fmla="*/ 26595 h 3126004"/>
              <a:gd name="connsiteX184" fmla="*/ 3351368 w 3816350"/>
              <a:gd name="connsiteY184" fmla="*/ 59965 h 3126004"/>
              <a:gd name="connsiteX185" fmla="*/ 3436444 w 3816350"/>
              <a:gd name="connsiteY185" fmla="*/ 59965 h 3126004"/>
              <a:gd name="connsiteX186" fmla="*/ 3436444 w 3816350"/>
              <a:gd name="connsiteY186" fmla="*/ 147941 h 3126004"/>
              <a:gd name="connsiteX187" fmla="*/ 3050565 w 3816350"/>
              <a:gd name="connsiteY187" fmla="*/ 272321 h 3126004"/>
              <a:gd name="connsiteX188" fmla="*/ 2421614 w 3816350"/>
              <a:gd name="connsiteY188" fmla="*/ 138840 h 3126004"/>
              <a:gd name="connsiteX189" fmla="*/ 1698471 w 3816350"/>
              <a:gd name="connsiteY189" fmla="*/ 339061 h 3126004"/>
              <a:gd name="connsiteX190" fmla="*/ 1655933 w 3816350"/>
              <a:gd name="connsiteY190" fmla="*/ 354229 h 3126004"/>
              <a:gd name="connsiteX191" fmla="*/ 1613396 w 3816350"/>
              <a:gd name="connsiteY191" fmla="*/ 336027 h 3126004"/>
              <a:gd name="connsiteX192" fmla="*/ 1616434 w 3816350"/>
              <a:gd name="connsiteY192" fmla="*/ 248051 h 3126004"/>
              <a:gd name="connsiteX193" fmla="*/ 2284286 w 3816350"/>
              <a:gd name="connsiteY193" fmla="*/ 483 h 312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3816350" h="3126004">
                <a:moveTo>
                  <a:pt x="2029398" y="2467191"/>
                </a:moveTo>
                <a:cubicBezTo>
                  <a:pt x="2279078" y="2467191"/>
                  <a:pt x="2279078" y="2467191"/>
                  <a:pt x="2279078" y="2467191"/>
                </a:cubicBezTo>
                <a:cubicBezTo>
                  <a:pt x="2312571" y="2467191"/>
                  <a:pt x="2339975" y="2494337"/>
                  <a:pt x="2339975" y="2527516"/>
                </a:cubicBezTo>
                <a:cubicBezTo>
                  <a:pt x="2339975" y="2560695"/>
                  <a:pt x="2312571" y="2587841"/>
                  <a:pt x="2279078" y="2587841"/>
                </a:cubicBezTo>
                <a:cubicBezTo>
                  <a:pt x="2029398" y="2587841"/>
                  <a:pt x="2029398" y="2587841"/>
                  <a:pt x="2029398" y="2587841"/>
                </a:cubicBezTo>
                <a:cubicBezTo>
                  <a:pt x="1995904" y="2587841"/>
                  <a:pt x="1968500" y="2560695"/>
                  <a:pt x="1968500" y="2527516"/>
                </a:cubicBezTo>
                <a:cubicBezTo>
                  <a:pt x="1968500" y="2494337"/>
                  <a:pt x="1995904" y="2467191"/>
                  <a:pt x="2029398" y="2467191"/>
                </a:cubicBezTo>
                <a:close/>
                <a:moveTo>
                  <a:pt x="1430910" y="2467191"/>
                </a:moveTo>
                <a:cubicBezTo>
                  <a:pt x="1680591" y="2467191"/>
                  <a:pt x="1680591" y="2467191"/>
                  <a:pt x="1680591" y="2467191"/>
                </a:cubicBezTo>
                <a:cubicBezTo>
                  <a:pt x="1714084" y="2467191"/>
                  <a:pt x="1741488" y="2494337"/>
                  <a:pt x="1741488" y="2527516"/>
                </a:cubicBezTo>
                <a:cubicBezTo>
                  <a:pt x="1741488" y="2560695"/>
                  <a:pt x="1714084" y="2587841"/>
                  <a:pt x="1680591" y="2587841"/>
                </a:cubicBezTo>
                <a:cubicBezTo>
                  <a:pt x="1430910" y="2587841"/>
                  <a:pt x="1430910" y="2587841"/>
                  <a:pt x="1430910" y="2587841"/>
                </a:cubicBezTo>
                <a:cubicBezTo>
                  <a:pt x="1397417" y="2587841"/>
                  <a:pt x="1370013" y="2560695"/>
                  <a:pt x="1370013" y="2527516"/>
                </a:cubicBezTo>
                <a:cubicBezTo>
                  <a:pt x="1370013" y="2494337"/>
                  <a:pt x="1397417" y="2467191"/>
                  <a:pt x="1430910" y="2467191"/>
                </a:cubicBezTo>
                <a:close/>
                <a:moveTo>
                  <a:pt x="2029398" y="2116354"/>
                </a:moveTo>
                <a:cubicBezTo>
                  <a:pt x="2279078" y="2116354"/>
                  <a:pt x="2279078" y="2116354"/>
                  <a:pt x="2279078" y="2116354"/>
                </a:cubicBezTo>
                <a:cubicBezTo>
                  <a:pt x="2312571" y="2116354"/>
                  <a:pt x="2339975" y="2143858"/>
                  <a:pt x="2339975" y="2177473"/>
                </a:cubicBezTo>
                <a:cubicBezTo>
                  <a:pt x="2339975" y="2211089"/>
                  <a:pt x="2312571" y="2238592"/>
                  <a:pt x="2279078" y="2238592"/>
                </a:cubicBezTo>
                <a:cubicBezTo>
                  <a:pt x="2029398" y="2238592"/>
                  <a:pt x="2029398" y="2238592"/>
                  <a:pt x="2029398" y="2238592"/>
                </a:cubicBezTo>
                <a:cubicBezTo>
                  <a:pt x="1995904" y="2238592"/>
                  <a:pt x="1968500" y="2211089"/>
                  <a:pt x="1968500" y="2177473"/>
                </a:cubicBezTo>
                <a:cubicBezTo>
                  <a:pt x="1968500" y="2143858"/>
                  <a:pt x="1995904" y="2116354"/>
                  <a:pt x="2029398" y="2116354"/>
                </a:cubicBezTo>
                <a:close/>
                <a:moveTo>
                  <a:pt x="1430910" y="2116354"/>
                </a:moveTo>
                <a:cubicBezTo>
                  <a:pt x="1680591" y="2116354"/>
                  <a:pt x="1680591" y="2116354"/>
                  <a:pt x="1680591" y="2116354"/>
                </a:cubicBezTo>
                <a:cubicBezTo>
                  <a:pt x="1714084" y="2116354"/>
                  <a:pt x="1741488" y="2143858"/>
                  <a:pt x="1741488" y="2177473"/>
                </a:cubicBezTo>
                <a:cubicBezTo>
                  <a:pt x="1741488" y="2211089"/>
                  <a:pt x="1714084" y="2238592"/>
                  <a:pt x="1680591" y="2238592"/>
                </a:cubicBezTo>
                <a:cubicBezTo>
                  <a:pt x="1430910" y="2238592"/>
                  <a:pt x="1430910" y="2238592"/>
                  <a:pt x="1430910" y="2238592"/>
                </a:cubicBezTo>
                <a:cubicBezTo>
                  <a:pt x="1397417" y="2238592"/>
                  <a:pt x="1370013" y="2211089"/>
                  <a:pt x="1370013" y="2177473"/>
                </a:cubicBezTo>
                <a:cubicBezTo>
                  <a:pt x="1370013" y="2143858"/>
                  <a:pt x="1397417" y="2116354"/>
                  <a:pt x="1430910" y="2116354"/>
                </a:cubicBezTo>
                <a:close/>
                <a:moveTo>
                  <a:pt x="2984500" y="1960619"/>
                </a:moveTo>
                <a:lnTo>
                  <a:pt x="2984500" y="2096147"/>
                </a:lnTo>
                <a:cubicBezTo>
                  <a:pt x="2984500" y="2641253"/>
                  <a:pt x="2984500" y="2879736"/>
                  <a:pt x="2984500" y="2984073"/>
                </a:cubicBezTo>
                <a:lnTo>
                  <a:pt x="2984500" y="3003766"/>
                </a:lnTo>
                <a:lnTo>
                  <a:pt x="3097983" y="3003766"/>
                </a:lnTo>
                <a:cubicBezTo>
                  <a:pt x="3244116" y="3003766"/>
                  <a:pt x="3357775" y="3003766"/>
                  <a:pt x="3446176" y="3003766"/>
                </a:cubicBezTo>
                <a:lnTo>
                  <a:pt x="3455004" y="3003766"/>
                </a:lnTo>
                <a:lnTo>
                  <a:pt x="3455004" y="2892548"/>
                </a:lnTo>
                <a:cubicBezTo>
                  <a:pt x="3455004" y="2128827"/>
                  <a:pt x="3455004" y="2128827"/>
                  <a:pt x="3455004" y="2128827"/>
                </a:cubicBezTo>
                <a:cubicBezTo>
                  <a:pt x="3455004" y="2037659"/>
                  <a:pt x="3382024" y="1961686"/>
                  <a:pt x="3290799" y="1961686"/>
                </a:cubicBezTo>
                <a:cubicBezTo>
                  <a:pt x="2989755" y="1961686"/>
                  <a:pt x="2989755" y="1961686"/>
                  <a:pt x="2989755" y="1961686"/>
                </a:cubicBezTo>
                <a:close/>
                <a:moveTo>
                  <a:pt x="1182688" y="1721977"/>
                </a:moveTo>
                <a:lnTo>
                  <a:pt x="1182688" y="1820468"/>
                </a:lnTo>
                <a:cubicBezTo>
                  <a:pt x="1182688" y="2596462"/>
                  <a:pt x="1182688" y="2887460"/>
                  <a:pt x="1182688" y="2996584"/>
                </a:cubicBezTo>
                <a:lnTo>
                  <a:pt x="1182688" y="3003766"/>
                </a:lnTo>
                <a:lnTo>
                  <a:pt x="1280346" y="3003766"/>
                </a:lnTo>
                <a:cubicBezTo>
                  <a:pt x="1987556" y="3003766"/>
                  <a:pt x="2492706" y="3003766"/>
                  <a:pt x="2853527" y="3003766"/>
                </a:cubicBezTo>
                <a:lnTo>
                  <a:pt x="2862878" y="3003766"/>
                </a:lnTo>
                <a:lnTo>
                  <a:pt x="2862878" y="2858200"/>
                </a:lnTo>
                <a:cubicBezTo>
                  <a:pt x="2862878" y="1889123"/>
                  <a:pt x="2862878" y="1889123"/>
                  <a:pt x="2862878" y="1889123"/>
                </a:cubicBezTo>
                <a:cubicBezTo>
                  <a:pt x="2862878" y="1797952"/>
                  <a:pt x="2789905" y="1721977"/>
                  <a:pt x="2695648" y="1721977"/>
                </a:cubicBezTo>
                <a:lnTo>
                  <a:pt x="2652392" y="1721977"/>
                </a:lnTo>
                <a:lnTo>
                  <a:pt x="2649065" y="1722654"/>
                </a:lnTo>
                <a:cubicBezTo>
                  <a:pt x="2649065" y="1722654"/>
                  <a:pt x="2646025" y="1722654"/>
                  <a:pt x="2646025" y="1722654"/>
                </a:cubicBezTo>
                <a:lnTo>
                  <a:pt x="2642393" y="1721977"/>
                </a:lnTo>
                <a:lnTo>
                  <a:pt x="2450186" y="1721977"/>
                </a:lnTo>
                <a:cubicBezTo>
                  <a:pt x="2373129" y="1721977"/>
                  <a:pt x="2300740" y="1721977"/>
                  <a:pt x="2232738" y="1721977"/>
                </a:cubicBezTo>
                <a:lnTo>
                  <a:pt x="2212180" y="1721977"/>
                </a:lnTo>
                <a:lnTo>
                  <a:pt x="2208551" y="1722654"/>
                </a:lnTo>
                <a:cubicBezTo>
                  <a:pt x="2208551" y="1722654"/>
                  <a:pt x="2205511" y="1722654"/>
                  <a:pt x="2205511" y="1722654"/>
                </a:cubicBezTo>
                <a:lnTo>
                  <a:pt x="2202188" y="1721977"/>
                </a:lnTo>
                <a:lnTo>
                  <a:pt x="2041607" y="1721977"/>
                </a:lnTo>
                <a:cubicBezTo>
                  <a:pt x="1982094" y="1721977"/>
                  <a:pt x="1926684" y="1721977"/>
                  <a:pt x="1875094" y="1721977"/>
                </a:cubicBezTo>
                <a:lnTo>
                  <a:pt x="1850551" y="1721977"/>
                </a:lnTo>
                <a:lnTo>
                  <a:pt x="1847215" y="1722654"/>
                </a:lnTo>
                <a:cubicBezTo>
                  <a:pt x="1847215" y="1722654"/>
                  <a:pt x="1844167" y="1722654"/>
                  <a:pt x="1844167" y="1722654"/>
                </a:cubicBezTo>
                <a:lnTo>
                  <a:pt x="1840525" y="1721977"/>
                </a:lnTo>
                <a:lnTo>
                  <a:pt x="1731502" y="1721977"/>
                </a:lnTo>
                <a:cubicBezTo>
                  <a:pt x="1598806" y="1721977"/>
                  <a:pt x="1497945" y="1721977"/>
                  <a:pt x="1421283" y="1721977"/>
                </a:cubicBezTo>
                <a:lnTo>
                  <a:pt x="1404347" y="1721977"/>
                </a:lnTo>
                <a:lnTo>
                  <a:pt x="1400648" y="1722654"/>
                </a:lnTo>
                <a:lnTo>
                  <a:pt x="1397315" y="1721977"/>
                </a:lnTo>
                <a:lnTo>
                  <a:pt x="1359314" y="1721977"/>
                </a:lnTo>
                <a:cubicBezTo>
                  <a:pt x="1247326" y="1721977"/>
                  <a:pt x="1204664" y="1721977"/>
                  <a:pt x="1188412" y="1721977"/>
                </a:cubicBezTo>
                <a:close/>
                <a:moveTo>
                  <a:pt x="514218" y="1229832"/>
                </a:moveTo>
                <a:cubicBezTo>
                  <a:pt x="423064" y="1229832"/>
                  <a:pt x="350140" y="1302756"/>
                  <a:pt x="350140" y="1393912"/>
                </a:cubicBezTo>
                <a:cubicBezTo>
                  <a:pt x="350140" y="2436504"/>
                  <a:pt x="350140" y="2827476"/>
                  <a:pt x="350140" y="2974090"/>
                </a:cubicBezTo>
                <a:lnTo>
                  <a:pt x="350140" y="3003766"/>
                </a:lnTo>
                <a:lnTo>
                  <a:pt x="396446" y="3003766"/>
                </a:lnTo>
                <a:cubicBezTo>
                  <a:pt x="613165" y="3003766"/>
                  <a:pt x="815901" y="3003766"/>
                  <a:pt x="1005558" y="3003766"/>
                </a:cubicBezTo>
                <a:lnTo>
                  <a:pt x="1061148" y="3003766"/>
                </a:lnTo>
                <a:lnTo>
                  <a:pt x="1061148" y="2910506"/>
                </a:lnTo>
                <a:cubicBezTo>
                  <a:pt x="1061148" y="1393912"/>
                  <a:pt x="1061148" y="1393912"/>
                  <a:pt x="1061148" y="1393912"/>
                </a:cubicBezTo>
                <a:cubicBezTo>
                  <a:pt x="1061148" y="1302756"/>
                  <a:pt x="985185" y="1229832"/>
                  <a:pt x="894031" y="1229832"/>
                </a:cubicBezTo>
                <a:cubicBezTo>
                  <a:pt x="514218" y="1229832"/>
                  <a:pt x="514218" y="1229832"/>
                  <a:pt x="514218" y="1229832"/>
                </a:cubicBezTo>
                <a:close/>
                <a:moveTo>
                  <a:pt x="2287398" y="1098766"/>
                </a:moveTo>
                <a:lnTo>
                  <a:pt x="2284378" y="1193505"/>
                </a:lnTo>
                <a:cubicBezTo>
                  <a:pt x="2277364" y="1413463"/>
                  <a:pt x="2273624" y="1530773"/>
                  <a:pt x="2271629" y="1593339"/>
                </a:cubicBezTo>
                <a:lnTo>
                  <a:pt x="2271403" y="1600416"/>
                </a:lnTo>
                <a:lnTo>
                  <a:pt x="2287237" y="1600416"/>
                </a:lnTo>
                <a:cubicBezTo>
                  <a:pt x="2389340" y="1600416"/>
                  <a:pt x="2465917" y="1600416"/>
                  <a:pt x="2523350" y="1600416"/>
                </a:cubicBezTo>
                <a:lnTo>
                  <a:pt x="2583101" y="1600416"/>
                </a:lnTo>
                <a:lnTo>
                  <a:pt x="2582017" y="1567547"/>
                </a:lnTo>
                <a:cubicBezTo>
                  <a:pt x="2566988" y="1111788"/>
                  <a:pt x="2566988" y="1111788"/>
                  <a:pt x="2566988" y="1111788"/>
                </a:cubicBezTo>
                <a:lnTo>
                  <a:pt x="2571901" y="1098766"/>
                </a:lnTo>
                <a:lnTo>
                  <a:pt x="2489215" y="1098766"/>
                </a:lnTo>
                <a:cubicBezTo>
                  <a:pt x="2419916" y="1098766"/>
                  <a:pt x="2363451" y="1098766"/>
                  <a:pt x="2317442" y="1098766"/>
                </a:cubicBezTo>
                <a:close/>
                <a:moveTo>
                  <a:pt x="1481340" y="636804"/>
                </a:moveTo>
                <a:lnTo>
                  <a:pt x="1482725" y="643620"/>
                </a:lnTo>
                <a:cubicBezTo>
                  <a:pt x="1470755" y="1218092"/>
                  <a:pt x="1465518" y="1469423"/>
                  <a:pt x="1463227" y="1579381"/>
                </a:cubicBezTo>
                <a:lnTo>
                  <a:pt x="1462789" y="1600416"/>
                </a:lnTo>
                <a:lnTo>
                  <a:pt x="1559061" y="1600416"/>
                </a:lnTo>
                <a:cubicBezTo>
                  <a:pt x="1630098" y="1600416"/>
                  <a:pt x="1696695" y="1600416"/>
                  <a:pt x="1759130" y="1600416"/>
                </a:cubicBezTo>
                <a:lnTo>
                  <a:pt x="1781464" y="1600416"/>
                </a:lnTo>
                <a:lnTo>
                  <a:pt x="1778379" y="1486229"/>
                </a:lnTo>
                <a:cubicBezTo>
                  <a:pt x="1755775" y="649827"/>
                  <a:pt x="1755775" y="649827"/>
                  <a:pt x="1755775" y="649827"/>
                </a:cubicBezTo>
                <a:lnTo>
                  <a:pt x="1760702" y="636804"/>
                </a:lnTo>
                <a:lnTo>
                  <a:pt x="1679273" y="636804"/>
                </a:lnTo>
                <a:cubicBezTo>
                  <a:pt x="1610325" y="636804"/>
                  <a:pt x="1554145" y="636804"/>
                  <a:pt x="1508369" y="636804"/>
                </a:cubicBezTo>
                <a:close/>
                <a:moveTo>
                  <a:pt x="2839291" y="598078"/>
                </a:moveTo>
                <a:cubicBezTo>
                  <a:pt x="2875069" y="599225"/>
                  <a:pt x="2912282" y="603886"/>
                  <a:pt x="2950634" y="613017"/>
                </a:cubicBezTo>
                <a:cubicBezTo>
                  <a:pt x="2956710" y="613017"/>
                  <a:pt x="2956710" y="613017"/>
                  <a:pt x="2956710" y="613017"/>
                </a:cubicBezTo>
                <a:cubicBezTo>
                  <a:pt x="2959748" y="616061"/>
                  <a:pt x="2959748" y="616061"/>
                  <a:pt x="2959748" y="616061"/>
                </a:cubicBezTo>
                <a:cubicBezTo>
                  <a:pt x="3063033" y="655631"/>
                  <a:pt x="3385041" y="749988"/>
                  <a:pt x="3497440" y="640412"/>
                </a:cubicBezTo>
                <a:cubicBezTo>
                  <a:pt x="3521743" y="619105"/>
                  <a:pt x="3561234" y="619105"/>
                  <a:pt x="3582499" y="643455"/>
                </a:cubicBezTo>
                <a:cubicBezTo>
                  <a:pt x="3606801" y="667806"/>
                  <a:pt x="3606801" y="707375"/>
                  <a:pt x="3582499" y="728682"/>
                </a:cubicBezTo>
                <a:cubicBezTo>
                  <a:pt x="3397192" y="908266"/>
                  <a:pt x="2984050" y="756076"/>
                  <a:pt x="2920256" y="731726"/>
                </a:cubicBezTo>
                <a:cubicBezTo>
                  <a:pt x="2674194" y="673893"/>
                  <a:pt x="2485849" y="850434"/>
                  <a:pt x="2482812" y="850434"/>
                </a:cubicBezTo>
                <a:cubicBezTo>
                  <a:pt x="2473698" y="862609"/>
                  <a:pt x="2458509" y="868697"/>
                  <a:pt x="2443320" y="868697"/>
                </a:cubicBezTo>
                <a:cubicBezTo>
                  <a:pt x="2425093" y="868697"/>
                  <a:pt x="2409904" y="859565"/>
                  <a:pt x="2397753" y="847390"/>
                </a:cubicBezTo>
                <a:cubicBezTo>
                  <a:pt x="2376488" y="823040"/>
                  <a:pt x="2376488" y="783470"/>
                  <a:pt x="2400791" y="762164"/>
                </a:cubicBezTo>
                <a:cubicBezTo>
                  <a:pt x="2408765" y="754174"/>
                  <a:pt x="2588850" y="590046"/>
                  <a:pt x="2839291" y="598078"/>
                </a:cubicBezTo>
                <a:close/>
                <a:moveTo>
                  <a:pt x="1306955" y="516154"/>
                </a:moveTo>
                <a:cubicBezTo>
                  <a:pt x="1926784" y="516154"/>
                  <a:pt x="1926784" y="516154"/>
                  <a:pt x="1926784" y="516154"/>
                </a:cubicBezTo>
                <a:cubicBezTo>
                  <a:pt x="1960206" y="516154"/>
                  <a:pt x="1987551" y="543300"/>
                  <a:pt x="1987551" y="576479"/>
                </a:cubicBezTo>
                <a:cubicBezTo>
                  <a:pt x="1987551" y="609658"/>
                  <a:pt x="1960206" y="636804"/>
                  <a:pt x="1926784" y="636804"/>
                </a:cubicBezTo>
                <a:lnTo>
                  <a:pt x="1875459" y="636804"/>
                </a:lnTo>
                <a:lnTo>
                  <a:pt x="1877695" y="646788"/>
                </a:lnTo>
                <a:cubicBezTo>
                  <a:pt x="1893126" y="1217772"/>
                  <a:pt x="1899877" y="1467577"/>
                  <a:pt x="1902830" y="1576867"/>
                </a:cubicBezTo>
                <a:lnTo>
                  <a:pt x="1903467" y="1600416"/>
                </a:lnTo>
                <a:lnTo>
                  <a:pt x="1934224" y="1600416"/>
                </a:lnTo>
                <a:cubicBezTo>
                  <a:pt x="1981813" y="1600416"/>
                  <a:pt x="2026427" y="1600416"/>
                  <a:pt x="2068254" y="1600416"/>
                </a:cubicBezTo>
                <a:lnTo>
                  <a:pt x="2149710" y="1600416"/>
                </a:lnTo>
                <a:lnTo>
                  <a:pt x="2150964" y="1561108"/>
                </a:lnTo>
                <a:cubicBezTo>
                  <a:pt x="2159981" y="1278306"/>
                  <a:pt x="2163588" y="1165184"/>
                  <a:pt x="2165031" y="1119936"/>
                </a:cubicBezTo>
                <a:lnTo>
                  <a:pt x="2165706" y="1098766"/>
                </a:lnTo>
                <a:lnTo>
                  <a:pt x="2147856" y="1098766"/>
                </a:lnTo>
                <a:cubicBezTo>
                  <a:pt x="2115004" y="1098766"/>
                  <a:pt x="2115004" y="1098766"/>
                  <a:pt x="2115004" y="1098766"/>
                </a:cubicBezTo>
                <a:cubicBezTo>
                  <a:pt x="2081576" y="1098766"/>
                  <a:pt x="2054225" y="1071620"/>
                  <a:pt x="2054225" y="1038441"/>
                </a:cubicBezTo>
                <a:cubicBezTo>
                  <a:pt x="2054225" y="1005262"/>
                  <a:pt x="2081576" y="978116"/>
                  <a:pt x="2115004" y="978116"/>
                </a:cubicBezTo>
                <a:cubicBezTo>
                  <a:pt x="2737985" y="978116"/>
                  <a:pt x="2737985" y="978116"/>
                  <a:pt x="2737985" y="978116"/>
                </a:cubicBezTo>
                <a:cubicBezTo>
                  <a:pt x="2771413" y="978116"/>
                  <a:pt x="2798763" y="1005262"/>
                  <a:pt x="2798763" y="1038441"/>
                </a:cubicBezTo>
                <a:cubicBezTo>
                  <a:pt x="2798763" y="1071620"/>
                  <a:pt x="2771413" y="1098766"/>
                  <a:pt x="2737985" y="1098766"/>
                </a:cubicBezTo>
                <a:lnTo>
                  <a:pt x="2686354" y="1098766"/>
                </a:lnTo>
                <a:lnTo>
                  <a:pt x="2688584" y="1108749"/>
                </a:lnTo>
                <a:cubicBezTo>
                  <a:pt x="2697703" y="1385310"/>
                  <a:pt x="2702263" y="1523591"/>
                  <a:pt x="2704543" y="1592731"/>
                </a:cubicBezTo>
                <a:lnTo>
                  <a:pt x="2704823" y="1601227"/>
                </a:lnTo>
                <a:lnTo>
                  <a:pt x="2747201" y="1604971"/>
                </a:lnTo>
                <a:cubicBezTo>
                  <a:pt x="2864116" y="1625910"/>
                  <a:pt x="2955383" y="1716826"/>
                  <a:pt x="2978698" y="1831346"/>
                </a:cubicBezTo>
                <a:lnTo>
                  <a:pt x="2979784" y="1842154"/>
                </a:lnTo>
                <a:lnTo>
                  <a:pt x="2989755" y="1840129"/>
                </a:lnTo>
                <a:cubicBezTo>
                  <a:pt x="3290799" y="1840129"/>
                  <a:pt x="3290799" y="1840129"/>
                  <a:pt x="3290799" y="1840129"/>
                </a:cubicBezTo>
                <a:cubicBezTo>
                  <a:pt x="3448923" y="1840129"/>
                  <a:pt x="3576638" y="1970803"/>
                  <a:pt x="3576638" y="2128827"/>
                </a:cubicBezTo>
                <a:cubicBezTo>
                  <a:pt x="3576638" y="2650194"/>
                  <a:pt x="3576638" y="2878291"/>
                  <a:pt x="3576638" y="2978084"/>
                </a:cubicBezTo>
                <a:lnTo>
                  <a:pt x="3576638" y="3003766"/>
                </a:lnTo>
                <a:lnTo>
                  <a:pt x="3642824" y="3003766"/>
                </a:lnTo>
                <a:cubicBezTo>
                  <a:pt x="3755580" y="3003766"/>
                  <a:pt x="3755580" y="3003766"/>
                  <a:pt x="3755580" y="3003766"/>
                </a:cubicBezTo>
                <a:cubicBezTo>
                  <a:pt x="3789004" y="3003766"/>
                  <a:pt x="3816350" y="3031270"/>
                  <a:pt x="3816350" y="3064885"/>
                </a:cubicBezTo>
                <a:cubicBezTo>
                  <a:pt x="3816350" y="3098501"/>
                  <a:pt x="3789004" y="3126004"/>
                  <a:pt x="3755580" y="3126004"/>
                </a:cubicBezTo>
                <a:cubicBezTo>
                  <a:pt x="3524655" y="3126004"/>
                  <a:pt x="3308162" y="3126004"/>
                  <a:pt x="3105200" y="3126004"/>
                </a:cubicBezTo>
                <a:lnTo>
                  <a:pt x="2923689" y="3126004"/>
                </a:lnTo>
                <a:lnTo>
                  <a:pt x="2810792" y="3126004"/>
                </a:lnTo>
                <a:cubicBezTo>
                  <a:pt x="60770" y="3126004"/>
                  <a:pt x="60770" y="3126004"/>
                  <a:pt x="60770" y="3126004"/>
                </a:cubicBezTo>
                <a:cubicBezTo>
                  <a:pt x="27346" y="3126004"/>
                  <a:pt x="0" y="3098501"/>
                  <a:pt x="0" y="3064885"/>
                </a:cubicBezTo>
                <a:cubicBezTo>
                  <a:pt x="0" y="3031270"/>
                  <a:pt x="27346" y="3003766"/>
                  <a:pt x="60770" y="3003766"/>
                </a:cubicBezTo>
                <a:lnTo>
                  <a:pt x="228600" y="3003766"/>
                </a:lnTo>
                <a:lnTo>
                  <a:pt x="228600" y="2910506"/>
                </a:lnTo>
                <a:cubicBezTo>
                  <a:pt x="228600" y="1393912"/>
                  <a:pt x="228600" y="1393912"/>
                  <a:pt x="228600" y="1393912"/>
                </a:cubicBezTo>
                <a:cubicBezTo>
                  <a:pt x="228600" y="1235909"/>
                  <a:pt x="356217" y="1108291"/>
                  <a:pt x="514218" y="1108291"/>
                </a:cubicBezTo>
                <a:cubicBezTo>
                  <a:pt x="894031" y="1108291"/>
                  <a:pt x="894031" y="1108291"/>
                  <a:pt x="894031" y="1108291"/>
                </a:cubicBezTo>
                <a:cubicBezTo>
                  <a:pt x="1052032" y="1108291"/>
                  <a:pt x="1182688" y="1235909"/>
                  <a:pt x="1182688" y="1393912"/>
                </a:cubicBezTo>
                <a:cubicBezTo>
                  <a:pt x="1182688" y="1446042"/>
                  <a:pt x="1182688" y="1496542"/>
                  <a:pt x="1182688" y="1545464"/>
                </a:cubicBezTo>
                <a:lnTo>
                  <a:pt x="1182688" y="1600416"/>
                </a:lnTo>
                <a:lnTo>
                  <a:pt x="1316253" y="1600416"/>
                </a:lnTo>
                <a:lnTo>
                  <a:pt x="1341130" y="1600416"/>
                </a:lnTo>
                <a:lnTo>
                  <a:pt x="1343596" y="1482092"/>
                </a:lnTo>
                <a:cubicBezTo>
                  <a:pt x="1361129" y="640580"/>
                  <a:pt x="1361129" y="640580"/>
                  <a:pt x="1361129" y="640580"/>
                </a:cubicBezTo>
                <a:lnTo>
                  <a:pt x="1361913" y="636804"/>
                </a:lnTo>
                <a:lnTo>
                  <a:pt x="1339642" y="636804"/>
                </a:lnTo>
                <a:cubicBezTo>
                  <a:pt x="1306955" y="636804"/>
                  <a:pt x="1306955" y="636804"/>
                  <a:pt x="1306955" y="636804"/>
                </a:cubicBezTo>
                <a:cubicBezTo>
                  <a:pt x="1273533" y="636804"/>
                  <a:pt x="1246188" y="609658"/>
                  <a:pt x="1246188" y="576479"/>
                </a:cubicBezTo>
                <a:cubicBezTo>
                  <a:pt x="1246188" y="543300"/>
                  <a:pt x="1273533" y="516154"/>
                  <a:pt x="1306955" y="516154"/>
                </a:cubicBezTo>
                <a:close/>
                <a:moveTo>
                  <a:pt x="2284286" y="483"/>
                </a:moveTo>
                <a:cubicBezTo>
                  <a:pt x="2339102" y="2326"/>
                  <a:pt x="2396167" y="9531"/>
                  <a:pt x="2455036" y="23561"/>
                </a:cubicBezTo>
                <a:cubicBezTo>
                  <a:pt x="2458075" y="23561"/>
                  <a:pt x="2458075" y="23561"/>
                  <a:pt x="2458075" y="23561"/>
                </a:cubicBezTo>
                <a:cubicBezTo>
                  <a:pt x="2464151" y="26595"/>
                  <a:pt x="2464151" y="26595"/>
                  <a:pt x="2464151" y="26595"/>
                </a:cubicBezTo>
                <a:cubicBezTo>
                  <a:pt x="2643418" y="99403"/>
                  <a:pt x="3156910" y="245018"/>
                  <a:pt x="3351368" y="59965"/>
                </a:cubicBezTo>
                <a:cubicBezTo>
                  <a:pt x="3375676" y="35696"/>
                  <a:pt x="3415175" y="35696"/>
                  <a:pt x="3436444" y="59965"/>
                </a:cubicBezTo>
                <a:cubicBezTo>
                  <a:pt x="3460751" y="84234"/>
                  <a:pt x="3460751" y="123672"/>
                  <a:pt x="3436444" y="147941"/>
                </a:cubicBezTo>
                <a:cubicBezTo>
                  <a:pt x="3339215" y="238950"/>
                  <a:pt x="3196409" y="272321"/>
                  <a:pt x="3050565" y="272321"/>
                </a:cubicBezTo>
                <a:cubicBezTo>
                  <a:pt x="2767993" y="272321"/>
                  <a:pt x="2464151" y="157042"/>
                  <a:pt x="2421614" y="138840"/>
                </a:cubicBezTo>
                <a:cubicBezTo>
                  <a:pt x="2014466" y="44797"/>
                  <a:pt x="1701510" y="336027"/>
                  <a:pt x="1698471" y="339061"/>
                </a:cubicBezTo>
                <a:cubicBezTo>
                  <a:pt x="1686317" y="348162"/>
                  <a:pt x="1671125" y="354229"/>
                  <a:pt x="1655933" y="354229"/>
                </a:cubicBezTo>
                <a:cubicBezTo>
                  <a:pt x="1640741" y="354229"/>
                  <a:pt x="1625549" y="348162"/>
                  <a:pt x="1613396" y="336027"/>
                </a:cubicBezTo>
                <a:cubicBezTo>
                  <a:pt x="1589088" y="311758"/>
                  <a:pt x="1592127" y="272321"/>
                  <a:pt x="1616434" y="248051"/>
                </a:cubicBezTo>
                <a:cubicBezTo>
                  <a:pt x="1627069" y="237433"/>
                  <a:pt x="1900573" y="-12416"/>
                  <a:pt x="2284286" y="483"/>
                </a:cubicBezTo>
                <a:close/>
              </a:path>
            </a:pathLst>
          </a:custGeom>
          <a:solidFill>
            <a:schemeClr val="accent1"/>
          </a:solidFill>
          <a:ln>
            <a:noFill/>
          </a:ln>
        </p:spPr>
        <p:txBody>
          <a:bodyPr vert="horz" wrap="square" lIns="93247" tIns="46623" rIns="93247" bIns="46623" numCol="1" anchor="t" anchorCtr="0" compatLnSpc="1">
            <a:prstTxWarp prst="textNoShape">
              <a:avLst/>
            </a:prstTxWarp>
            <a:noAutofit/>
          </a:bodyPr>
          <a:lstStyle/>
          <a:p>
            <a:pPr defTabSz="932418"/>
            <a:endParaRPr lang="en-US" sz="1836">
              <a:solidFill>
                <a:srgbClr val="505050"/>
              </a:solidFill>
              <a:latin typeface="Segoe UI"/>
            </a:endParaRPr>
          </a:p>
        </p:txBody>
      </p:sp>
      <p:grpSp>
        <p:nvGrpSpPr>
          <p:cNvPr id="261" name="Group 260">
            <a:extLst>
              <a:ext uri="{FF2B5EF4-FFF2-40B4-BE49-F238E27FC236}">
                <a16:creationId xmlns:a16="http://schemas.microsoft.com/office/drawing/2014/main" id="{1B193BBB-1224-439C-A501-7537E0A1E03F}"/>
              </a:ext>
            </a:extLst>
          </p:cNvPr>
          <p:cNvGrpSpPr/>
          <p:nvPr/>
        </p:nvGrpSpPr>
        <p:grpSpPr>
          <a:xfrm>
            <a:off x="9170259" y="2088195"/>
            <a:ext cx="469056" cy="277379"/>
            <a:chOff x="6817854" y="2129880"/>
            <a:chExt cx="917686" cy="542678"/>
          </a:xfrm>
          <a:solidFill>
            <a:schemeClr val="accent1"/>
          </a:solidFill>
        </p:grpSpPr>
        <p:sp>
          <p:nvSpPr>
            <p:cNvPr id="262" name="Freeform: Shape 261">
              <a:extLst>
                <a:ext uri="{FF2B5EF4-FFF2-40B4-BE49-F238E27FC236}">
                  <a16:creationId xmlns:a16="http://schemas.microsoft.com/office/drawing/2014/main" id="{A8FE13AD-8AD1-4579-80C6-BA0886B7EA51}"/>
                </a:ext>
              </a:extLst>
            </p:cNvPr>
            <p:cNvSpPr/>
            <p:nvPr/>
          </p:nvSpPr>
          <p:spPr>
            <a:xfrm>
              <a:off x="7421215" y="2275232"/>
              <a:ext cx="314325" cy="314325"/>
            </a:xfrm>
            <a:custGeom>
              <a:avLst/>
              <a:gdLst/>
              <a:ahLst/>
              <a:cxnLst/>
              <a:rect l="0" t="0" r="0" b="0"/>
              <a:pathLst>
                <a:path w="314325" h="314325">
                  <a:moveTo>
                    <a:pt x="310248" y="310648"/>
                  </a:moveTo>
                  <a:lnTo>
                    <a:pt x="203683" y="310648"/>
                  </a:lnTo>
                  <a:lnTo>
                    <a:pt x="202778" y="299990"/>
                  </a:lnTo>
                  <a:cubicBezTo>
                    <a:pt x="199892" y="264795"/>
                    <a:pt x="169955" y="237306"/>
                    <a:pt x="134693" y="237306"/>
                  </a:cubicBezTo>
                  <a:cubicBezTo>
                    <a:pt x="99422" y="237306"/>
                    <a:pt x="69552" y="264833"/>
                    <a:pt x="66532" y="299990"/>
                  </a:cubicBezTo>
                  <a:lnTo>
                    <a:pt x="65675" y="310648"/>
                  </a:lnTo>
                  <a:lnTo>
                    <a:pt x="7144" y="310648"/>
                  </a:lnTo>
                  <a:lnTo>
                    <a:pt x="7144" y="7144"/>
                  </a:lnTo>
                  <a:lnTo>
                    <a:pt x="198977" y="7144"/>
                  </a:lnTo>
                  <a:lnTo>
                    <a:pt x="310258" y="137493"/>
                  </a:lnTo>
                  <a:lnTo>
                    <a:pt x="310258" y="310648"/>
                  </a:lnTo>
                  <a:close/>
                  <a:moveTo>
                    <a:pt x="224495" y="287341"/>
                  </a:moveTo>
                  <a:lnTo>
                    <a:pt x="286922" y="287341"/>
                  </a:lnTo>
                  <a:lnTo>
                    <a:pt x="286922" y="146047"/>
                  </a:lnTo>
                  <a:lnTo>
                    <a:pt x="188252" y="30432"/>
                  </a:lnTo>
                  <a:lnTo>
                    <a:pt x="30470" y="30432"/>
                  </a:lnTo>
                  <a:lnTo>
                    <a:pt x="30470" y="287322"/>
                  </a:lnTo>
                  <a:lnTo>
                    <a:pt x="44863" y="287322"/>
                  </a:lnTo>
                  <a:cubicBezTo>
                    <a:pt x="53483" y="245383"/>
                    <a:pt x="91078" y="213951"/>
                    <a:pt x="134693" y="213951"/>
                  </a:cubicBezTo>
                  <a:cubicBezTo>
                    <a:pt x="178356" y="213979"/>
                    <a:pt x="215875" y="245402"/>
                    <a:pt x="224495" y="287341"/>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63" name="Freeform: Shape 262">
              <a:extLst>
                <a:ext uri="{FF2B5EF4-FFF2-40B4-BE49-F238E27FC236}">
                  <a16:creationId xmlns:a16="http://schemas.microsoft.com/office/drawing/2014/main" id="{1980427A-2909-41FB-A9B8-60921B64554A}"/>
                </a:ext>
              </a:extLst>
            </p:cNvPr>
            <p:cNvSpPr/>
            <p:nvPr/>
          </p:nvSpPr>
          <p:spPr>
            <a:xfrm>
              <a:off x="7456181" y="2482058"/>
              <a:ext cx="190500" cy="190500"/>
            </a:xfrm>
            <a:custGeom>
              <a:avLst/>
              <a:gdLst/>
              <a:ahLst/>
              <a:cxnLst/>
              <a:rect l="0" t="0" r="0" b="0"/>
              <a:pathLst>
                <a:path w="190500" h="190500">
                  <a:moveTo>
                    <a:pt x="99365" y="191643"/>
                  </a:moveTo>
                  <a:cubicBezTo>
                    <a:pt x="48530" y="191643"/>
                    <a:pt x="7144" y="150238"/>
                    <a:pt x="7144" y="99393"/>
                  </a:cubicBezTo>
                  <a:cubicBezTo>
                    <a:pt x="7144" y="48530"/>
                    <a:pt x="48530" y="7144"/>
                    <a:pt x="99365" y="7144"/>
                  </a:cubicBezTo>
                  <a:cubicBezTo>
                    <a:pt x="150257" y="7144"/>
                    <a:pt x="191691" y="48530"/>
                    <a:pt x="191691" y="99393"/>
                  </a:cubicBezTo>
                  <a:cubicBezTo>
                    <a:pt x="191700" y="150238"/>
                    <a:pt x="150257" y="191643"/>
                    <a:pt x="99365" y="191643"/>
                  </a:cubicBezTo>
                  <a:close/>
                  <a:moveTo>
                    <a:pt x="99365" y="30480"/>
                  </a:moveTo>
                  <a:cubicBezTo>
                    <a:pt x="61360" y="30480"/>
                    <a:pt x="30432" y="61408"/>
                    <a:pt x="30432" y="99393"/>
                  </a:cubicBezTo>
                  <a:cubicBezTo>
                    <a:pt x="30432" y="137455"/>
                    <a:pt x="61332" y="168354"/>
                    <a:pt x="99365" y="168354"/>
                  </a:cubicBezTo>
                  <a:cubicBezTo>
                    <a:pt x="137417" y="168354"/>
                    <a:pt x="168335" y="137474"/>
                    <a:pt x="168335" y="99393"/>
                  </a:cubicBezTo>
                  <a:cubicBezTo>
                    <a:pt x="168354" y="61408"/>
                    <a:pt x="137417" y="30480"/>
                    <a:pt x="99365" y="30480"/>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64" name="Freeform: Shape 263">
              <a:extLst>
                <a:ext uri="{FF2B5EF4-FFF2-40B4-BE49-F238E27FC236}">
                  <a16:creationId xmlns:a16="http://schemas.microsoft.com/office/drawing/2014/main" id="{78DACFCF-5FDD-4B4D-9957-5A6B2348CF4A}"/>
                </a:ext>
              </a:extLst>
            </p:cNvPr>
            <p:cNvSpPr/>
            <p:nvPr/>
          </p:nvSpPr>
          <p:spPr>
            <a:xfrm>
              <a:off x="7151667" y="2482058"/>
              <a:ext cx="190500" cy="190500"/>
            </a:xfrm>
            <a:custGeom>
              <a:avLst/>
              <a:gdLst/>
              <a:ahLst/>
              <a:cxnLst/>
              <a:rect l="0" t="0" r="0" b="0"/>
              <a:pathLst>
                <a:path w="190500" h="190500">
                  <a:moveTo>
                    <a:pt x="99355" y="191643"/>
                  </a:moveTo>
                  <a:cubicBezTo>
                    <a:pt x="48539" y="191643"/>
                    <a:pt x="7144" y="150238"/>
                    <a:pt x="7144" y="99393"/>
                  </a:cubicBezTo>
                  <a:cubicBezTo>
                    <a:pt x="7144" y="48530"/>
                    <a:pt x="48530" y="7144"/>
                    <a:pt x="99355" y="7144"/>
                  </a:cubicBezTo>
                  <a:cubicBezTo>
                    <a:pt x="150343" y="7144"/>
                    <a:pt x="191624" y="48530"/>
                    <a:pt x="191624" y="99393"/>
                  </a:cubicBezTo>
                  <a:cubicBezTo>
                    <a:pt x="191624" y="150238"/>
                    <a:pt x="150343" y="191643"/>
                    <a:pt x="99355" y="191643"/>
                  </a:cubicBezTo>
                  <a:close/>
                  <a:moveTo>
                    <a:pt x="99355" y="30480"/>
                  </a:moveTo>
                  <a:cubicBezTo>
                    <a:pt x="61417" y="30480"/>
                    <a:pt x="30423" y="61408"/>
                    <a:pt x="30423" y="99393"/>
                  </a:cubicBezTo>
                  <a:cubicBezTo>
                    <a:pt x="30423" y="137455"/>
                    <a:pt x="61408" y="168354"/>
                    <a:pt x="99355" y="168354"/>
                  </a:cubicBezTo>
                  <a:cubicBezTo>
                    <a:pt x="137350" y="168354"/>
                    <a:pt x="168335" y="137474"/>
                    <a:pt x="168335" y="99393"/>
                  </a:cubicBezTo>
                  <a:cubicBezTo>
                    <a:pt x="168335" y="61408"/>
                    <a:pt x="137350" y="30480"/>
                    <a:pt x="99355" y="30480"/>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65" name="Freeform: Shape 264">
              <a:extLst>
                <a:ext uri="{FF2B5EF4-FFF2-40B4-BE49-F238E27FC236}">
                  <a16:creationId xmlns:a16="http://schemas.microsoft.com/office/drawing/2014/main" id="{F5EB212D-277B-43A6-B0E8-AE5CB24C1090}"/>
                </a:ext>
              </a:extLst>
            </p:cNvPr>
            <p:cNvSpPr/>
            <p:nvPr/>
          </p:nvSpPr>
          <p:spPr>
            <a:xfrm>
              <a:off x="6883548" y="2482058"/>
              <a:ext cx="190500" cy="190500"/>
            </a:xfrm>
            <a:custGeom>
              <a:avLst/>
              <a:gdLst/>
              <a:ahLst/>
              <a:cxnLst/>
              <a:rect l="0" t="0" r="0" b="0"/>
              <a:pathLst>
                <a:path w="190500" h="190500">
                  <a:moveTo>
                    <a:pt x="99355" y="191643"/>
                  </a:moveTo>
                  <a:cubicBezTo>
                    <a:pt x="48520" y="191643"/>
                    <a:pt x="7144" y="150238"/>
                    <a:pt x="7144" y="99393"/>
                  </a:cubicBezTo>
                  <a:cubicBezTo>
                    <a:pt x="7144" y="48530"/>
                    <a:pt x="48520" y="7144"/>
                    <a:pt x="99355" y="7144"/>
                  </a:cubicBezTo>
                  <a:cubicBezTo>
                    <a:pt x="150324" y="7144"/>
                    <a:pt x="191710" y="48530"/>
                    <a:pt x="191710" y="99393"/>
                  </a:cubicBezTo>
                  <a:cubicBezTo>
                    <a:pt x="191681" y="150238"/>
                    <a:pt x="150324" y="191643"/>
                    <a:pt x="99355" y="191643"/>
                  </a:cubicBezTo>
                  <a:close/>
                  <a:moveTo>
                    <a:pt x="99355" y="30480"/>
                  </a:moveTo>
                  <a:cubicBezTo>
                    <a:pt x="61427" y="30480"/>
                    <a:pt x="30413" y="61408"/>
                    <a:pt x="30413" y="99393"/>
                  </a:cubicBezTo>
                  <a:cubicBezTo>
                    <a:pt x="30413" y="137455"/>
                    <a:pt x="61408" y="168354"/>
                    <a:pt x="99355" y="168354"/>
                  </a:cubicBezTo>
                  <a:cubicBezTo>
                    <a:pt x="137493" y="168354"/>
                    <a:pt x="168345" y="137474"/>
                    <a:pt x="168345" y="99393"/>
                  </a:cubicBezTo>
                  <a:cubicBezTo>
                    <a:pt x="168345" y="61408"/>
                    <a:pt x="137503" y="30480"/>
                    <a:pt x="99355" y="30480"/>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66" name="Freeform: Shape 265">
              <a:extLst>
                <a:ext uri="{FF2B5EF4-FFF2-40B4-BE49-F238E27FC236}">
                  <a16:creationId xmlns:a16="http://schemas.microsoft.com/office/drawing/2014/main" id="{1BE3E023-ACA6-44C0-9F94-E842C5C1EF70}"/>
                </a:ext>
              </a:extLst>
            </p:cNvPr>
            <p:cNvSpPr/>
            <p:nvPr/>
          </p:nvSpPr>
          <p:spPr>
            <a:xfrm>
              <a:off x="7056389" y="2555429"/>
              <a:ext cx="114300" cy="28575"/>
            </a:xfrm>
            <a:custGeom>
              <a:avLst/>
              <a:gdLst/>
              <a:ahLst/>
              <a:cxnLst/>
              <a:rect l="0" t="0" r="0" b="0"/>
              <a:pathLst>
                <a:path w="114300" h="28575">
                  <a:moveTo>
                    <a:pt x="7144" y="7144"/>
                  </a:moveTo>
                  <a:lnTo>
                    <a:pt x="114071" y="7144"/>
                  </a:lnTo>
                  <a:lnTo>
                    <a:pt x="114071" y="30413"/>
                  </a:lnTo>
                  <a:lnTo>
                    <a:pt x="7144" y="30413"/>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68" name="Freeform: Shape 267">
              <a:extLst>
                <a:ext uri="{FF2B5EF4-FFF2-40B4-BE49-F238E27FC236}">
                  <a16:creationId xmlns:a16="http://schemas.microsoft.com/office/drawing/2014/main" id="{AEBC5329-2314-4009-A48E-250937717E3C}"/>
                </a:ext>
              </a:extLst>
            </p:cNvPr>
            <p:cNvSpPr/>
            <p:nvPr/>
          </p:nvSpPr>
          <p:spPr>
            <a:xfrm>
              <a:off x="6817854" y="2129880"/>
              <a:ext cx="581025" cy="457200"/>
            </a:xfrm>
            <a:custGeom>
              <a:avLst/>
              <a:gdLst/>
              <a:ahLst/>
              <a:cxnLst/>
              <a:rect l="0" t="0" r="0" b="0"/>
              <a:pathLst>
                <a:path w="581025" h="457200">
                  <a:moveTo>
                    <a:pt x="580273" y="7144"/>
                  </a:moveTo>
                  <a:lnTo>
                    <a:pt x="580273" y="456000"/>
                  </a:lnTo>
                  <a:lnTo>
                    <a:pt x="513807" y="456000"/>
                  </a:lnTo>
                  <a:lnTo>
                    <a:pt x="513807" y="432692"/>
                  </a:lnTo>
                  <a:lnTo>
                    <a:pt x="557003" y="432692"/>
                  </a:lnTo>
                  <a:lnTo>
                    <a:pt x="557003" y="30442"/>
                  </a:lnTo>
                  <a:lnTo>
                    <a:pt x="30490" y="30442"/>
                  </a:lnTo>
                  <a:lnTo>
                    <a:pt x="30490" y="432692"/>
                  </a:lnTo>
                  <a:lnTo>
                    <a:pt x="84468" y="432692"/>
                  </a:lnTo>
                  <a:lnTo>
                    <a:pt x="84468" y="456000"/>
                  </a:lnTo>
                  <a:lnTo>
                    <a:pt x="7144" y="456000"/>
                  </a:lnTo>
                  <a:lnTo>
                    <a:pt x="7144" y="714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69" name="Freeform: Shape 268">
              <a:extLst>
                <a:ext uri="{FF2B5EF4-FFF2-40B4-BE49-F238E27FC236}">
                  <a16:creationId xmlns:a16="http://schemas.microsoft.com/office/drawing/2014/main" id="{CA0B0123-44B0-4F9F-8DCA-E22B6677EFEF}"/>
                </a:ext>
              </a:extLst>
            </p:cNvPr>
            <p:cNvSpPr/>
            <p:nvPr/>
          </p:nvSpPr>
          <p:spPr>
            <a:xfrm>
              <a:off x="7648377" y="2505899"/>
              <a:ext cx="85725" cy="85725"/>
            </a:xfrm>
            <a:custGeom>
              <a:avLst/>
              <a:gdLst/>
              <a:ahLst/>
              <a:cxnLst/>
              <a:rect l="0" t="0" r="0" b="0"/>
              <a:pathLst>
                <a:path w="85725" h="85725">
                  <a:moveTo>
                    <a:pt x="83087" y="79981"/>
                  </a:moveTo>
                  <a:lnTo>
                    <a:pt x="7144" y="79981"/>
                  </a:lnTo>
                  <a:lnTo>
                    <a:pt x="7144" y="7144"/>
                  </a:lnTo>
                  <a:lnTo>
                    <a:pt x="83087" y="7144"/>
                  </a:lnTo>
                  <a:lnTo>
                    <a:pt x="83087" y="79981"/>
                  </a:lnTo>
                  <a:close/>
                  <a:moveTo>
                    <a:pt x="30432" y="56674"/>
                  </a:moveTo>
                  <a:lnTo>
                    <a:pt x="59741" y="56674"/>
                  </a:lnTo>
                  <a:lnTo>
                    <a:pt x="59741" y="30461"/>
                  </a:lnTo>
                  <a:lnTo>
                    <a:pt x="30432" y="30461"/>
                  </a:lnTo>
                  <a:lnTo>
                    <a:pt x="30432" y="5667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70" name="Freeform: Shape 269">
              <a:extLst>
                <a:ext uri="{FF2B5EF4-FFF2-40B4-BE49-F238E27FC236}">
                  <a16:creationId xmlns:a16="http://schemas.microsoft.com/office/drawing/2014/main" id="{C3364383-6DB6-4F05-AA71-74CCEEF8CE35}"/>
                </a:ext>
              </a:extLst>
            </p:cNvPr>
            <p:cNvSpPr/>
            <p:nvPr/>
          </p:nvSpPr>
          <p:spPr>
            <a:xfrm>
              <a:off x="7528905" y="2286824"/>
              <a:ext cx="190500" cy="142875"/>
            </a:xfrm>
            <a:custGeom>
              <a:avLst/>
              <a:gdLst/>
              <a:ahLst/>
              <a:cxnLst/>
              <a:rect l="0" t="0" r="0" b="0"/>
              <a:pathLst>
                <a:path w="190500" h="142875">
                  <a:moveTo>
                    <a:pt x="190919" y="141237"/>
                  </a:moveTo>
                  <a:lnTo>
                    <a:pt x="7144" y="141237"/>
                  </a:lnTo>
                  <a:lnTo>
                    <a:pt x="7144" y="7144"/>
                  </a:lnTo>
                  <a:lnTo>
                    <a:pt x="30432" y="7144"/>
                  </a:lnTo>
                  <a:lnTo>
                    <a:pt x="30432" y="117891"/>
                  </a:lnTo>
                  <a:lnTo>
                    <a:pt x="190919" y="11789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72" name="Freeform: Shape 271">
              <a:extLst>
                <a:ext uri="{FF2B5EF4-FFF2-40B4-BE49-F238E27FC236}">
                  <a16:creationId xmlns:a16="http://schemas.microsoft.com/office/drawing/2014/main" id="{4D2BA9FA-AEE9-4188-A2BB-B421093E662F}"/>
                </a:ext>
              </a:extLst>
            </p:cNvPr>
            <p:cNvSpPr/>
            <p:nvPr/>
          </p:nvSpPr>
          <p:spPr>
            <a:xfrm>
              <a:off x="6952947" y="2551409"/>
              <a:ext cx="57150" cy="57150"/>
            </a:xfrm>
            <a:custGeom>
              <a:avLst/>
              <a:gdLst/>
              <a:ahLst/>
              <a:cxnLst/>
              <a:rect l="0" t="0" r="0" b="0"/>
              <a:pathLst>
                <a:path w="57150" h="57150">
                  <a:moveTo>
                    <a:pt x="52930" y="30042"/>
                  </a:moveTo>
                  <a:cubicBezTo>
                    <a:pt x="52930" y="42691"/>
                    <a:pt x="42691" y="52978"/>
                    <a:pt x="30013" y="52978"/>
                  </a:cubicBezTo>
                  <a:cubicBezTo>
                    <a:pt x="17383" y="52978"/>
                    <a:pt x="7144" y="42720"/>
                    <a:pt x="7144" y="30042"/>
                  </a:cubicBezTo>
                  <a:cubicBezTo>
                    <a:pt x="7144" y="17355"/>
                    <a:pt x="17393" y="7144"/>
                    <a:pt x="30013" y="7144"/>
                  </a:cubicBezTo>
                  <a:cubicBezTo>
                    <a:pt x="42701" y="7144"/>
                    <a:pt x="52930" y="17355"/>
                    <a:pt x="52930" y="30042"/>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73" name="Freeform: Shape 272">
              <a:extLst>
                <a:ext uri="{FF2B5EF4-FFF2-40B4-BE49-F238E27FC236}">
                  <a16:creationId xmlns:a16="http://schemas.microsoft.com/office/drawing/2014/main" id="{F3ADA733-DAB7-4107-8956-023F4DC3F238}"/>
                </a:ext>
              </a:extLst>
            </p:cNvPr>
            <p:cNvSpPr/>
            <p:nvPr/>
          </p:nvSpPr>
          <p:spPr>
            <a:xfrm>
              <a:off x="7221019" y="2551409"/>
              <a:ext cx="57150" cy="57150"/>
            </a:xfrm>
            <a:custGeom>
              <a:avLst/>
              <a:gdLst/>
              <a:ahLst/>
              <a:cxnLst/>
              <a:rect l="0" t="0" r="0" b="0"/>
              <a:pathLst>
                <a:path w="57150" h="57150">
                  <a:moveTo>
                    <a:pt x="52930" y="30042"/>
                  </a:moveTo>
                  <a:cubicBezTo>
                    <a:pt x="52930" y="42691"/>
                    <a:pt x="42691" y="52978"/>
                    <a:pt x="30004" y="52978"/>
                  </a:cubicBezTo>
                  <a:cubicBezTo>
                    <a:pt x="17459" y="52978"/>
                    <a:pt x="7144" y="42720"/>
                    <a:pt x="7144" y="30042"/>
                  </a:cubicBezTo>
                  <a:cubicBezTo>
                    <a:pt x="7144" y="17355"/>
                    <a:pt x="17459" y="7144"/>
                    <a:pt x="30004" y="7144"/>
                  </a:cubicBezTo>
                  <a:cubicBezTo>
                    <a:pt x="42691" y="7144"/>
                    <a:pt x="52930" y="17355"/>
                    <a:pt x="52930" y="30042"/>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74" name="Freeform: Shape 273">
              <a:extLst>
                <a:ext uri="{FF2B5EF4-FFF2-40B4-BE49-F238E27FC236}">
                  <a16:creationId xmlns:a16="http://schemas.microsoft.com/office/drawing/2014/main" id="{B8E77970-4915-4C84-925F-9CD63CBC21B9}"/>
                </a:ext>
              </a:extLst>
            </p:cNvPr>
            <p:cNvSpPr/>
            <p:nvPr/>
          </p:nvSpPr>
          <p:spPr>
            <a:xfrm>
              <a:off x="7525523" y="2551419"/>
              <a:ext cx="57150" cy="57150"/>
            </a:xfrm>
            <a:custGeom>
              <a:avLst/>
              <a:gdLst/>
              <a:ahLst/>
              <a:cxnLst/>
              <a:rect l="0" t="0" r="0" b="0"/>
              <a:pathLst>
                <a:path w="57150" h="57150">
                  <a:moveTo>
                    <a:pt x="52940" y="30042"/>
                  </a:moveTo>
                  <a:cubicBezTo>
                    <a:pt x="52940" y="42688"/>
                    <a:pt x="42688" y="52940"/>
                    <a:pt x="30042" y="52940"/>
                  </a:cubicBezTo>
                  <a:cubicBezTo>
                    <a:pt x="17396" y="52940"/>
                    <a:pt x="7144" y="42688"/>
                    <a:pt x="7144" y="30042"/>
                  </a:cubicBezTo>
                  <a:cubicBezTo>
                    <a:pt x="7144" y="17396"/>
                    <a:pt x="17396" y="7144"/>
                    <a:pt x="30042" y="7144"/>
                  </a:cubicBezTo>
                  <a:cubicBezTo>
                    <a:pt x="42688" y="7144"/>
                    <a:pt x="52940" y="17396"/>
                    <a:pt x="52940" y="30042"/>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75" name="Freeform: Shape 274">
              <a:extLst>
                <a:ext uri="{FF2B5EF4-FFF2-40B4-BE49-F238E27FC236}">
                  <a16:creationId xmlns:a16="http://schemas.microsoft.com/office/drawing/2014/main" id="{7B8CE793-D83A-490A-9A1C-C99FA7213771}"/>
                </a:ext>
              </a:extLst>
            </p:cNvPr>
            <p:cNvSpPr/>
            <p:nvPr/>
          </p:nvSpPr>
          <p:spPr>
            <a:xfrm>
              <a:off x="7459896" y="2275232"/>
              <a:ext cx="104775" cy="152400"/>
            </a:xfrm>
            <a:custGeom>
              <a:avLst/>
              <a:gdLst/>
              <a:ahLst/>
              <a:cxnLst/>
              <a:rect l="0" t="0" r="0" b="0"/>
              <a:pathLst>
                <a:path w="104775" h="152400">
                  <a:moveTo>
                    <a:pt x="99441" y="152829"/>
                  </a:moveTo>
                  <a:lnTo>
                    <a:pt x="7144" y="152829"/>
                  </a:lnTo>
                  <a:lnTo>
                    <a:pt x="7144" y="7144"/>
                  </a:lnTo>
                  <a:lnTo>
                    <a:pt x="99441" y="7144"/>
                  </a:lnTo>
                  <a:lnTo>
                    <a:pt x="99441" y="152829"/>
                  </a:lnTo>
                  <a:close/>
                  <a:moveTo>
                    <a:pt x="30423" y="129483"/>
                  </a:moveTo>
                  <a:lnTo>
                    <a:pt x="76162" y="129483"/>
                  </a:lnTo>
                  <a:lnTo>
                    <a:pt x="76162" y="30442"/>
                  </a:lnTo>
                  <a:lnTo>
                    <a:pt x="30423" y="30442"/>
                  </a:lnTo>
                  <a:lnTo>
                    <a:pt x="30423" y="129483"/>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76" name="Freeform: Shape 275">
              <a:extLst>
                <a:ext uri="{FF2B5EF4-FFF2-40B4-BE49-F238E27FC236}">
                  <a16:creationId xmlns:a16="http://schemas.microsoft.com/office/drawing/2014/main" id="{9E5F74E6-03C1-40B1-A3E1-6101A62C7F8E}"/>
                </a:ext>
              </a:extLst>
            </p:cNvPr>
            <p:cNvSpPr/>
            <p:nvPr/>
          </p:nvSpPr>
          <p:spPr>
            <a:xfrm>
              <a:off x="7376324" y="2516053"/>
              <a:ext cx="57150" cy="28575"/>
            </a:xfrm>
            <a:custGeom>
              <a:avLst/>
              <a:gdLst/>
              <a:ahLst/>
              <a:cxnLst/>
              <a:rect l="0" t="0" r="0" b="0"/>
              <a:pathLst>
                <a:path w="57150" h="28575">
                  <a:moveTo>
                    <a:pt x="7144" y="7144"/>
                  </a:moveTo>
                  <a:lnTo>
                    <a:pt x="57702" y="7144"/>
                  </a:lnTo>
                  <a:lnTo>
                    <a:pt x="57702" y="30385"/>
                  </a:lnTo>
                  <a:lnTo>
                    <a:pt x="7144" y="30385"/>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77" name="Freeform: Shape 276">
              <a:extLst>
                <a:ext uri="{FF2B5EF4-FFF2-40B4-BE49-F238E27FC236}">
                  <a16:creationId xmlns:a16="http://schemas.microsoft.com/office/drawing/2014/main" id="{CBD16BBD-135D-403D-B6E7-AC4E9014B08E}"/>
                </a:ext>
              </a:extLst>
            </p:cNvPr>
            <p:cNvSpPr/>
            <p:nvPr/>
          </p:nvSpPr>
          <p:spPr>
            <a:xfrm>
              <a:off x="7376324" y="2482067"/>
              <a:ext cx="57150" cy="28575"/>
            </a:xfrm>
            <a:custGeom>
              <a:avLst/>
              <a:gdLst/>
              <a:ahLst/>
              <a:cxnLst/>
              <a:rect l="0" t="0" r="0" b="0"/>
              <a:pathLst>
                <a:path w="57150" h="28575">
                  <a:moveTo>
                    <a:pt x="7144" y="7144"/>
                  </a:moveTo>
                  <a:lnTo>
                    <a:pt x="57702" y="7144"/>
                  </a:lnTo>
                  <a:lnTo>
                    <a:pt x="57702" y="30470"/>
                  </a:lnTo>
                  <a:lnTo>
                    <a:pt x="7144" y="30470"/>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78" name="Freeform: Shape 277">
              <a:extLst>
                <a:ext uri="{FF2B5EF4-FFF2-40B4-BE49-F238E27FC236}">
                  <a16:creationId xmlns:a16="http://schemas.microsoft.com/office/drawing/2014/main" id="{CE891A29-9028-45A8-B019-2422FF5CA273}"/>
                </a:ext>
              </a:extLst>
            </p:cNvPr>
            <p:cNvSpPr/>
            <p:nvPr/>
          </p:nvSpPr>
          <p:spPr>
            <a:xfrm>
              <a:off x="6828017" y="2431032"/>
              <a:ext cx="561975" cy="28575"/>
            </a:xfrm>
            <a:custGeom>
              <a:avLst/>
              <a:gdLst/>
              <a:ahLst/>
              <a:cxnLst/>
              <a:rect l="0" t="0" r="0" b="0"/>
              <a:pathLst>
                <a:path w="561975" h="28575">
                  <a:moveTo>
                    <a:pt x="7144" y="7144"/>
                  </a:moveTo>
                  <a:lnTo>
                    <a:pt x="555450" y="7144"/>
                  </a:lnTo>
                  <a:lnTo>
                    <a:pt x="555450" y="30451"/>
                  </a:lnTo>
                  <a:lnTo>
                    <a:pt x="7144" y="3045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sp>
        <p:nvSpPr>
          <p:cNvPr id="279" name="Freeform: Shape 278">
            <a:extLst>
              <a:ext uri="{FF2B5EF4-FFF2-40B4-BE49-F238E27FC236}">
                <a16:creationId xmlns:a16="http://schemas.microsoft.com/office/drawing/2014/main" id="{1CBEAC71-B20B-4B11-95D2-02659250D55A}"/>
              </a:ext>
            </a:extLst>
          </p:cNvPr>
          <p:cNvSpPr/>
          <p:nvPr/>
        </p:nvSpPr>
        <p:spPr>
          <a:xfrm>
            <a:off x="8323240" y="2823649"/>
            <a:ext cx="289247" cy="260323"/>
          </a:xfrm>
          <a:custGeom>
            <a:avLst/>
            <a:gdLst/>
            <a:ahLst/>
            <a:cxnLst/>
            <a:rect l="0" t="0" r="0" b="0"/>
            <a:pathLst>
              <a:path w="223587" h="201228">
                <a:moveTo>
                  <a:pt x="218763" y="55544"/>
                </a:moveTo>
                <a:cubicBezTo>
                  <a:pt x="218763" y="54426"/>
                  <a:pt x="217645" y="54426"/>
                  <a:pt x="216527" y="53308"/>
                </a:cubicBezTo>
                <a:cubicBezTo>
                  <a:pt x="215409" y="53308"/>
                  <a:pt x="214291" y="53308"/>
                  <a:pt x="213173" y="53308"/>
                </a:cubicBezTo>
                <a:lnTo>
                  <a:pt x="193050" y="64487"/>
                </a:lnTo>
                <a:lnTo>
                  <a:pt x="175163" y="54426"/>
                </a:lnTo>
                <a:lnTo>
                  <a:pt x="175163" y="37657"/>
                </a:lnTo>
                <a:lnTo>
                  <a:pt x="193050" y="27595"/>
                </a:lnTo>
                <a:lnTo>
                  <a:pt x="213173" y="38775"/>
                </a:lnTo>
                <a:cubicBezTo>
                  <a:pt x="214291" y="38775"/>
                  <a:pt x="215409" y="39893"/>
                  <a:pt x="216527" y="38775"/>
                </a:cubicBezTo>
                <a:cubicBezTo>
                  <a:pt x="217645" y="38775"/>
                  <a:pt x="218763" y="37657"/>
                  <a:pt x="218763" y="36539"/>
                </a:cubicBezTo>
                <a:cubicBezTo>
                  <a:pt x="219881" y="34303"/>
                  <a:pt x="218763" y="32067"/>
                  <a:pt x="217645" y="30949"/>
                </a:cubicBezTo>
                <a:lnTo>
                  <a:pt x="196404" y="18652"/>
                </a:lnTo>
                <a:cubicBezTo>
                  <a:pt x="195286" y="18652"/>
                  <a:pt x="195286" y="18652"/>
                  <a:pt x="194168" y="18652"/>
                </a:cubicBezTo>
                <a:cubicBezTo>
                  <a:pt x="194168" y="18652"/>
                  <a:pt x="193050" y="18652"/>
                  <a:pt x="193050" y="18652"/>
                </a:cubicBezTo>
                <a:lnTo>
                  <a:pt x="172927" y="29831"/>
                </a:lnTo>
                <a:lnTo>
                  <a:pt x="74549" y="22006"/>
                </a:lnTo>
                <a:cubicBezTo>
                  <a:pt x="67841" y="14180"/>
                  <a:pt x="57780" y="9708"/>
                  <a:pt x="46600" y="9708"/>
                </a:cubicBezTo>
                <a:cubicBezTo>
                  <a:pt x="26477" y="9708"/>
                  <a:pt x="9708" y="26477"/>
                  <a:pt x="9708" y="47718"/>
                </a:cubicBezTo>
                <a:cubicBezTo>
                  <a:pt x="9708" y="62251"/>
                  <a:pt x="18652" y="76785"/>
                  <a:pt x="32067" y="82374"/>
                </a:cubicBezTo>
                <a:lnTo>
                  <a:pt x="45482" y="156158"/>
                </a:lnTo>
                <a:lnTo>
                  <a:pt x="27595" y="156158"/>
                </a:lnTo>
                <a:lnTo>
                  <a:pt x="27595" y="156158"/>
                </a:lnTo>
                <a:cubicBezTo>
                  <a:pt x="25360" y="156158"/>
                  <a:pt x="24242" y="158394"/>
                  <a:pt x="24242" y="159512"/>
                </a:cubicBezTo>
                <a:lnTo>
                  <a:pt x="24242" y="188578"/>
                </a:lnTo>
                <a:cubicBezTo>
                  <a:pt x="24242" y="190814"/>
                  <a:pt x="26477" y="191932"/>
                  <a:pt x="27595" y="191932"/>
                </a:cubicBezTo>
                <a:lnTo>
                  <a:pt x="157276" y="191932"/>
                </a:lnTo>
                <a:cubicBezTo>
                  <a:pt x="159512" y="191932"/>
                  <a:pt x="160630" y="189696"/>
                  <a:pt x="160630" y="188578"/>
                </a:cubicBezTo>
                <a:lnTo>
                  <a:pt x="160630" y="159512"/>
                </a:lnTo>
                <a:cubicBezTo>
                  <a:pt x="160630" y="157276"/>
                  <a:pt x="158394" y="156158"/>
                  <a:pt x="157276" y="156158"/>
                </a:cubicBezTo>
                <a:lnTo>
                  <a:pt x="53308" y="156158"/>
                </a:lnTo>
                <a:lnTo>
                  <a:pt x="39893" y="84610"/>
                </a:lnTo>
                <a:cubicBezTo>
                  <a:pt x="42129" y="84610"/>
                  <a:pt x="44364" y="85728"/>
                  <a:pt x="46600" y="85728"/>
                </a:cubicBezTo>
                <a:cubicBezTo>
                  <a:pt x="56662" y="85728"/>
                  <a:pt x="65605" y="82374"/>
                  <a:pt x="72313" y="74549"/>
                </a:cubicBezTo>
                <a:lnTo>
                  <a:pt x="100261" y="146097"/>
                </a:lnTo>
                <a:cubicBezTo>
                  <a:pt x="100261" y="148333"/>
                  <a:pt x="102497" y="149451"/>
                  <a:pt x="104733" y="149451"/>
                </a:cubicBezTo>
                <a:cubicBezTo>
                  <a:pt x="106969" y="149451"/>
                  <a:pt x="108087" y="147215"/>
                  <a:pt x="108087" y="144979"/>
                </a:cubicBezTo>
                <a:cubicBezTo>
                  <a:pt x="108087" y="144979"/>
                  <a:pt x="108087" y="143861"/>
                  <a:pt x="108087" y="143861"/>
                </a:cubicBezTo>
                <a:lnTo>
                  <a:pt x="79020" y="71195"/>
                </a:lnTo>
                <a:lnTo>
                  <a:pt x="170691" y="61134"/>
                </a:lnTo>
                <a:lnTo>
                  <a:pt x="190814" y="72313"/>
                </a:lnTo>
                <a:cubicBezTo>
                  <a:pt x="191932" y="73431"/>
                  <a:pt x="193050" y="73431"/>
                  <a:pt x="194168" y="72313"/>
                </a:cubicBezTo>
                <a:lnTo>
                  <a:pt x="215409" y="60016"/>
                </a:lnTo>
                <a:cubicBezTo>
                  <a:pt x="218763" y="60016"/>
                  <a:pt x="219881" y="57780"/>
                  <a:pt x="218763" y="55544"/>
                </a:cubicBezTo>
                <a:close/>
                <a:moveTo>
                  <a:pt x="32067" y="185225"/>
                </a:moveTo>
                <a:lnTo>
                  <a:pt x="32067" y="163984"/>
                </a:lnTo>
                <a:lnTo>
                  <a:pt x="153922" y="163984"/>
                </a:lnTo>
                <a:lnTo>
                  <a:pt x="153922" y="185225"/>
                </a:lnTo>
                <a:lnTo>
                  <a:pt x="32067" y="185225"/>
                </a:lnTo>
                <a:close/>
                <a:moveTo>
                  <a:pt x="84610" y="47718"/>
                </a:moveTo>
                <a:cubicBezTo>
                  <a:pt x="84610" y="42129"/>
                  <a:pt x="83492" y="35421"/>
                  <a:pt x="80138" y="30949"/>
                </a:cubicBezTo>
                <a:lnTo>
                  <a:pt x="168455" y="39893"/>
                </a:lnTo>
                <a:lnTo>
                  <a:pt x="168455" y="54426"/>
                </a:lnTo>
                <a:lnTo>
                  <a:pt x="81256" y="63369"/>
                </a:lnTo>
                <a:cubicBezTo>
                  <a:pt x="83492" y="57780"/>
                  <a:pt x="84610" y="53308"/>
                  <a:pt x="84610" y="47718"/>
                </a:cubicBezTo>
                <a:close/>
                <a:moveTo>
                  <a:pt x="76785" y="47718"/>
                </a:moveTo>
                <a:cubicBezTo>
                  <a:pt x="76785" y="64487"/>
                  <a:pt x="63369" y="77903"/>
                  <a:pt x="46600" y="77903"/>
                </a:cubicBezTo>
                <a:cubicBezTo>
                  <a:pt x="29831" y="77903"/>
                  <a:pt x="17534" y="64487"/>
                  <a:pt x="17534" y="47718"/>
                </a:cubicBezTo>
                <a:cubicBezTo>
                  <a:pt x="17534" y="30949"/>
                  <a:pt x="30949" y="17534"/>
                  <a:pt x="47718" y="17534"/>
                </a:cubicBezTo>
                <a:cubicBezTo>
                  <a:pt x="64487" y="17534"/>
                  <a:pt x="76785" y="30949"/>
                  <a:pt x="76785" y="47718"/>
                </a:cubicBezTo>
                <a:close/>
              </a:path>
            </a:pathLst>
          </a:custGeom>
          <a:solidFill>
            <a:schemeClr val="accent1"/>
          </a:solidFill>
          <a:ln w="11029" cap="flat">
            <a:noFill/>
            <a:prstDash val="solid"/>
            <a:miter/>
          </a:ln>
        </p:spPr>
        <p:txBody>
          <a:bodyPr/>
          <a:lstStyle/>
          <a:p>
            <a:pPr defTabSz="932418"/>
            <a:endParaRPr lang="en-US" sz="1836">
              <a:solidFill>
                <a:srgbClr val="505050"/>
              </a:solidFill>
              <a:latin typeface="Segoe UI"/>
            </a:endParaRPr>
          </a:p>
        </p:txBody>
      </p:sp>
      <p:sp>
        <p:nvSpPr>
          <p:cNvPr id="280" name="Freeform: Shape 279">
            <a:extLst>
              <a:ext uri="{FF2B5EF4-FFF2-40B4-BE49-F238E27FC236}">
                <a16:creationId xmlns:a16="http://schemas.microsoft.com/office/drawing/2014/main" id="{CD467C3C-91DD-4C7D-A313-5EC9ED99C8D2}"/>
              </a:ext>
            </a:extLst>
          </p:cNvPr>
          <p:cNvSpPr/>
          <p:nvPr/>
        </p:nvSpPr>
        <p:spPr>
          <a:xfrm>
            <a:off x="9338538" y="2827383"/>
            <a:ext cx="332262" cy="252854"/>
          </a:xfrm>
          <a:custGeom>
            <a:avLst/>
            <a:gdLst/>
            <a:ahLst/>
            <a:cxnLst/>
            <a:rect l="0" t="0" r="0" b="0"/>
            <a:pathLst>
              <a:path w="4543425" h="3457575">
                <a:moveTo>
                  <a:pt x="3112294" y="3214211"/>
                </a:moveTo>
                <a:lnTo>
                  <a:pt x="4473416" y="3214211"/>
                </a:lnTo>
                <a:cubicBezTo>
                  <a:pt x="4510564" y="3214211"/>
                  <a:pt x="4540091" y="3184684"/>
                  <a:pt x="4540091" y="3147536"/>
                </a:cubicBezTo>
                <a:cubicBezTo>
                  <a:pt x="4540091" y="3110389"/>
                  <a:pt x="4510564" y="3080861"/>
                  <a:pt x="4473416" y="3080861"/>
                </a:cubicBezTo>
                <a:lnTo>
                  <a:pt x="3178969" y="3080861"/>
                </a:lnTo>
                <a:lnTo>
                  <a:pt x="3178969" y="73819"/>
                </a:lnTo>
                <a:cubicBezTo>
                  <a:pt x="3178969" y="37624"/>
                  <a:pt x="3149441" y="7144"/>
                  <a:pt x="3112294" y="7144"/>
                </a:cubicBezTo>
                <a:cubicBezTo>
                  <a:pt x="3075146" y="7144"/>
                  <a:pt x="3045619" y="36671"/>
                  <a:pt x="3045619" y="73819"/>
                </a:cubicBezTo>
                <a:lnTo>
                  <a:pt x="3045619" y="1393031"/>
                </a:lnTo>
                <a:lnTo>
                  <a:pt x="2506504" y="343376"/>
                </a:lnTo>
                <a:cubicBezTo>
                  <a:pt x="2495074" y="321469"/>
                  <a:pt x="2472214" y="307181"/>
                  <a:pt x="2447449" y="307181"/>
                </a:cubicBezTo>
                <a:lnTo>
                  <a:pt x="1220629" y="307181"/>
                </a:lnTo>
                <a:cubicBezTo>
                  <a:pt x="1183481" y="307181"/>
                  <a:pt x="1153954" y="336709"/>
                  <a:pt x="1153954" y="373856"/>
                </a:cubicBezTo>
                <a:lnTo>
                  <a:pt x="1153954" y="1695926"/>
                </a:lnTo>
                <a:lnTo>
                  <a:pt x="73819" y="1695926"/>
                </a:lnTo>
                <a:cubicBezTo>
                  <a:pt x="36671" y="1695926"/>
                  <a:pt x="7144" y="1725454"/>
                  <a:pt x="7144" y="1762601"/>
                </a:cubicBezTo>
                <a:lnTo>
                  <a:pt x="7144" y="2993231"/>
                </a:lnTo>
                <a:cubicBezTo>
                  <a:pt x="7144" y="3029426"/>
                  <a:pt x="36671" y="3059906"/>
                  <a:pt x="73819" y="3059906"/>
                </a:cubicBezTo>
                <a:lnTo>
                  <a:pt x="264319" y="3059906"/>
                </a:lnTo>
                <a:lnTo>
                  <a:pt x="266224" y="3072289"/>
                </a:lnTo>
                <a:cubicBezTo>
                  <a:pt x="291941" y="3288506"/>
                  <a:pt x="474821" y="3451384"/>
                  <a:pt x="691039" y="3451384"/>
                </a:cubicBezTo>
                <a:cubicBezTo>
                  <a:pt x="908209" y="3451384"/>
                  <a:pt x="1091089" y="3288506"/>
                  <a:pt x="1116806" y="3072289"/>
                </a:cubicBezTo>
                <a:lnTo>
                  <a:pt x="1118711" y="3059906"/>
                </a:lnTo>
                <a:lnTo>
                  <a:pt x="2053114" y="3059906"/>
                </a:lnTo>
                <a:lnTo>
                  <a:pt x="2055019" y="3072289"/>
                </a:lnTo>
                <a:cubicBezTo>
                  <a:pt x="2080736" y="3288506"/>
                  <a:pt x="2263616" y="3451384"/>
                  <a:pt x="2479834" y="3451384"/>
                </a:cubicBezTo>
                <a:cubicBezTo>
                  <a:pt x="2697004" y="3451384"/>
                  <a:pt x="2879884" y="3288506"/>
                  <a:pt x="2905601" y="3072289"/>
                </a:cubicBezTo>
                <a:lnTo>
                  <a:pt x="2907506" y="3059906"/>
                </a:lnTo>
                <a:lnTo>
                  <a:pt x="3045619" y="3059906"/>
                </a:lnTo>
                <a:lnTo>
                  <a:pt x="3045619" y="3148489"/>
                </a:lnTo>
                <a:cubicBezTo>
                  <a:pt x="3045619" y="3183731"/>
                  <a:pt x="3075146" y="3214211"/>
                  <a:pt x="3112294" y="3214211"/>
                </a:cubicBezTo>
                <a:close/>
                <a:moveTo>
                  <a:pt x="900589" y="3231356"/>
                </a:moveTo>
                <a:cubicBezTo>
                  <a:pt x="844391" y="3287554"/>
                  <a:pt x="770096" y="3318034"/>
                  <a:pt x="690086" y="3318034"/>
                </a:cubicBezTo>
                <a:cubicBezTo>
                  <a:pt x="526256" y="3318034"/>
                  <a:pt x="392906" y="3184684"/>
                  <a:pt x="392906" y="3021806"/>
                </a:cubicBezTo>
                <a:cubicBezTo>
                  <a:pt x="392906" y="3006566"/>
                  <a:pt x="394811" y="2992279"/>
                  <a:pt x="397669" y="2977991"/>
                </a:cubicBezTo>
                <a:lnTo>
                  <a:pt x="398621" y="2973229"/>
                </a:lnTo>
                <a:cubicBezTo>
                  <a:pt x="399574" y="2966561"/>
                  <a:pt x="400526" y="2959894"/>
                  <a:pt x="402431" y="2953226"/>
                </a:cubicBezTo>
                <a:cubicBezTo>
                  <a:pt x="405289" y="2941796"/>
                  <a:pt x="409099" y="2931319"/>
                  <a:pt x="411956" y="2922746"/>
                </a:cubicBezTo>
                <a:lnTo>
                  <a:pt x="413861" y="2917984"/>
                </a:lnTo>
                <a:cubicBezTo>
                  <a:pt x="415766" y="2912269"/>
                  <a:pt x="418624" y="2905601"/>
                  <a:pt x="421481" y="2898934"/>
                </a:cubicBezTo>
                <a:cubicBezTo>
                  <a:pt x="425291" y="2890361"/>
                  <a:pt x="430054" y="2882741"/>
                  <a:pt x="433864" y="2876074"/>
                </a:cubicBezTo>
                <a:lnTo>
                  <a:pt x="437674" y="2869406"/>
                </a:lnTo>
                <a:cubicBezTo>
                  <a:pt x="441484" y="2862739"/>
                  <a:pt x="445294" y="2856071"/>
                  <a:pt x="450056" y="2850356"/>
                </a:cubicBezTo>
                <a:cubicBezTo>
                  <a:pt x="453866" y="2844641"/>
                  <a:pt x="457676" y="2839879"/>
                  <a:pt x="462439" y="2835116"/>
                </a:cubicBezTo>
                <a:lnTo>
                  <a:pt x="469106" y="2827496"/>
                </a:lnTo>
                <a:cubicBezTo>
                  <a:pt x="474821" y="2820829"/>
                  <a:pt x="480536" y="2814161"/>
                  <a:pt x="487204" y="2807494"/>
                </a:cubicBezTo>
                <a:cubicBezTo>
                  <a:pt x="491014" y="2803684"/>
                  <a:pt x="494824" y="2800826"/>
                  <a:pt x="498634" y="2797969"/>
                </a:cubicBezTo>
                <a:cubicBezTo>
                  <a:pt x="500539" y="2797016"/>
                  <a:pt x="502444" y="2795111"/>
                  <a:pt x="503396" y="2794159"/>
                </a:cubicBezTo>
                <a:lnTo>
                  <a:pt x="506254" y="2791301"/>
                </a:lnTo>
                <a:cubicBezTo>
                  <a:pt x="513874" y="2785586"/>
                  <a:pt x="521494" y="2778919"/>
                  <a:pt x="530066" y="2773204"/>
                </a:cubicBezTo>
                <a:cubicBezTo>
                  <a:pt x="534829" y="2770346"/>
                  <a:pt x="538639" y="2768441"/>
                  <a:pt x="543401" y="2765584"/>
                </a:cubicBezTo>
                <a:cubicBezTo>
                  <a:pt x="545306" y="2764631"/>
                  <a:pt x="547211" y="2763679"/>
                  <a:pt x="549116" y="2762726"/>
                </a:cubicBezTo>
                <a:lnTo>
                  <a:pt x="552926" y="2760821"/>
                </a:lnTo>
                <a:cubicBezTo>
                  <a:pt x="561499" y="2756059"/>
                  <a:pt x="570071" y="2751296"/>
                  <a:pt x="579596" y="2747486"/>
                </a:cubicBezTo>
                <a:cubicBezTo>
                  <a:pt x="586264" y="2744629"/>
                  <a:pt x="593884" y="2742724"/>
                  <a:pt x="600551" y="2740819"/>
                </a:cubicBezTo>
                <a:lnTo>
                  <a:pt x="606266" y="2738914"/>
                </a:lnTo>
                <a:cubicBezTo>
                  <a:pt x="608171" y="2737961"/>
                  <a:pt x="611029" y="2737009"/>
                  <a:pt x="613886" y="2736056"/>
                </a:cubicBezTo>
                <a:cubicBezTo>
                  <a:pt x="620554" y="2734151"/>
                  <a:pt x="627221" y="2731294"/>
                  <a:pt x="633889" y="2730341"/>
                </a:cubicBezTo>
                <a:cubicBezTo>
                  <a:pt x="673894" y="2722721"/>
                  <a:pt x="710089" y="2722721"/>
                  <a:pt x="750094" y="2730341"/>
                </a:cubicBezTo>
                <a:cubicBezTo>
                  <a:pt x="757714" y="2732246"/>
                  <a:pt x="763429" y="2734151"/>
                  <a:pt x="770096" y="2736056"/>
                </a:cubicBezTo>
                <a:cubicBezTo>
                  <a:pt x="772954" y="2737009"/>
                  <a:pt x="774859" y="2737961"/>
                  <a:pt x="777716" y="2738914"/>
                </a:cubicBezTo>
                <a:cubicBezTo>
                  <a:pt x="780574" y="2739866"/>
                  <a:pt x="782479" y="2739866"/>
                  <a:pt x="785336" y="2740819"/>
                </a:cubicBezTo>
                <a:cubicBezTo>
                  <a:pt x="791051" y="2742724"/>
                  <a:pt x="797719" y="2744629"/>
                  <a:pt x="804386" y="2746534"/>
                </a:cubicBezTo>
                <a:cubicBezTo>
                  <a:pt x="813911" y="2750344"/>
                  <a:pt x="821531" y="2755106"/>
                  <a:pt x="830104" y="2758916"/>
                </a:cubicBezTo>
                <a:lnTo>
                  <a:pt x="839629" y="2763679"/>
                </a:lnTo>
                <a:cubicBezTo>
                  <a:pt x="844391" y="2765584"/>
                  <a:pt x="849154" y="2768441"/>
                  <a:pt x="853916" y="2771299"/>
                </a:cubicBezTo>
                <a:cubicBezTo>
                  <a:pt x="862489" y="2777014"/>
                  <a:pt x="870109" y="2782729"/>
                  <a:pt x="877729" y="2789396"/>
                </a:cubicBezTo>
                <a:lnTo>
                  <a:pt x="881539" y="2792254"/>
                </a:lnTo>
                <a:cubicBezTo>
                  <a:pt x="883444" y="2793206"/>
                  <a:pt x="884396" y="2795111"/>
                  <a:pt x="886301" y="2796064"/>
                </a:cubicBezTo>
                <a:cubicBezTo>
                  <a:pt x="890111" y="2798921"/>
                  <a:pt x="893921" y="2801779"/>
                  <a:pt x="897731" y="2805589"/>
                </a:cubicBezTo>
                <a:cubicBezTo>
                  <a:pt x="904399" y="2812256"/>
                  <a:pt x="910114" y="2818924"/>
                  <a:pt x="915829" y="2825591"/>
                </a:cubicBezTo>
                <a:lnTo>
                  <a:pt x="922496" y="2833211"/>
                </a:lnTo>
                <a:cubicBezTo>
                  <a:pt x="926306" y="2837974"/>
                  <a:pt x="930116" y="2842736"/>
                  <a:pt x="933926" y="2847499"/>
                </a:cubicBezTo>
                <a:cubicBezTo>
                  <a:pt x="938689" y="2854166"/>
                  <a:pt x="942499" y="2860834"/>
                  <a:pt x="946309" y="2867501"/>
                </a:cubicBezTo>
                <a:lnTo>
                  <a:pt x="951071" y="2875121"/>
                </a:lnTo>
                <a:cubicBezTo>
                  <a:pt x="954881" y="2881789"/>
                  <a:pt x="958691" y="2888456"/>
                  <a:pt x="962501" y="2896076"/>
                </a:cubicBezTo>
                <a:cubicBezTo>
                  <a:pt x="965359" y="2902744"/>
                  <a:pt x="968216" y="2910364"/>
                  <a:pt x="971074" y="2917031"/>
                </a:cubicBezTo>
                <a:lnTo>
                  <a:pt x="972026" y="2920841"/>
                </a:lnTo>
                <a:cubicBezTo>
                  <a:pt x="975836" y="2930366"/>
                  <a:pt x="978694" y="2939891"/>
                  <a:pt x="980599" y="2949416"/>
                </a:cubicBezTo>
                <a:cubicBezTo>
                  <a:pt x="982504" y="2957989"/>
                  <a:pt x="984409" y="2966561"/>
                  <a:pt x="985361" y="2975134"/>
                </a:cubicBezTo>
                <a:lnTo>
                  <a:pt x="986314" y="2979896"/>
                </a:lnTo>
                <a:cubicBezTo>
                  <a:pt x="988219" y="2992279"/>
                  <a:pt x="990124" y="3005614"/>
                  <a:pt x="990124" y="3018949"/>
                </a:cubicBezTo>
                <a:cubicBezTo>
                  <a:pt x="988219" y="3100864"/>
                  <a:pt x="956786" y="3175159"/>
                  <a:pt x="900589" y="3231356"/>
                </a:cubicBezTo>
                <a:close/>
                <a:moveTo>
                  <a:pt x="1779746" y="2926556"/>
                </a:moveTo>
                <a:lnTo>
                  <a:pt x="1111091" y="2926556"/>
                </a:lnTo>
                <a:lnTo>
                  <a:pt x="1108234" y="2916079"/>
                </a:lnTo>
                <a:cubicBezTo>
                  <a:pt x="1105376" y="2905601"/>
                  <a:pt x="1101566" y="2895124"/>
                  <a:pt x="1097756" y="2884646"/>
                </a:cubicBezTo>
                <a:cubicBezTo>
                  <a:pt x="1096804" y="2881789"/>
                  <a:pt x="1094899" y="2877979"/>
                  <a:pt x="1093946" y="2875121"/>
                </a:cubicBezTo>
                <a:cubicBezTo>
                  <a:pt x="1092994" y="2871311"/>
                  <a:pt x="1091089" y="2867501"/>
                  <a:pt x="1090136" y="2864644"/>
                </a:cubicBezTo>
                <a:cubicBezTo>
                  <a:pt x="1088231" y="2859881"/>
                  <a:pt x="1087279" y="2856071"/>
                  <a:pt x="1085374" y="2851309"/>
                </a:cubicBezTo>
                <a:cubicBezTo>
                  <a:pt x="1075849" y="2828449"/>
                  <a:pt x="1063466" y="2806541"/>
                  <a:pt x="1050131" y="2786539"/>
                </a:cubicBezTo>
                <a:cubicBezTo>
                  <a:pt x="1046321" y="2780824"/>
                  <a:pt x="1042511" y="2776061"/>
                  <a:pt x="1037749" y="2770346"/>
                </a:cubicBezTo>
                <a:cubicBezTo>
                  <a:pt x="1034891" y="2766536"/>
                  <a:pt x="1032034" y="2763679"/>
                  <a:pt x="1029176" y="2759869"/>
                </a:cubicBezTo>
                <a:lnTo>
                  <a:pt x="1024414" y="2754154"/>
                </a:lnTo>
                <a:cubicBezTo>
                  <a:pt x="1016794" y="2744629"/>
                  <a:pt x="1010126" y="2735104"/>
                  <a:pt x="1001554" y="2727484"/>
                </a:cubicBezTo>
                <a:cubicBezTo>
                  <a:pt x="994886" y="2719864"/>
                  <a:pt x="987266" y="2713196"/>
                  <a:pt x="978694" y="2706529"/>
                </a:cubicBezTo>
                <a:lnTo>
                  <a:pt x="972979" y="2701766"/>
                </a:lnTo>
                <a:cubicBezTo>
                  <a:pt x="963454" y="2694146"/>
                  <a:pt x="953929" y="2685574"/>
                  <a:pt x="943451" y="2677954"/>
                </a:cubicBezTo>
                <a:cubicBezTo>
                  <a:pt x="933926" y="2671286"/>
                  <a:pt x="923449" y="2663666"/>
                  <a:pt x="911066" y="2656999"/>
                </a:cubicBezTo>
                <a:cubicBezTo>
                  <a:pt x="900589" y="2650331"/>
                  <a:pt x="889159" y="2644616"/>
                  <a:pt x="875824" y="2637949"/>
                </a:cubicBezTo>
                <a:cubicBezTo>
                  <a:pt x="864394" y="2632234"/>
                  <a:pt x="853916" y="2627471"/>
                  <a:pt x="842486" y="2622709"/>
                </a:cubicBezTo>
                <a:cubicBezTo>
                  <a:pt x="828199" y="2616994"/>
                  <a:pt x="812006" y="2613184"/>
                  <a:pt x="797719" y="2608421"/>
                </a:cubicBezTo>
                <a:cubicBezTo>
                  <a:pt x="794861" y="2607469"/>
                  <a:pt x="792004" y="2606516"/>
                  <a:pt x="788194" y="2605564"/>
                </a:cubicBezTo>
                <a:cubicBezTo>
                  <a:pt x="781526" y="2603659"/>
                  <a:pt x="774859" y="2601754"/>
                  <a:pt x="768191" y="2600801"/>
                </a:cubicBezTo>
                <a:cubicBezTo>
                  <a:pt x="711994" y="2590324"/>
                  <a:pt x="665321" y="2590324"/>
                  <a:pt x="608171" y="2600801"/>
                </a:cubicBezTo>
                <a:cubicBezTo>
                  <a:pt x="601504" y="2601754"/>
                  <a:pt x="595789" y="2603659"/>
                  <a:pt x="588169" y="2605564"/>
                </a:cubicBezTo>
                <a:cubicBezTo>
                  <a:pt x="585311" y="2606516"/>
                  <a:pt x="581501" y="2607469"/>
                  <a:pt x="578644" y="2608421"/>
                </a:cubicBezTo>
                <a:cubicBezTo>
                  <a:pt x="564356" y="2612231"/>
                  <a:pt x="549116" y="2616994"/>
                  <a:pt x="533876" y="2622709"/>
                </a:cubicBezTo>
                <a:cubicBezTo>
                  <a:pt x="522446" y="2627471"/>
                  <a:pt x="511016" y="2632234"/>
                  <a:pt x="500539" y="2637949"/>
                </a:cubicBezTo>
                <a:cubicBezTo>
                  <a:pt x="487204" y="2644616"/>
                  <a:pt x="476726" y="2650331"/>
                  <a:pt x="466249" y="2656999"/>
                </a:cubicBezTo>
                <a:cubicBezTo>
                  <a:pt x="453866" y="2664619"/>
                  <a:pt x="443389" y="2671286"/>
                  <a:pt x="433864" y="2678906"/>
                </a:cubicBezTo>
                <a:cubicBezTo>
                  <a:pt x="424339" y="2685574"/>
                  <a:pt x="415766" y="2693194"/>
                  <a:pt x="405289" y="2702719"/>
                </a:cubicBezTo>
                <a:lnTo>
                  <a:pt x="401479" y="2705576"/>
                </a:lnTo>
                <a:cubicBezTo>
                  <a:pt x="392906" y="2713196"/>
                  <a:pt x="384334" y="2720816"/>
                  <a:pt x="376714" y="2728436"/>
                </a:cubicBezTo>
                <a:cubicBezTo>
                  <a:pt x="368141" y="2737009"/>
                  <a:pt x="360521" y="2747486"/>
                  <a:pt x="351949" y="2757964"/>
                </a:cubicBezTo>
                <a:lnTo>
                  <a:pt x="349091" y="2761774"/>
                </a:lnTo>
                <a:cubicBezTo>
                  <a:pt x="346234" y="2764631"/>
                  <a:pt x="344329" y="2768441"/>
                  <a:pt x="341471" y="2771299"/>
                </a:cubicBezTo>
                <a:cubicBezTo>
                  <a:pt x="336709" y="2777014"/>
                  <a:pt x="331946" y="2781776"/>
                  <a:pt x="329089" y="2787491"/>
                </a:cubicBezTo>
                <a:cubicBezTo>
                  <a:pt x="315754" y="2807494"/>
                  <a:pt x="303371" y="2830354"/>
                  <a:pt x="292894" y="2853214"/>
                </a:cubicBezTo>
                <a:cubicBezTo>
                  <a:pt x="290989" y="2857024"/>
                  <a:pt x="290036" y="2860834"/>
                  <a:pt x="289084" y="2864644"/>
                </a:cubicBezTo>
                <a:cubicBezTo>
                  <a:pt x="288131" y="2867501"/>
                  <a:pt x="287179" y="2871311"/>
                  <a:pt x="286226" y="2874169"/>
                </a:cubicBezTo>
                <a:lnTo>
                  <a:pt x="282416" y="2883694"/>
                </a:lnTo>
                <a:cubicBezTo>
                  <a:pt x="277654" y="2895124"/>
                  <a:pt x="273844" y="2906554"/>
                  <a:pt x="270986" y="2917984"/>
                </a:cubicBezTo>
                <a:lnTo>
                  <a:pt x="268129" y="2928461"/>
                </a:lnTo>
                <a:lnTo>
                  <a:pt x="140494" y="2928461"/>
                </a:lnTo>
                <a:lnTo>
                  <a:pt x="140494" y="1828324"/>
                </a:lnTo>
                <a:lnTo>
                  <a:pt x="1439704" y="1828324"/>
                </a:lnTo>
                <a:lnTo>
                  <a:pt x="1779746" y="2554129"/>
                </a:lnTo>
                <a:lnTo>
                  <a:pt x="1779746" y="2926556"/>
                </a:lnTo>
                <a:close/>
                <a:moveTo>
                  <a:pt x="1782604" y="2247424"/>
                </a:moveTo>
                <a:lnTo>
                  <a:pt x="1542574" y="1734026"/>
                </a:lnTo>
                <a:cubicBezTo>
                  <a:pt x="1532096" y="1711166"/>
                  <a:pt x="1508284" y="1695926"/>
                  <a:pt x="1482566" y="1695926"/>
                </a:cubicBezTo>
                <a:lnTo>
                  <a:pt x="1288256" y="1695926"/>
                </a:lnTo>
                <a:lnTo>
                  <a:pt x="1288256" y="439579"/>
                </a:lnTo>
                <a:lnTo>
                  <a:pt x="2407444" y="439579"/>
                </a:lnTo>
                <a:lnTo>
                  <a:pt x="2981801" y="1557814"/>
                </a:lnTo>
                <a:lnTo>
                  <a:pt x="2967514" y="1563529"/>
                </a:lnTo>
                <a:cubicBezTo>
                  <a:pt x="2965609" y="1564481"/>
                  <a:pt x="2963704" y="1565434"/>
                  <a:pt x="2960846" y="1565434"/>
                </a:cubicBezTo>
                <a:cubicBezTo>
                  <a:pt x="2959894" y="1565434"/>
                  <a:pt x="2958941" y="1565434"/>
                  <a:pt x="2958941" y="1566386"/>
                </a:cubicBezTo>
                <a:cubicBezTo>
                  <a:pt x="2836069" y="1639729"/>
                  <a:pt x="2687479" y="1726406"/>
                  <a:pt x="2530316" y="1818799"/>
                </a:cubicBezTo>
                <a:lnTo>
                  <a:pt x="2517934" y="1826419"/>
                </a:lnTo>
                <a:lnTo>
                  <a:pt x="2510314" y="1814036"/>
                </a:lnTo>
                <a:cubicBezTo>
                  <a:pt x="2490311" y="1779746"/>
                  <a:pt x="2472214" y="1747361"/>
                  <a:pt x="2454116" y="1715929"/>
                </a:cubicBezTo>
                <a:lnTo>
                  <a:pt x="2409349" y="1638776"/>
                </a:lnTo>
                <a:lnTo>
                  <a:pt x="2421731" y="1631156"/>
                </a:lnTo>
                <a:cubicBezTo>
                  <a:pt x="2456021" y="1611154"/>
                  <a:pt x="2489359" y="1591151"/>
                  <a:pt x="2523649" y="1572101"/>
                </a:cubicBezTo>
                <a:cubicBezTo>
                  <a:pt x="2538889" y="1563529"/>
                  <a:pt x="2550319" y="1548289"/>
                  <a:pt x="2554129" y="1531144"/>
                </a:cubicBezTo>
                <a:cubicBezTo>
                  <a:pt x="2558891" y="1513999"/>
                  <a:pt x="2556034" y="1495901"/>
                  <a:pt x="2547461" y="1480661"/>
                </a:cubicBezTo>
                <a:cubicBezTo>
                  <a:pt x="2528411" y="1449229"/>
                  <a:pt x="2488406" y="1438751"/>
                  <a:pt x="2456021" y="1456849"/>
                </a:cubicBezTo>
                <a:cubicBezTo>
                  <a:pt x="2320766" y="1535906"/>
                  <a:pt x="2201704" y="1605439"/>
                  <a:pt x="2101691" y="1662589"/>
                </a:cubicBezTo>
                <a:cubicBezTo>
                  <a:pt x="2086451" y="1671161"/>
                  <a:pt x="2075021" y="1685449"/>
                  <a:pt x="2071211" y="1702594"/>
                </a:cubicBezTo>
                <a:cubicBezTo>
                  <a:pt x="2067401" y="1719739"/>
                  <a:pt x="2069306" y="1737836"/>
                  <a:pt x="2077879" y="1753076"/>
                </a:cubicBezTo>
                <a:cubicBezTo>
                  <a:pt x="2089309" y="1774031"/>
                  <a:pt x="2112169" y="1786414"/>
                  <a:pt x="2135981" y="1786414"/>
                </a:cubicBezTo>
                <a:cubicBezTo>
                  <a:pt x="2147411" y="1786414"/>
                  <a:pt x="2158841" y="1783556"/>
                  <a:pt x="2169319" y="1777841"/>
                </a:cubicBezTo>
                <a:cubicBezTo>
                  <a:pt x="2205514" y="1756886"/>
                  <a:pt x="2243614" y="1734979"/>
                  <a:pt x="2282666" y="1712119"/>
                </a:cubicBezTo>
                <a:lnTo>
                  <a:pt x="2295049" y="1704499"/>
                </a:lnTo>
                <a:lnTo>
                  <a:pt x="2330291" y="1766411"/>
                </a:lnTo>
                <a:cubicBezTo>
                  <a:pt x="2351246" y="1803559"/>
                  <a:pt x="2372201" y="1839754"/>
                  <a:pt x="2396014" y="1880711"/>
                </a:cubicBezTo>
                <a:lnTo>
                  <a:pt x="2403634" y="1893094"/>
                </a:lnTo>
                <a:lnTo>
                  <a:pt x="2391251" y="1900714"/>
                </a:lnTo>
                <a:cubicBezTo>
                  <a:pt x="2161699" y="2035016"/>
                  <a:pt x="1872139" y="2201704"/>
                  <a:pt x="1795939" y="2240756"/>
                </a:cubicBezTo>
                <a:lnTo>
                  <a:pt x="1782604" y="2247424"/>
                </a:lnTo>
                <a:close/>
                <a:moveTo>
                  <a:pt x="2478881" y="3318034"/>
                </a:moveTo>
                <a:cubicBezTo>
                  <a:pt x="2315051" y="3318034"/>
                  <a:pt x="2181701" y="3184684"/>
                  <a:pt x="2181701" y="3021806"/>
                </a:cubicBezTo>
                <a:cubicBezTo>
                  <a:pt x="2181701" y="3008471"/>
                  <a:pt x="2183606" y="2996089"/>
                  <a:pt x="2185511" y="2983706"/>
                </a:cubicBezTo>
                <a:lnTo>
                  <a:pt x="2186464" y="2978944"/>
                </a:lnTo>
                <a:cubicBezTo>
                  <a:pt x="2187416" y="2970371"/>
                  <a:pt x="2189321" y="2960846"/>
                  <a:pt x="2191226" y="2952274"/>
                </a:cubicBezTo>
                <a:cubicBezTo>
                  <a:pt x="2193131" y="2942749"/>
                  <a:pt x="2196941" y="2934176"/>
                  <a:pt x="2199799" y="2924651"/>
                </a:cubicBezTo>
                <a:lnTo>
                  <a:pt x="2200751" y="2920841"/>
                </a:lnTo>
                <a:cubicBezTo>
                  <a:pt x="2203609" y="2913221"/>
                  <a:pt x="2206466" y="2905601"/>
                  <a:pt x="2210276" y="2897029"/>
                </a:cubicBezTo>
                <a:cubicBezTo>
                  <a:pt x="2214086" y="2889409"/>
                  <a:pt x="2218849" y="2881789"/>
                  <a:pt x="2222659" y="2874169"/>
                </a:cubicBezTo>
                <a:lnTo>
                  <a:pt x="2224564" y="2870359"/>
                </a:lnTo>
                <a:cubicBezTo>
                  <a:pt x="2228374" y="2862739"/>
                  <a:pt x="2233136" y="2855119"/>
                  <a:pt x="2238851" y="2848451"/>
                </a:cubicBezTo>
                <a:cubicBezTo>
                  <a:pt x="2242661" y="2843689"/>
                  <a:pt x="2245519" y="2839879"/>
                  <a:pt x="2249329" y="2835116"/>
                </a:cubicBezTo>
                <a:cubicBezTo>
                  <a:pt x="2251234" y="2833211"/>
                  <a:pt x="2252186" y="2831306"/>
                  <a:pt x="2254091" y="2830354"/>
                </a:cubicBezTo>
                <a:lnTo>
                  <a:pt x="2255044" y="2829401"/>
                </a:lnTo>
                <a:cubicBezTo>
                  <a:pt x="2261711" y="2821781"/>
                  <a:pt x="2268379" y="2814161"/>
                  <a:pt x="2275999" y="2806541"/>
                </a:cubicBezTo>
                <a:cubicBezTo>
                  <a:pt x="2279809" y="2803684"/>
                  <a:pt x="2282666" y="2800826"/>
                  <a:pt x="2286476" y="2797969"/>
                </a:cubicBezTo>
                <a:cubicBezTo>
                  <a:pt x="2288381" y="2797016"/>
                  <a:pt x="2290286" y="2795111"/>
                  <a:pt x="2291239" y="2794159"/>
                </a:cubicBezTo>
                <a:lnTo>
                  <a:pt x="2293144" y="2792254"/>
                </a:lnTo>
                <a:cubicBezTo>
                  <a:pt x="2300764" y="2785586"/>
                  <a:pt x="2309336" y="2778919"/>
                  <a:pt x="2318861" y="2773204"/>
                </a:cubicBezTo>
                <a:cubicBezTo>
                  <a:pt x="2322671" y="2770346"/>
                  <a:pt x="2326481" y="2768441"/>
                  <a:pt x="2330291" y="2766536"/>
                </a:cubicBezTo>
                <a:cubicBezTo>
                  <a:pt x="2332196" y="2765584"/>
                  <a:pt x="2334101" y="2764631"/>
                  <a:pt x="2336959" y="2763679"/>
                </a:cubicBezTo>
                <a:lnTo>
                  <a:pt x="2341721" y="2760821"/>
                </a:lnTo>
                <a:cubicBezTo>
                  <a:pt x="2350294" y="2756059"/>
                  <a:pt x="2358866" y="2751296"/>
                  <a:pt x="2367439" y="2747486"/>
                </a:cubicBezTo>
                <a:cubicBezTo>
                  <a:pt x="2374106" y="2744629"/>
                  <a:pt x="2379821" y="2742724"/>
                  <a:pt x="2386489" y="2741771"/>
                </a:cubicBezTo>
                <a:cubicBezTo>
                  <a:pt x="2388394" y="2740819"/>
                  <a:pt x="2390299" y="2740819"/>
                  <a:pt x="2393156" y="2739866"/>
                </a:cubicBezTo>
                <a:cubicBezTo>
                  <a:pt x="2395061" y="2738914"/>
                  <a:pt x="2397919" y="2737961"/>
                  <a:pt x="2399824" y="2737961"/>
                </a:cubicBezTo>
                <a:cubicBezTo>
                  <a:pt x="2406491" y="2736056"/>
                  <a:pt x="2413159" y="2733199"/>
                  <a:pt x="2420779" y="2732246"/>
                </a:cubicBezTo>
                <a:cubicBezTo>
                  <a:pt x="2459831" y="2724626"/>
                  <a:pt x="2496979" y="2724626"/>
                  <a:pt x="2536031" y="2732246"/>
                </a:cubicBezTo>
                <a:cubicBezTo>
                  <a:pt x="2543651" y="2734151"/>
                  <a:pt x="2549366" y="2736056"/>
                  <a:pt x="2556034" y="2737961"/>
                </a:cubicBezTo>
                <a:cubicBezTo>
                  <a:pt x="2558891" y="2738914"/>
                  <a:pt x="2561749" y="2739866"/>
                  <a:pt x="2564606" y="2740819"/>
                </a:cubicBezTo>
                <a:cubicBezTo>
                  <a:pt x="2567464" y="2741771"/>
                  <a:pt x="2570321" y="2742724"/>
                  <a:pt x="2572226" y="2743676"/>
                </a:cubicBezTo>
                <a:cubicBezTo>
                  <a:pt x="2577941" y="2745581"/>
                  <a:pt x="2583656" y="2746534"/>
                  <a:pt x="2589371" y="2749391"/>
                </a:cubicBezTo>
                <a:cubicBezTo>
                  <a:pt x="2599849" y="2753201"/>
                  <a:pt x="2609374" y="2758916"/>
                  <a:pt x="2617946" y="2763679"/>
                </a:cubicBezTo>
                <a:lnTo>
                  <a:pt x="2620804" y="2765584"/>
                </a:lnTo>
                <a:cubicBezTo>
                  <a:pt x="2622709" y="2766536"/>
                  <a:pt x="2624614" y="2767489"/>
                  <a:pt x="2626519" y="2768441"/>
                </a:cubicBezTo>
                <a:cubicBezTo>
                  <a:pt x="2630329" y="2770346"/>
                  <a:pt x="2634139" y="2772251"/>
                  <a:pt x="2637949" y="2775109"/>
                </a:cubicBezTo>
                <a:cubicBezTo>
                  <a:pt x="2647474" y="2780824"/>
                  <a:pt x="2656046" y="2788444"/>
                  <a:pt x="2663666" y="2795111"/>
                </a:cubicBezTo>
                <a:lnTo>
                  <a:pt x="2665571" y="2797016"/>
                </a:lnTo>
                <a:cubicBezTo>
                  <a:pt x="2667476" y="2797969"/>
                  <a:pt x="2668429" y="2798921"/>
                  <a:pt x="2670334" y="2800826"/>
                </a:cubicBezTo>
                <a:cubicBezTo>
                  <a:pt x="2674144" y="2803684"/>
                  <a:pt x="2677954" y="2806541"/>
                  <a:pt x="2680811" y="2809399"/>
                </a:cubicBezTo>
                <a:cubicBezTo>
                  <a:pt x="2688431" y="2817019"/>
                  <a:pt x="2696051" y="2825591"/>
                  <a:pt x="2702719" y="2833211"/>
                </a:cubicBezTo>
                <a:lnTo>
                  <a:pt x="2707481" y="2837974"/>
                </a:lnTo>
                <a:cubicBezTo>
                  <a:pt x="2711291" y="2841784"/>
                  <a:pt x="2715101" y="2846546"/>
                  <a:pt x="2717959" y="2851309"/>
                </a:cubicBezTo>
                <a:cubicBezTo>
                  <a:pt x="2723674" y="2858929"/>
                  <a:pt x="2727484" y="2866549"/>
                  <a:pt x="2732246" y="2874169"/>
                </a:cubicBezTo>
                <a:lnTo>
                  <a:pt x="2737009" y="2881789"/>
                </a:lnTo>
                <a:cubicBezTo>
                  <a:pt x="2739866" y="2887504"/>
                  <a:pt x="2743676" y="2893219"/>
                  <a:pt x="2746534" y="2899886"/>
                </a:cubicBezTo>
                <a:cubicBezTo>
                  <a:pt x="2750344" y="2908459"/>
                  <a:pt x="2754154" y="2917984"/>
                  <a:pt x="2757011" y="2927509"/>
                </a:cubicBezTo>
                <a:cubicBezTo>
                  <a:pt x="2759869" y="2937034"/>
                  <a:pt x="2762726" y="2944654"/>
                  <a:pt x="2765584" y="2954179"/>
                </a:cubicBezTo>
                <a:cubicBezTo>
                  <a:pt x="2768441" y="2963704"/>
                  <a:pt x="2769394" y="2974181"/>
                  <a:pt x="2770346" y="2982754"/>
                </a:cubicBezTo>
                <a:lnTo>
                  <a:pt x="2771299" y="2987516"/>
                </a:lnTo>
                <a:cubicBezTo>
                  <a:pt x="2773204" y="2998946"/>
                  <a:pt x="2775109" y="3011329"/>
                  <a:pt x="2775109" y="3023711"/>
                </a:cubicBezTo>
                <a:cubicBezTo>
                  <a:pt x="2776061" y="3185636"/>
                  <a:pt x="2642711" y="3318034"/>
                  <a:pt x="2478881" y="3318034"/>
                </a:cubicBezTo>
                <a:close/>
                <a:moveTo>
                  <a:pt x="2898934" y="2926556"/>
                </a:moveTo>
                <a:lnTo>
                  <a:pt x="2896076" y="2916079"/>
                </a:lnTo>
                <a:cubicBezTo>
                  <a:pt x="2893219" y="2904649"/>
                  <a:pt x="2889409" y="2894171"/>
                  <a:pt x="2884646" y="2882741"/>
                </a:cubicBezTo>
                <a:lnTo>
                  <a:pt x="2881789" y="2875121"/>
                </a:lnTo>
                <a:cubicBezTo>
                  <a:pt x="2880836" y="2871311"/>
                  <a:pt x="2878931" y="2867501"/>
                  <a:pt x="2877979" y="2863691"/>
                </a:cubicBezTo>
                <a:cubicBezTo>
                  <a:pt x="2877026" y="2858929"/>
                  <a:pt x="2875121" y="2855119"/>
                  <a:pt x="2873216" y="2851309"/>
                </a:cubicBezTo>
                <a:cubicBezTo>
                  <a:pt x="2862739" y="2828449"/>
                  <a:pt x="2851309" y="2806541"/>
                  <a:pt x="2837974" y="2786539"/>
                </a:cubicBezTo>
                <a:cubicBezTo>
                  <a:pt x="2834164" y="2780824"/>
                  <a:pt x="2829401" y="2775109"/>
                  <a:pt x="2824639" y="2769394"/>
                </a:cubicBezTo>
                <a:cubicBezTo>
                  <a:pt x="2821781" y="2765584"/>
                  <a:pt x="2818924" y="2762726"/>
                  <a:pt x="2816066" y="2758916"/>
                </a:cubicBezTo>
                <a:lnTo>
                  <a:pt x="2810351" y="2752249"/>
                </a:lnTo>
                <a:cubicBezTo>
                  <a:pt x="2803684" y="2743676"/>
                  <a:pt x="2797016" y="2735104"/>
                  <a:pt x="2789396" y="2727484"/>
                </a:cubicBezTo>
                <a:cubicBezTo>
                  <a:pt x="2780824" y="2718911"/>
                  <a:pt x="2772251" y="2711291"/>
                  <a:pt x="2762726" y="2702719"/>
                </a:cubicBezTo>
                <a:lnTo>
                  <a:pt x="2759869" y="2700814"/>
                </a:lnTo>
                <a:cubicBezTo>
                  <a:pt x="2750344" y="2692241"/>
                  <a:pt x="2741771" y="2684621"/>
                  <a:pt x="2731294" y="2677954"/>
                </a:cubicBezTo>
                <a:cubicBezTo>
                  <a:pt x="2721769" y="2670334"/>
                  <a:pt x="2710339" y="2663666"/>
                  <a:pt x="2698909" y="2656046"/>
                </a:cubicBezTo>
                <a:cubicBezTo>
                  <a:pt x="2688431" y="2649379"/>
                  <a:pt x="2677954" y="2643664"/>
                  <a:pt x="2664619" y="2637949"/>
                </a:cubicBezTo>
                <a:cubicBezTo>
                  <a:pt x="2653189" y="2632234"/>
                  <a:pt x="2642711" y="2627471"/>
                  <a:pt x="2631281" y="2622709"/>
                </a:cubicBezTo>
                <a:cubicBezTo>
                  <a:pt x="2616994" y="2616994"/>
                  <a:pt x="2601754" y="2613184"/>
                  <a:pt x="2586514" y="2609374"/>
                </a:cubicBezTo>
                <a:cubicBezTo>
                  <a:pt x="2582704" y="2608421"/>
                  <a:pt x="2579846" y="2607469"/>
                  <a:pt x="2576036" y="2606516"/>
                </a:cubicBezTo>
                <a:cubicBezTo>
                  <a:pt x="2569369" y="2604611"/>
                  <a:pt x="2563654" y="2602706"/>
                  <a:pt x="2556986" y="2601754"/>
                </a:cubicBezTo>
                <a:cubicBezTo>
                  <a:pt x="2500789" y="2591276"/>
                  <a:pt x="2454116" y="2591276"/>
                  <a:pt x="2396966" y="2601754"/>
                </a:cubicBezTo>
                <a:cubicBezTo>
                  <a:pt x="2390299" y="2602706"/>
                  <a:pt x="2384584" y="2604611"/>
                  <a:pt x="2377916" y="2606516"/>
                </a:cubicBezTo>
                <a:cubicBezTo>
                  <a:pt x="2374106" y="2607469"/>
                  <a:pt x="2371249" y="2608421"/>
                  <a:pt x="2367439" y="2609374"/>
                </a:cubicBezTo>
                <a:cubicBezTo>
                  <a:pt x="2354104" y="2613184"/>
                  <a:pt x="2337911" y="2616994"/>
                  <a:pt x="2322671" y="2623661"/>
                </a:cubicBezTo>
                <a:cubicBezTo>
                  <a:pt x="2312194" y="2627471"/>
                  <a:pt x="2301716" y="2632234"/>
                  <a:pt x="2289334" y="2638901"/>
                </a:cubicBezTo>
                <a:cubicBezTo>
                  <a:pt x="2275046" y="2645569"/>
                  <a:pt x="2264569" y="2651284"/>
                  <a:pt x="2255044" y="2657951"/>
                </a:cubicBezTo>
                <a:cubicBezTo>
                  <a:pt x="2242661" y="2665571"/>
                  <a:pt x="2232184" y="2672239"/>
                  <a:pt x="2222659" y="2678906"/>
                </a:cubicBezTo>
                <a:cubicBezTo>
                  <a:pt x="2213134" y="2686526"/>
                  <a:pt x="2203609" y="2694146"/>
                  <a:pt x="2193131" y="2702719"/>
                </a:cubicBezTo>
                <a:lnTo>
                  <a:pt x="2187416" y="2707481"/>
                </a:lnTo>
                <a:cubicBezTo>
                  <a:pt x="2179796" y="2714149"/>
                  <a:pt x="2172176" y="2720816"/>
                  <a:pt x="2165509" y="2728436"/>
                </a:cubicBezTo>
                <a:cubicBezTo>
                  <a:pt x="2156936" y="2737009"/>
                  <a:pt x="2150269" y="2746534"/>
                  <a:pt x="2142649" y="2756059"/>
                </a:cubicBezTo>
                <a:lnTo>
                  <a:pt x="2137886" y="2761774"/>
                </a:lnTo>
                <a:cubicBezTo>
                  <a:pt x="2135029" y="2765584"/>
                  <a:pt x="2132171" y="2768441"/>
                  <a:pt x="2129314" y="2772251"/>
                </a:cubicBezTo>
                <a:cubicBezTo>
                  <a:pt x="2125504" y="2777014"/>
                  <a:pt x="2120741" y="2781776"/>
                  <a:pt x="2117884" y="2787491"/>
                </a:cubicBezTo>
                <a:cubicBezTo>
                  <a:pt x="2104549" y="2807494"/>
                  <a:pt x="2092166" y="2830354"/>
                  <a:pt x="2081689" y="2853214"/>
                </a:cubicBezTo>
                <a:cubicBezTo>
                  <a:pt x="2079784" y="2857024"/>
                  <a:pt x="2078831" y="2860834"/>
                  <a:pt x="2077879" y="2864644"/>
                </a:cubicBezTo>
                <a:cubicBezTo>
                  <a:pt x="2076926" y="2867501"/>
                  <a:pt x="2075974" y="2870359"/>
                  <a:pt x="2075021" y="2874169"/>
                </a:cubicBezTo>
                <a:lnTo>
                  <a:pt x="2072164" y="2882741"/>
                </a:lnTo>
                <a:cubicBezTo>
                  <a:pt x="2067401" y="2895124"/>
                  <a:pt x="2062639" y="2906554"/>
                  <a:pt x="2059781" y="2918936"/>
                </a:cubicBezTo>
                <a:lnTo>
                  <a:pt x="2056924" y="2929414"/>
                </a:lnTo>
                <a:lnTo>
                  <a:pt x="1912144" y="2929414"/>
                </a:lnTo>
                <a:lnTo>
                  <a:pt x="1912144" y="2542699"/>
                </a:lnTo>
                <a:cubicBezTo>
                  <a:pt x="1912144" y="2533174"/>
                  <a:pt x="1910239" y="2523649"/>
                  <a:pt x="1906429" y="2514124"/>
                </a:cubicBezTo>
                <a:lnTo>
                  <a:pt x="1837849" y="2367439"/>
                </a:lnTo>
                <a:lnTo>
                  <a:pt x="1850231" y="2361724"/>
                </a:lnTo>
                <a:cubicBezTo>
                  <a:pt x="1933099" y="2321719"/>
                  <a:pt x="2143601" y="2201704"/>
                  <a:pt x="2513171" y="1985486"/>
                </a:cubicBezTo>
                <a:lnTo>
                  <a:pt x="2516029" y="1984534"/>
                </a:lnTo>
                <a:cubicBezTo>
                  <a:pt x="2520791" y="1983581"/>
                  <a:pt x="2524601" y="1981676"/>
                  <a:pt x="2529364" y="1978819"/>
                </a:cubicBezTo>
                <a:cubicBezTo>
                  <a:pt x="2529364" y="1978819"/>
                  <a:pt x="2530316" y="1977866"/>
                  <a:pt x="2531269" y="1976914"/>
                </a:cubicBezTo>
                <a:cubicBezTo>
                  <a:pt x="2533174" y="1975009"/>
                  <a:pt x="2535079" y="1973104"/>
                  <a:pt x="2536984" y="1972151"/>
                </a:cubicBezTo>
                <a:lnTo>
                  <a:pt x="2537936" y="1971199"/>
                </a:lnTo>
                <a:cubicBezTo>
                  <a:pt x="2685574" y="1884521"/>
                  <a:pt x="2848451" y="1788319"/>
                  <a:pt x="3023711" y="1685449"/>
                </a:cubicBezTo>
                <a:lnTo>
                  <a:pt x="3045619" y="1673066"/>
                </a:lnTo>
                <a:lnTo>
                  <a:pt x="3045619" y="2930366"/>
                </a:lnTo>
                <a:lnTo>
                  <a:pt x="2898934" y="2930366"/>
                </a:lnTo>
                <a:close/>
              </a:path>
            </a:pathLst>
          </a:custGeom>
          <a:solidFill>
            <a:schemeClr val="accent1"/>
          </a:solidFill>
          <a:ln w="9525" cap="flat">
            <a:noFill/>
            <a:prstDash val="solid"/>
            <a:miter/>
          </a:ln>
        </p:spPr>
        <p:txBody>
          <a:bodyPr/>
          <a:lstStyle/>
          <a:p>
            <a:pPr defTabSz="932418"/>
            <a:endParaRPr lang="en-US" sz="1836">
              <a:solidFill>
                <a:srgbClr val="505050"/>
              </a:solidFill>
              <a:latin typeface="Segoe UI"/>
            </a:endParaRPr>
          </a:p>
        </p:txBody>
      </p:sp>
      <p:grpSp>
        <p:nvGrpSpPr>
          <p:cNvPr id="281" name="Group 280">
            <a:extLst>
              <a:ext uri="{FF2B5EF4-FFF2-40B4-BE49-F238E27FC236}">
                <a16:creationId xmlns:a16="http://schemas.microsoft.com/office/drawing/2014/main" id="{1C77B3DB-AC18-4106-9DAA-1CFF1DE65780}"/>
              </a:ext>
            </a:extLst>
          </p:cNvPr>
          <p:cNvGrpSpPr/>
          <p:nvPr/>
        </p:nvGrpSpPr>
        <p:grpSpPr>
          <a:xfrm>
            <a:off x="9335198" y="4498162"/>
            <a:ext cx="155048" cy="271334"/>
            <a:chOff x="2735447" y="6896867"/>
            <a:chExt cx="533400" cy="933450"/>
          </a:xfrm>
          <a:solidFill>
            <a:schemeClr val="accent1"/>
          </a:solidFill>
        </p:grpSpPr>
        <p:sp>
          <p:nvSpPr>
            <p:cNvPr id="282" name="Freeform: Shape 281">
              <a:extLst>
                <a:ext uri="{FF2B5EF4-FFF2-40B4-BE49-F238E27FC236}">
                  <a16:creationId xmlns:a16="http://schemas.microsoft.com/office/drawing/2014/main" id="{7F60C299-B0AC-4317-A0E6-94EE896B8AC9}"/>
                </a:ext>
              </a:extLst>
            </p:cNvPr>
            <p:cNvSpPr/>
            <p:nvPr/>
          </p:nvSpPr>
          <p:spPr>
            <a:xfrm>
              <a:off x="2735447" y="6896867"/>
              <a:ext cx="533400" cy="933450"/>
            </a:xfrm>
            <a:custGeom>
              <a:avLst/>
              <a:gdLst/>
              <a:ahLst/>
              <a:cxnLst/>
              <a:rect l="0" t="0" r="0" b="0"/>
              <a:pathLst>
                <a:path w="533400" h="933450">
                  <a:moveTo>
                    <a:pt x="511969" y="326231"/>
                  </a:moveTo>
                  <a:lnTo>
                    <a:pt x="511969" y="278606"/>
                  </a:lnTo>
                  <a:cubicBezTo>
                    <a:pt x="511969" y="228124"/>
                    <a:pt x="476726" y="185261"/>
                    <a:pt x="430054" y="172879"/>
                  </a:cubicBezTo>
                  <a:cubicBezTo>
                    <a:pt x="421481" y="148114"/>
                    <a:pt x="416719" y="109061"/>
                    <a:pt x="416719" y="78581"/>
                  </a:cubicBezTo>
                  <a:cubicBezTo>
                    <a:pt x="416719" y="39529"/>
                    <a:pt x="384334" y="7144"/>
                    <a:pt x="345281" y="7144"/>
                  </a:cubicBezTo>
                  <a:lnTo>
                    <a:pt x="173831" y="7144"/>
                  </a:lnTo>
                  <a:cubicBezTo>
                    <a:pt x="134779" y="7144"/>
                    <a:pt x="102394" y="39529"/>
                    <a:pt x="102394" y="78581"/>
                  </a:cubicBezTo>
                  <a:cubicBezTo>
                    <a:pt x="102394" y="109061"/>
                    <a:pt x="97631" y="148114"/>
                    <a:pt x="89059" y="172879"/>
                  </a:cubicBezTo>
                  <a:cubicBezTo>
                    <a:pt x="42386" y="185261"/>
                    <a:pt x="7144" y="228124"/>
                    <a:pt x="7144" y="278606"/>
                  </a:cubicBezTo>
                  <a:lnTo>
                    <a:pt x="7144" y="659606"/>
                  </a:lnTo>
                  <a:cubicBezTo>
                    <a:pt x="7144" y="710089"/>
                    <a:pt x="42386" y="752951"/>
                    <a:pt x="89059" y="765334"/>
                  </a:cubicBezTo>
                  <a:cubicBezTo>
                    <a:pt x="97631" y="790099"/>
                    <a:pt x="102394" y="829151"/>
                    <a:pt x="102394" y="859631"/>
                  </a:cubicBezTo>
                  <a:cubicBezTo>
                    <a:pt x="102394" y="898684"/>
                    <a:pt x="134779" y="931069"/>
                    <a:pt x="173831" y="931069"/>
                  </a:cubicBezTo>
                  <a:lnTo>
                    <a:pt x="345281" y="931069"/>
                  </a:lnTo>
                  <a:cubicBezTo>
                    <a:pt x="384334" y="931069"/>
                    <a:pt x="416719" y="898684"/>
                    <a:pt x="416719" y="859631"/>
                  </a:cubicBezTo>
                  <a:cubicBezTo>
                    <a:pt x="416719" y="829151"/>
                    <a:pt x="421481" y="790099"/>
                    <a:pt x="430054" y="765334"/>
                  </a:cubicBezTo>
                  <a:cubicBezTo>
                    <a:pt x="476726" y="752951"/>
                    <a:pt x="511969" y="710089"/>
                    <a:pt x="511969" y="659606"/>
                  </a:cubicBezTo>
                  <a:lnTo>
                    <a:pt x="511969" y="421481"/>
                  </a:lnTo>
                  <a:cubicBezTo>
                    <a:pt x="519589" y="421481"/>
                    <a:pt x="526256" y="414814"/>
                    <a:pt x="526256" y="407194"/>
                  </a:cubicBezTo>
                  <a:lnTo>
                    <a:pt x="526256" y="340519"/>
                  </a:lnTo>
                  <a:cubicBezTo>
                    <a:pt x="526256" y="332899"/>
                    <a:pt x="519589" y="326231"/>
                    <a:pt x="511969" y="326231"/>
                  </a:cubicBezTo>
                  <a:close/>
                  <a:moveTo>
                    <a:pt x="130969" y="78581"/>
                  </a:moveTo>
                  <a:cubicBezTo>
                    <a:pt x="130969" y="54769"/>
                    <a:pt x="150019" y="35719"/>
                    <a:pt x="173831" y="35719"/>
                  </a:cubicBezTo>
                  <a:lnTo>
                    <a:pt x="345281" y="35719"/>
                  </a:lnTo>
                  <a:cubicBezTo>
                    <a:pt x="369094" y="35719"/>
                    <a:pt x="388144" y="54769"/>
                    <a:pt x="388144" y="78581"/>
                  </a:cubicBezTo>
                  <a:cubicBezTo>
                    <a:pt x="388144" y="91916"/>
                    <a:pt x="389096" y="133826"/>
                    <a:pt x="398621" y="169069"/>
                  </a:cubicBezTo>
                  <a:lnTo>
                    <a:pt x="119539" y="169069"/>
                  </a:lnTo>
                  <a:cubicBezTo>
                    <a:pt x="130016" y="133826"/>
                    <a:pt x="130969" y="91916"/>
                    <a:pt x="130969" y="78581"/>
                  </a:cubicBezTo>
                  <a:close/>
                  <a:moveTo>
                    <a:pt x="388144" y="859631"/>
                  </a:moveTo>
                  <a:cubicBezTo>
                    <a:pt x="388144" y="883444"/>
                    <a:pt x="369094" y="902494"/>
                    <a:pt x="345281" y="902494"/>
                  </a:cubicBezTo>
                  <a:lnTo>
                    <a:pt x="173831" y="902494"/>
                  </a:lnTo>
                  <a:cubicBezTo>
                    <a:pt x="150019" y="902494"/>
                    <a:pt x="130969" y="883444"/>
                    <a:pt x="130969" y="859631"/>
                  </a:cubicBezTo>
                  <a:cubicBezTo>
                    <a:pt x="130969" y="846297"/>
                    <a:pt x="130016" y="804386"/>
                    <a:pt x="120491" y="769144"/>
                  </a:cubicBezTo>
                  <a:lnTo>
                    <a:pt x="399574" y="769144"/>
                  </a:lnTo>
                  <a:cubicBezTo>
                    <a:pt x="389096" y="805339"/>
                    <a:pt x="388144" y="846297"/>
                    <a:pt x="388144" y="859631"/>
                  </a:cubicBezTo>
                  <a:close/>
                  <a:moveTo>
                    <a:pt x="483394" y="659606"/>
                  </a:moveTo>
                  <a:cubicBezTo>
                    <a:pt x="483394" y="704374"/>
                    <a:pt x="447199" y="740569"/>
                    <a:pt x="402431" y="740569"/>
                  </a:cubicBezTo>
                  <a:lnTo>
                    <a:pt x="116681" y="740569"/>
                  </a:lnTo>
                  <a:cubicBezTo>
                    <a:pt x="71914" y="740569"/>
                    <a:pt x="35719" y="704374"/>
                    <a:pt x="35719" y="659606"/>
                  </a:cubicBezTo>
                  <a:lnTo>
                    <a:pt x="35719" y="278606"/>
                  </a:lnTo>
                  <a:cubicBezTo>
                    <a:pt x="35719" y="233839"/>
                    <a:pt x="71914" y="197644"/>
                    <a:pt x="116681" y="197644"/>
                  </a:cubicBezTo>
                  <a:lnTo>
                    <a:pt x="402431" y="197644"/>
                  </a:lnTo>
                  <a:cubicBezTo>
                    <a:pt x="447199" y="197644"/>
                    <a:pt x="483394" y="233839"/>
                    <a:pt x="483394" y="278606"/>
                  </a:cubicBezTo>
                  <a:lnTo>
                    <a:pt x="483394" y="659606"/>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83" name="Freeform: Shape 282">
              <a:extLst>
                <a:ext uri="{FF2B5EF4-FFF2-40B4-BE49-F238E27FC236}">
                  <a16:creationId xmlns:a16="http://schemas.microsoft.com/office/drawing/2014/main" id="{BBFEC55F-DEB5-4E53-9BEA-8CC13D91CB72}"/>
                </a:ext>
              </a:extLst>
            </p:cNvPr>
            <p:cNvSpPr/>
            <p:nvPr/>
          </p:nvSpPr>
          <p:spPr>
            <a:xfrm>
              <a:off x="2864034" y="7235004"/>
              <a:ext cx="257175" cy="257175"/>
            </a:xfrm>
            <a:custGeom>
              <a:avLst/>
              <a:gdLst/>
              <a:ahLst/>
              <a:cxnLst/>
              <a:rect l="0" t="0" r="0" b="0"/>
              <a:pathLst>
                <a:path w="257175" h="257175">
                  <a:moveTo>
                    <a:pt x="130969" y="7144"/>
                  </a:moveTo>
                  <a:cubicBezTo>
                    <a:pt x="62389" y="7144"/>
                    <a:pt x="7144" y="62389"/>
                    <a:pt x="7144" y="130969"/>
                  </a:cubicBezTo>
                  <a:cubicBezTo>
                    <a:pt x="7144" y="199549"/>
                    <a:pt x="62389" y="254794"/>
                    <a:pt x="130969" y="254794"/>
                  </a:cubicBezTo>
                  <a:cubicBezTo>
                    <a:pt x="199549" y="254794"/>
                    <a:pt x="254794" y="199549"/>
                    <a:pt x="254794" y="130969"/>
                  </a:cubicBezTo>
                  <a:cubicBezTo>
                    <a:pt x="254794" y="62389"/>
                    <a:pt x="199549" y="7144"/>
                    <a:pt x="130969" y="7144"/>
                  </a:cubicBezTo>
                  <a:close/>
                  <a:moveTo>
                    <a:pt x="130969" y="226219"/>
                  </a:moveTo>
                  <a:cubicBezTo>
                    <a:pt x="78581" y="226219"/>
                    <a:pt x="35719" y="183356"/>
                    <a:pt x="35719" y="130969"/>
                  </a:cubicBezTo>
                  <a:cubicBezTo>
                    <a:pt x="35719" y="78581"/>
                    <a:pt x="78581" y="35719"/>
                    <a:pt x="130969" y="35719"/>
                  </a:cubicBezTo>
                  <a:cubicBezTo>
                    <a:pt x="183356" y="35719"/>
                    <a:pt x="226219" y="78581"/>
                    <a:pt x="226219" y="130969"/>
                  </a:cubicBezTo>
                  <a:cubicBezTo>
                    <a:pt x="226219" y="183356"/>
                    <a:pt x="183356" y="226219"/>
                    <a:pt x="130969" y="22621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84" name="Freeform: Shape 283">
              <a:extLst>
                <a:ext uri="{FF2B5EF4-FFF2-40B4-BE49-F238E27FC236}">
                  <a16:creationId xmlns:a16="http://schemas.microsoft.com/office/drawing/2014/main" id="{516F145D-C03A-4964-AD46-9603F70DDB5B}"/>
                </a:ext>
              </a:extLst>
            </p:cNvPr>
            <p:cNvSpPr/>
            <p:nvPr/>
          </p:nvSpPr>
          <p:spPr>
            <a:xfrm>
              <a:off x="2959284" y="7311204"/>
              <a:ext cx="66675" cy="66675"/>
            </a:xfrm>
            <a:custGeom>
              <a:avLst/>
              <a:gdLst/>
              <a:ahLst/>
              <a:cxnLst/>
              <a:rect l="0" t="0" r="0" b="0"/>
              <a:pathLst>
                <a:path w="66675" h="66675">
                  <a:moveTo>
                    <a:pt x="64294" y="35719"/>
                  </a:moveTo>
                  <a:cubicBezTo>
                    <a:pt x="64294" y="51500"/>
                    <a:pt x="51500" y="64294"/>
                    <a:pt x="35719" y="64294"/>
                  </a:cubicBezTo>
                  <a:cubicBezTo>
                    <a:pt x="19937" y="64294"/>
                    <a:pt x="7144" y="51500"/>
                    <a:pt x="7144" y="35719"/>
                  </a:cubicBezTo>
                  <a:cubicBezTo>
                    <a:pt x="7144" y="19937"/>
                    <a:pt x="19937" y="7144"/>
                    <a:pt x="35719" y="7144"/>
                  </a:cubicBezTo>
                  <a:cubicBezTo>
                    <a:pt x="51500" y="7144"/>
                    <a:pt x="64294" y="19937"/>
                    <a:pt x="64294" y="3571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85" name="Freeform: Shape 284">
              <a:extLst>
                <a:ext uri="{FF2B5EF4-FFF2-40B4-BE49-F238E27FC236}">
                  <a16:creationId xmlns:a16="http://schemas.microsoft.com/office/drawing/2014/main" id="{8C8757AD-374A-4884-9713-D0E95AB9D6A2}"/>
                </a:ext>
              </a:extLst>
            </p:cNvPr>
            <p:cNvSpPr/>
            <p:nvPr/>
          </p:nvSpPr>
          <p:spPr>
            <a:xfrm>
              <a:off x="2929757" y="7388277"/>
              <a:ext cx="123825" cy="47625"/>
            </a:xfrm>
            <a:custGeom>
              <a:avLst/>
              <a:gdLst/>
              <a:ahLst/>
              <a:cxnLst/>
              <a:rect l="0" t="0" r="0" b="0"/>
              <a:pathLst>
                <a:path w="123825" h="47625">
                  <a:moveTo>
                    <a:pt x="7144" y="27226"/>
                  </a:moveTo>
                  <a:cubicBezTo>
                    <a:pt x="13811" y="34846"/>
                    <a:pt x="21431" y="41513"/>
                    <a:pt x="30004" y="45324"/>
                  </a:cubicBezTo>
                  <a:cubicBezTo>
                    <a:pt x="38576" y="39608"/>
                    <a:pt x="50959" y="34846"/>
                    <a:pt x="66199" y="34846"/>
                  </a:cubicBezTo>
                  <a:cubicBezTo>
                    <a:pt x="81439" y="34846"/>
                    <a:pt x="92869" y="38656"/>
                    <a:pt x="101441" y="45324"/>
                  </a:cubicBezTo>
                  <a:cubicBezTo>
                    <a:pt x="110014" y="40561"/>
                    <a:pt x="117634" y="34846"/>
                    <a:pt x="124301" y="27226"/>
                  </a:cubicBezTo>
                  <a:cubicBezTo>
                    <a:pt x="109061" y="14844"/>
                    <a:pt x="90011" y="7224"/>
                    <a:pt x="66199" y="7224"/>
                  </a:cubicBezTo>
                  <a:cubicBezTo>
                    <a:pt x="41434" y="6271"/>
                    <a:pt x="21431" y="13891"/>
                    <a:pt x="7144" y="27226"/>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286" name="Graphic 322">
            <a:extLst>
              <a:ext uri="{FF2B5EF4-FFF2-40B4-BE49-F238E27FC236}">
                <a16:creationId xmlns:a16="http://schemas.microsoft.com/office/drawing/2014/main" id="{6B61CFF7-6AB8-488C-9C09-02D8126A5853}"/>
              </a:ext>
            </a:extLst>
          </p:cNvPr>
          <p:cNvGrpSpPr/>
          <p:nvPr/>
        </p:nvGrpSpPr>
        <p:grpSpPr>
          <a:xfrm>
            <a:off x="8483791" y="4446673"/>
            <a:ext cx="169436" cy="307919"/>
            <a:chOff x="6702901" y="3017361"/>
            <a:chExt cx="1209675" cy="2198370"/>
          </a:xfrm>
          <a:solidFill>
            <a:schemeClr val="accent1"/>
          </a:solidFill>
        </p:grpSpPr>
        <p:sp>
          <p:nvSpPr>
            <p:cNvPr id="287" name="Freeform: Shape 286">
              <a:extLst>
                <a:ext uri="{FF2B5EF4-FFF2-40B4-BE49-F238E27FC236}">
                  <a16:creationId xmlns:a16="http://schemas.microsoft.com/office/drawing/2014/main" id="{B4B2AC19-CF96-4DBC-9842-06F5C00E3C84}"/>
                </a:ext>
              </a:extLst>
            </p:cNvPr>
            <p:cNvSpPr/>
            <p:nvPr/>
          </p:nvSpPr>
          <p:spPr>
            <a:xfrm>
              <a:off x="6702901" y="3520281"/>
              <a:ext cx="1209675" cy="1695450"/>
            </a:xfrm>
            <a:custGeom>
              <a:avLst/>
              <a:gdLst/>
              <a:ahLst/>
              <a:cxnLst/>
              <a:rect l="0" t="0" r="0" b="0"/>
              <a:pathLst>
                <a:path w="1209675" h="1695450">
                  <a:moveTo>
                    <a:pt x="7144" y="673894"/>
                  </a:moveTo>
                  <a:lnTo>
                    <a:pt x="7144" y="1485424"/>
                  </a:lnTo>
                  <a:cubicBezTo>
                    <a:pt x="7144" y="1599724"/>
                    <a:pt x="102394" y="1695926"/>
                    <a:pt x="215741" y="1695926"/>
                  </a:cubicBezTo>
                  <a:lnTo>
                    <a:pt x="1001554" y="1695926"/>
                  </a:lnTo>
                  <a:cubicBezTo>
                    <a:pt x="1113949" y="1695926"/>
                    <a:pt x="1205389" y="1601629"/>
                    <a:pt x="1205389" y="1485424"/>
                  </a:cubicBezTo>
                  <a:lnTo>
                    <a:pt x="1205389" y="673894"/>
                  </a:lnTo>
                  <a:cubicBezTo>
                    <a:pt x="1205389" y="556736"/>
                    <a:pt x="1112044" y="457676"/>
                    <a:pt x="1001554" y="457676"/>
                  </a:cubicBezTo>
                  <a:lnTo>
                    <a:pt x="651986" y="457676"/>
                  </a:lnTo>
                  <a:lnTo>
                    <a:pt x="651986" y="286226"/>
                  </a:lnTo>
                  <a:lnTo>
                    <a:pt x="657701" y="283369"/>
                  </a:lnTo>
                  <a:cubicBezTo>
                    <a:pt x="695801" y="266224"/>
                    <a:pt x="748189" y="213836"/>
                    <a:pt x="748189" y="148114"/>
                  </a:cubicBezTo>
                  <a:cubicBezTo>
                    <a:pt x="748189" y="70009"/>
                    <a:pt x="686276" y="7144"/>
                    <a:pt x="609124" y="7144"/>
                  </a:cubicBezTo>
                  <a:cubicBezTo>
                    <a:pt x="531019" y="7144"/>
                    <a:pt x="466249" y="71914"/>
                    <a:pt x="466249" y="148114"/>
                  </a:cubicBezTo>
                  <a:cubicBezTo>
                    <a:pt x="466249" y="210026"/>
                    <a:pt x="511969" y="263366"/>
                    <a:pt x="554831" y="282416"/>
                  </a:cubicBezTo>
                  <a:lnTo>
                    <a:pt x="560546" y="285274"/>
                  </a:lnTo>
                  <a:lnTo>
                    <a:pt x="560546" y="456724"/>
                  </a:lnTo>
                  <a:lnTo>
                    <a:pt x="215741" y="456724"/>
                  </a:lnTo>
                  <a:cubicBezTo>
                    <a:pt x="102394" y="457676"/>
                    <a:pt x="7144" y="556736"/>
                    <a:pt x="7144" y="673894"/>
                  </a:cubicBezTo>
                  <a:close/>
                  <a:moveTo>
                    <a:pt x="542449" y="149066"/>
                  </a:moveTo>
                  <a:cubicBezTo>
                    <a:pt x="542449" y="111919"/>
                    <a:pt x="571976" y="81439"/>
                    <a:pt x="608171" y="81439"/>
                  </a:cubicBezTo>
                  <a:cubicBezTo>
                    <a:pt x="644366" y="81439"/>
                    <a:pt x="673894" y="111919"/>
                    <a:pt x="673894" y="149066"/>
                  </a:cubicBezTo>
                  <a:cubicBezTo>
                    <a:pt x="673894" y="186214"/>
                    <a:pt x="644366" y="216694"/>
                    <a:pt x="608171" y="216694"/>
                  </a:cubicBezTo>
                  <a:cubicBezTo>
                    <a:pt x="571024" y="216694"/>
                    <a:pt x="542449" y="186214"/>
                    <a:pt x="542449" y="149066"/>
                  </a:cubicBezTo>
                  <a:close/>
                  <a:moveTo>
                    <a:pt x="1002506" y="530066"/>
                  </a:moveTo>
                  <a:cubicBezTo>
                    <a:pt x="1075849" y="530066"/>
                    <a:pt x="1135856" y="591979"/>
                    <a:pt x="1135856" y="667226"/>
                  </a:cubicBezTo>
                  <a:lnTo>
                    <a:pt x="1135856" y="1487329"/>
                  </a:lnTo>
                  <a:cubicBezTo>
                    <a:pt x="1135856" y="1562576"/>
                    <a:pt x="1075849" y="1624489"/>
                    <a:pt x="1002506" y="1624489"/>
                  </a:cubicBezTo>
                  <a:lnTo>
                    <a:pt x="209074" y="1624489"/>
                  </a:lnTo>
                  <a:cubicBezTo>
                    <a:pt x="135731" y="1624489"/>
                    <a:pt x="75724" y="1562576"/>
                    <a:pt x="75724" y="1487329"/>
                  </a:cubicBezTo>
                  <a:lnTo>
                    <a:pt x="75724" y="667226"/>
                  </a:lnTo>
                  <a:cubicBezTo>
                    <a:pt x="75724" y="591979"/>
                    <a:pt x="135731" y="530066"/>
                    <a:pt x="209074" y="530066"/>
                  </a:cubicBezTo>
                  <a:lnTo>
                    <a:pt x="1002506" y="530066"/>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88" name="Freeform: Shape 287">
              <a:extLst>
                <a:ext uri="{FF2B5EF4-FFF2-40B4-BE49-F238E27FC236}">
                  <a16:creationId xmlns:a16="http://schemas.microsoft.com/office/drawing/2014/main" id="{D174C294-78A3-4CB0-B00F-04928A5890C3}"/>
                </a:ext>
              </a:extLst>
            </p:cNvPr>
            <p:cNvSpPr/>
            <p:nvPr/>
          </p:nvSpPr>
          <p:spPr>
            <a:xfrm>
              <a:off x="7211536" y="4755674"/>
              <a:ext cx="190500" cy="190500"/>
            </a:xfrm>
            <a:custGeom>
              <a:avLst/>
              <a:gdLst/>
              <a:ahLst/>
              <a:cxnLst/>
              <a:rect l="0" t="0" r="0" b="0"/>
              <a:pathLst>
                <a:path w="190500" h="190500">
                  <a:moveTo>
                    <a:pt x="97631" y="7144"/>
                  </a:moveTo>
                  <a:cubicBezTo>
                    <a:pt x="48101" y="7144"/>
                    <a:pt x="7144" y="47149"/>
                    <a:pt x="7144" y="96679"/>
                  </a:cubicBezTo>
                  <a:cubicBezTo>
                    <a:pt x="7144" y="146209"/>
                    <a:pt x="47149" y="186214"/>
                    <a:pt x="97631" y="186214"/>
                  </a:cubicBezTo>
                  <a:cubicBezTo>
                    <a:pt x="147161" y="186214"/>
                    <a:pt x="188119" y="146209"/>
                    <a:pt x="188119" y="96679"/>
                  </a:cubicBezTo>
                  <a:cubicBezTo>
                    <a:pt x="188119" y="47149"/>
                    <a:pt x="147161" y="7144"/>
                    <a:pt x="97631" y="7144"/>
                  </a:cubicBezTo>
                  <a:close/>
                  <a:moveTo>
                    <a:pt x="97631" y="108109"/>
                  </a:moveTo>
                  <a:cubicBezTo>
                    <a:pt x="90964" y="108109"/>
                    <a:pt x="86201" y="103346"/>
                    <a:pt x="86201" y="96679"/>
                  </a:cubicBezTo>
                  <a:cubicBezTo>
                    <a:pt x="86201" y="90011"/>
                    <a:pt x="90964" y="85249"/>
                    <a:pt x="97631" y="85249"/>
                  </a:cubicBezTo>
                  <a:cubicBezTo>
                    <a:pt x="104299" y="85249"/>
                    <a:pt x="109061" y="90011"/>
                    <a:pt x="109061" y="96679"/>
                  </a:cubicBezTo>
                  <a:cubicBezTo>
                    <a:pt x="109061" y="103346"/>
                    <a:pt x="104299" y="108109"/>
                    <a:pt x="97631" y="10810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89" name="Freeform: Shape 288">
              <a:extLst>
                <a:ext uri="{FF2B5EF4-FFF2-40B4-BE49-F238E27FC236}">
                  <a16:creationId xmlns:a16="http://schemas.microsoft.com/office/drawing/2014/main" id="{C8B94BDD-FCF0-4F9F-909D-DFD8E3D0BBBC}"/>
                </a:ext>
              </a:extLst>
            </p:cNvPr>
            <p:cNvSpPr/>
            <p:nvPr/>
          </p:nvSpPr>
          <p:spPr>
            <a:xfrm>
              <a:off x="7294404" y="4837589"/>
              <a:ext cx="28575" cy="28575"/>
            </a:xfrm>
            <a:custGeom>
              <a:avLst/>
              <a:gdLst/>
              <a:ahLst/>
              <a:cxnLst/>
              <a:rect l="0" t="0" r="0" b="0"/>
              <a:pathLst>
                <a:path w="28575" h="28575">
                  <a:moveTo>
                    <a:pt x="14764" y="7144"/>
                  </a:moveTo>
                  <a:cubicBezTo>
                    <a:pt x="10954" y="7144"/>
                    <a:pt x="7144" y="10954"/>
                    <a:pt x="7144" y="14764"/>
                  </a:cubicBezTo>
                  <a:cubicBezTo>
                    <a:pt x="7144" y="18574"/>
                    <a:pt x="10954" y="22384"/>
                    <a:pt x="14764" y="22384"/>
                  </a:cubicBezTo>
                  <a:cubicBezTo>
                    <a:pt x="18574" y="22384"/>
                    <a:pt x="22384" y="18574"/>
                    <a:pt x="22384" y="14764"/>
                  </a:cubicBezTo>
                  <a:cubicBezTo>
                    <a:pt x="22384" y="10954"/>
                    <a:pt x="19526" y="7144"/>
                    <a:pt x="14764" y="7144"/>
                  </a:cubicBezTo>
                  <a:close/>
                  <a:moveTo>
                    <a:pt x="14764" y="16669"/>
                  </a:moveTo>
                  <a:cubicBezTo>
                    <a:pt x="13811" y="16669"/>
                    <a:pt x="12859" y="15716"/>
                    <a:pt x="12859" y="14764"/>
                  </a:cubicBezTo>
                  <a:cubicBezTo>
                    <a:pt x="12859" y="13811"/>
                    <a:pt x="13811" y="12859"/>
                    <a:pt x="14764" y="12859"/>
                  </a:cubicBezTo>
                  <a:cubicBezTo>
                    <a:pt x="15716" y="12859"/>
                    <a:pt x="16669" y="13811"/>
                    <a:pt x="16669" y="14764"/>
                  </a:cubicBezTo>
                  <a:cubicBezTo>
                    <a:pt x="16669" y="15716"/>
                    <a:pt x="15716" y="16669"/>
                    <a:pt x="14764" y="1666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90" name="Freeform: Shape 289">
              <a:extLst>
                <a:ext uri="{FF2B5EF4-FFF2-40B4-BE49-F238E27FC236}">
                  <a16:creationId xmlns:a16="http://schemas.microsoft.com/office/drawing/2014/main" id="{0E2C7086-428C-47D7-9917-31DAF5E76D80}"/>
                </a:ext>
              </a:extLst>
            </p:cNvPr>
            <p:cNvSpPr/>
            <p:nvPr/>
          </p:nvSpPr>
          <p:spPr>
            <a:xfrm>
              <a:off x="7603014" y="4837589"/>
              <a:ext cx="28575" cy="28575"/>
            </a:xfrm>
            <a:custGeom>
              <a:avLst/>
              <a:gdLst/>
              <a:ahLst/>
              <a:cxnLst/>
              <a:rect l="0" t="0" r="0" b="0"/>
              <a:pathLst>
                <a:path w="28575" h="28575">
                  <a:moveTo>
                    <a:pt x="14764" y="7144"/>
                  </a:moveTo>
                  <a:cubicBezTo>
                    <a:pt x="10001" y="7144"/>
                    <a:pt x="7144" y="10954"/>
                    <a:pt x="7144" y="14764"/>
                  </a:cubicBezTo>
                  <a:cubicBezTo>
                    <a:pt x="7144" y="18574"/>
                    <a:pt x="10954" y="22384"/>
                    <a:pt x="14764" y="22384"/>
                  </a:cubicBezTo>
                  <a:cubicBezTo>
                    <a:pt x="19526" y="22384"/>
                    <a:pt x="22384" y="18574"/>
                    <a:pt x="22384" y="14764"/>
                  </a:cubicBezTo>
                  <a:cubicBezTo>
                    <a:pt x="22384" y="10954"/>
                    <a:pt x="19526" y="7144"/>
                    <a:pt x="14764" y="7144"/>
                  </a:cubicBezTo>
                  <a:close/>
                  <a:moveTo>
                    <a:pt x="14764" y="16669"/>
                  </a:moveTo>
                  <a:cubicBezTo>
                    <a:pt x="13811" y="16669"/>
                    <a:pt x="12859" y="15716"/>
                    <a:pt x="12859" y="14764"/>
                  </a:cubicBezTo>
                  <a:cubicBezTo>
                    <a:pt x="12859" y="13811"/>
                    <a:pt x="13811" y="12859"/>
                    <a:pt x="14764" y="12859"/>
                  </a:cubicBezTo>
                  <a:cubicBezTo>
                    <a:pt x="15716" y="12859"/>
                    <a:pt x="16669" y="13811"/>
                    <a:pt x="16669" y="14764"/>
                  </a:cubicBezTo>
                  <a:cubicBezTo>
                    <a:pt x="15716" y="15716"/>
                    <a:pt x="15716" y="16669"/>
                    <a:pt x="14764" y="1666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91" name="Freeform: Shape 290">
              <a:extLst>
                <a:ext uri="{FF2B5EF4-FFF2-40B4-BE49-F238E27FC236}">
                  <a16:creationId xmlns:a16="http://schemas.microsoft.com/office/drawing/2014/main" id="{8FABD44F-7547-47AC-9B3A-0F096FE5538A}"/>
                </a:ext>
              </a:extLst>
            </p:cNvPr>
            <p:cNvSpPr/>
            <p:nvPr/>
          </p:nvSpPr>
          <p:spPr>
            <a:xfrm>
              <a:off x="7545864" y="4755674"/>
              <a:ext cx="142875" cy="190500"/>
            </a:xfrm>
            <a:custGeom>
              <a:avLst/>
              <a:gdLst/>
              <a:ahLst/>
              <a:cxnLst/>
              <a:rect l="0" t="0" r="0" b="0"/>
              <a:pathLst>
                <a:path w="142875" h="190500">
                  <a:moveTo>
                    <a:pt x="71914" y="7144"/>
                  </a:moveTo>
                  <a:cubicBezTo>
                    <a:pt x="35719" y="7144"/>
                    <a:pt x="7144" y="47149"/>
                    <a:pt x="7144" y="96679"/>
                  </a:cubicBezTo>
                  <a:cubicBezTo>
                    <a:pt x="7144" y="146209"/>
                    <a:pt x="36671" y="186214"/>
                    <a:pt x="71914" y="186214"/>
                  </a:cubicBezTo>
                  <a:cubicBezTo>
                    <a:pt x="108109" y="186214"/>
                    <a:pt x="137636" y="146209"/>
                    <a:pt x="137636" y="96679"/>
                  </a:cubicBezTo>
                  <a:cubicBezTo>
                    <a:pt x="136684" y="47149"/>
                    <a:pt x="108109" y="7144"/>
                    <a:pt x="71914" y="7144"/>
                  </a:cubicBezTo>
                  <a:close/>
                  <a:moveTo>
                    <a:pt x="71914" y="108109"/>
                  </a:moveTo>
                  <a:cubicBezTo>
                    <a:pt x="66199" y="108109"/>
                    <a:pt x="60484" y="103346"/>
                    <a:pt x="60484" y="96679"/>
                  </a:cubicBezTo>
                  <a:cubicBezTo>
                    <a:pt x="60484" y="90011"/>
                    <a:pt x="65246" y="85249"/>
                    <a:pt x="71914" y="85249"/>
                  </a:cubicBezTo>
                  <a:cubicBezTo>
                    <a:pt x="77629" y="85249"/>
                    <a:pt x="83344" y="90011"/>
                    <a:pt x="83344" y="96679"/>
                  </a:cubicBezTo>
                  <a:cubicBezTo>
                    <a:pt x="82391" y="103346"/>
                    <a:pt x="77629" y="108109"/>
                    <a:pt x="71914" y="10810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92" name="Freeform: Shape 291">
              <a:extLst>
                <a:ext uri="{FF2B5EF4-FFF2-40B4-BE49-F238E27FC236}">
                  <a16:creationId xmlns:a16="http://schemas.microsoft.com/office/drawing/2014/main" id="{F3CA6EC5-B4E6-4B52-BF6B-FBA8C686DED0}"/>
                </a:ext>
              </a:extLst>
            </p:cNvPr>
            <p:cNvSpPr/>
            <p:nvPr/>
          </p:nvSpPr>
          <p:spPr>
            <a:xfrm>
              <a:off x="7013416" y="4837589"/>
              <a:ext cx="28575" cy="28575"/>
            </a:xfrm>
            <a:custGeom>
              <a:avLst/>
              <a:gdLst/>
              <a:ahLst/>
              <a:cxnLst/>
              <a:rect l="0" t="0" r="0" b="0"/>
              <a:pathLst>
                <a:path w="28575" h="28575">
                  <a:moveTo>
                    <a:pt x="14764" y="7144"/>
                  </a:moveTo>
                  <a:cubicBezTo>
                    <a:pt x="10954" y="7144"/>
                    <a:pt x="7144" y="10954"/>
                    <a:pt x="7144" y="14764"/>
                  </a:cubicBezTo>
                  <a:cubicBezTo>
                    <a:pt x="7144" y="18574"/>
                    <a:pt x="10954" y="22384"/>
                    <a:pt x="14764" y="22384"/>
                  </a:cubicBezTo>
                  <a:cubicBezTo>
                    <a:pt x="18574" y="22384"/>
                    <a:pt x="22384" y="18574"/>
                    <a:pt x="22384" y="14764"/>
                  </a:cubicBezTo>
                  <a:cubicBezTo>
                    <a:pt x="21431" y="10954"/>
                    <a:pt x="18574" y="7144"/>
                    <a:pt x="14764" y="7144"/>
                  </a:cubicBezTo>
                  <a:close/>
                  <a:moveTo>
                    <a:pt x="14764" y="16669"/>
                  </a:moveTo>
                  <a:cubicBezTo>
                    <a:pt x="13811" y="16669"/>
                    <a:pt x="12859" y="15716"/>
                    <a:pt x="12859" y="14764"/>
                  </a:cubicBezTo>
                  <a:cubicBezTo>
                    <a:pt x="12859" y="13811"/>
                    <a:pt x="13811" y="12859"/>
                    <a:pt x="14764" y="12859"/>
                  </a:cubicBezTo>
                  <a:cubicBezTo>
                    <a:pt x="15716" y="12859"/>
                    <a:pt x="16669" y="13811"/>
                    <a:pt x="16669" y="14764"/>
                  </a:cubicBezTo>
                  <a:cubicBezTo>
                    <a:pt x="16669" y="15716"/>
                    <a:pt x="15716" y="16669"/>
                    <a:pt x="14764" y="1666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93" name="Freeform: Shape 292">
              <a:extLst>
                <a:ext uri="{FF2B5EF4-FFF2-40B4-BE49-F238E27FC236}">
                  <a16:creationId xmlns:a16="http://schemas.microsoft.com/office/drawing/2014/main" id="{60C5F69D-F6A1-442F-B6BC-7C94D678A1A6}"/>
                </a:ext>
              </a:extLst>
            </p:cNvPr>
            <p:cNvSpPr/>
            <p:nvPr/>
          </p:nvSpPr>
          <p:spPr>
            <a:xfrm>
              <a:off x="6930549" y="4755674"/>
              <a:ext cx="190500" cy="190500"/>
            </a:xfrm>
            <a:custGeom>
              <a:avLst/>
              <a:gdLst/>
              <a:ahLst/>
              <a:cxnLst/>
              <a:rect l="0" t="0" r="0" b="0"/>
              <a:pathLst>
                <a:path w="190500" h="190500">
                  <a:moveTo>
                    <a:pt x="97631" y="7144"/>
                  </a:moveTo>
                  <a:cubicBezTo>
                    <a:pt x="48101" y="7144"/>
                    <a:pt x="7144" y="47149"/>
                    <a:pt x="7144" y="96679"/>
                  </a:cubicBezTo>
                  <a:cubicBezTo>
                    <a:pt x="7144" y="146209"/>
                    <a:pt x="47149" y="186214"/>
                    <a:pt x="97631" y="186214"/>
                  </a:cubicBezTo>
                  <a:cubicBezTo>
                    <a:pt x="147161" y="186214"/>
                    <a:pt x="188119" y="146209"/>
                    <a:pt x="188119" y="96679"/>
                  </a:cubicBezTo>
                  <a:cubicBezTo>
                    <a:pt x="187166" y="47149"/>
                    <a:pt x="147161" y="7144"/>
                    <a:pt x="97631" y="7144"/>
                  </a:cubicBezTo>
                  <a:close/>
                  <a:moveTo>
                    <a:pt x="97631" y="108109"/>
                  </a:moveTo>
                  <a:cubicBezTo>
                    <a:pt x="90964" y="108109"/>
                    <a:pt x="86201" y="103346"/>
                    <a:pt x="86201" y="96679"/>
                  </a:cubicBezTo>
                  <a:cubicBezTo>
                    <a:pt x="86201" y="90011"/>
                    <a:pt x="90964" y="85249"/>
                    <a:pt x="97631" y="85249"/>
                  </a:cubicBezTo>
                  <a:cubicBezTo>
                    <a:pt x="104299" y="85249"/>
                    <a:pt x="109061" y="90011"/>
                    <a:pt x="109061" y="96679"/>
                  </a:cubicBezTo>
                  <a:cubicBezTo>
                    <a:pt x="109061" y="103346"/>
                    <a:pt x="103346" y="108109"/>
                    <a:pt x="97631" y="10810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94" name="Freeform: Shape 293">
              <a:extLst>
                <a:ext uri="{FF2B5EF4-FFF2-40B4-BE49-F238E27FC236}">
                  <a16:creationId xmlns:a16="http://schemas.microsoft.com/office/drawing/2014/main" id="{3700A377-091F-46B5-904E-C6EF70B03C4E}"/>
                </a:ext>
              </a:extLst>
            </p:cNvPr>
            <p:cNvSpPr/>
            <p:nvPr/>
          </p:nvSpPr>
          <p:spPr>
            <a:xfrm>
              <a:off x="7155339" y="4306094"/>
              <a:ext cx="304800" cy="304800"/>
            </a:xfrm>
            <a:custGeom>
              <a:avLst/>
              <a:gdLst/>
              <a:ahLst/>
              <a:cxnLst/>
              <a:rect l="0" t="0" r="0" b="0"/>
              <a:pathLst>
                <a:path w="304800" h="304800">
                  <a:moveTo>
                    <a:pt x="156686" y="7144"/>
                  </a:moveTo>
                  <a:cubicBezTo>
                    <a:pt x="73819" y="7144"/>
                    <a:pt x="7144" y="73819"/>
                    <a:pt x="7144" y="155734"/>
                  </a:cubicBezTo>
                  <a:cubicBezTo>
                    <a:pt x="7144" y="237649"/>
                    <a:pt x="73819" y="304324"/>
                    <a:pt x="156686" y="304324"/>
                  </a:cubicBezTo>
                  <a:cubicBezTo>
                    <a:pt x="239554" y="304324"/>
                    <a:pt x="306229" y="237649"/>
                    <a:pt x="306229" y="155734"/>
                  </a:cubicBezTo>
                  <a:cubicBezTo>
                    <a:pt x="306229" y="74771"/>
                    <a:pt x="238601" y="7144"/>
                    <a:pt x="156686" y="7144"/>
                  </a:cubicBezTo>
                  <a:close/>
                  <a:moveTo>
                    <a:pt x="156686" y="227171"/>
                  </a:moveTo>
                  <a:cubicBezTo>
                    <a:pt x="117634" y="227171"/>
                    <a:pt x="86201" y="195739"/>
                    <a:pt x="86201" y="156686"/>
                  </a:cubicBezTo>
                  <a:cubicBezTo>
                    <a:pt x="86201" y="117634"/>
                    <a:pt x="117634" y="86201"/>
                    <a:pt x="156686" y="86201"/>
                  </a:cubicBezTo>
                  <a:cubicBezTo>
                    <a:pt x="195739" y="86201"/>
                    <a:pt x="227171" y="117634"/>
                    <a:pt x="227171" y="156686"/>
                  </a:cubicBezTo>
                  <a:cubicBezTo>
                    <a:pt x="227171" y="194786"/>
                    <a:pt x="195739" y="227171"/>
                    <a:pt x="156686" y="227171"/>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95" name="Freeform: Shape 294">
              <a:extLst>
                <a:ext uri="{FF2B5EF4-FFF2-40B4-BE49-F238E27FC236}">
                  <a16:creationId xmlns:a16="http://schemas.microsoft.com/office/drawing/2014/main" id="{D3B2490E-0640-4888-9172-AAC9D2E86E60}"/>
                </a:ext>
              </a:extLst>
            </p:cNvPr>
            <p:cNvSpPr/>
            <p:nvPr/>
          </p:nvSpPr>
          <p:spPr>
            <a:xfrm>
              <a:off x="6759388" y="3017361"/>
              <a:ext cx="1095375" cy="371475"/>
            </a:xfrm>
            <a:custGeom>
              <a:avLst/>
              <a:gdLst/>
              <a:ahLst/>
              <a:cxnLst/>
              <a:rect l="0" t="0" r="0" b="0"/>
              <a:pathLst>
                <a:path w="1095375" h="371475">
                  <a:moveTo>
                    <a:pt x="1082227" y="298609"/>
                  </a:moveTo>
                  <a:cubicBezTo>
                    <a:pt x="1021267" y="210026"/>
                    <a:pt x="942209" y="136684"/>
                    <a:pt x="851722" y="87154"/>
                  </a:cubicBezTo>
                  <a:cubicBezTo>
                    <a:pt x="757424" y="33814"/>
                    <a:pt x="655507" y="7144"/>
                    <a:pt x="548827" y="7144"/>
                  </a:cubicBezTo>
                  <a:cubicBezTo>
                    <a:pt x="444052" y="7144"/>
                    <a:pt x="338324" y="34766"/>
                    <a:pt x="244979" y="87154"/>
                  </a:cubicBezTo>
                  <a:cubicBezTo>
                    <a:pt x="154492" y="137636"/>
                    <a:pt x="75434" y="210979"/>
                    <a:pt x="14474" y="300514"/>
                  </a:cubicBezTo>
                  <a:cubicBezTo>
                    <a:pt x="2092" y="318611"/>
                    <a:pt x="5902" y="344329"/>
                    <a:pt x="22094" y="357664"/>
                  </a:cubicBezTo>
                  <a:cubicBezTo>
                    <a:pt x="28762" y="362426"/>
                    <a:pt x="35429" y="365284"/>
                    <a:pt x="43049" y="365284"/>
                  </a:cubicBezTo>
                  <a:cubicBezTo>
                    <a:pt x="54479" y="365284"/>
                    <a:pt x="64957" y="359569"/>
                    <a:pt x="71624" y="349091"/>
                  </a:cubicBezTo>
                  <a:cubicBezTo>
                    <a:pt x="125917" y="270034"/>
                    <a:pt x="196402" y="204311"/>
                    <a:pt x="277364" y="159544"/>
                  </a:cubicBezTo>
                  <a:cubicBezTo>
                    <a:pt x="362137" y="111919"/>
                    <a:pt x="452624" y="88106"/>
                    <a:pt x="548827" y="88106"/>
                  </a:cubicBezTo>
                  <a:cubicBezTo>
                    <a:pt x="644077" y="88106"/>
                    <a:pt x="734564" y="111919"/>
                    <a:pt x="819337" y="158591"/>
                  </a:cubicBezTo>
                  <a:cubicBezTo>
                    <a:pt x="899347" y="203359"/>
                    <a:pt x="970784" y="268129"/>
                    <a:pt x="1024124" y="347186"/>
                  </a:cubicBezTo>
                  <a:cubicBezTo>
                    <a:pt x="1029839" y="355759"/>
                    <a:pt x="1038412" y="361474"/>
                    <a:pt x="1047937" y="362426"/>
                  </a:cubicBezTo>
                  <a:cubicBezTo>
                    <a:pt x="1057462" y="363379"/>
                    <a:pt x="1066034" y="361474"/>
                    <a:pt x="1073654" y="354806"/>
                  </a:cubicBezTo>
                  <a:cubicBezTo>
                    <a:pt x="1090799" y="341471"/>
                    <a:pt x="1094609" y="316706"/>
                    <a:pt x="1082227" y="29860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96" name="Freeform: Shape 295">
              <a:extLst>
                <a:ext uri="{FF2B5EF4-FFF2-40B4-BE49-F238E27FC236}">
                  <a16:creationId xmlns:a16="http://schemas.microsoft.com/office/drawing/2014/main" id="{0E79C806-034A-4DC2-B2A2-E230B9504980}"/>
                </a:ext>
              </a:extLst>
            </p:cNvPr>
            <p:cNvSpPr/>
            <p:nvPr/>
          </p:nvSpPr>
          <p:spPr>
            <a:xfrm>
              <a:off x="6927374" y="3183096"/>
              <a:ext cx="771525" cy="257175"/>
            </a:xfrm>
            <a:custGeom>
              <a:avLst/>
              <a:gdLst/>
              <a:ahLst/>
              <a:cxnLst/>
              <a:rect l="0" t="0" r="0" b="0"/>
              <a:pathLst>
                <a:path w="771525" h="257175">
                  <a:moveTo>
                    <a:pt x="752316" y="244316"/>
                  </a:moveTo>
                  <a:cubicBezTo>
                    <a:pt x="767556" y="232886"/>
                    <a:pt x="770414" y="210979"/>
                    <a:pt x="758984" y="196691"/>
                  </a:cubicBezTo>
                  <a:cubicBezTo>
                    <a:pt x="717074" y="139541"/>
                    <a:pt x="660876" y="91916"/>
                    <a:pt x="598011" y="58579"/>
                  </a:cubicBezTo>
                  <a:cubicBezTo>
                    <a:pt x="533241" y="25241"/>
                    <a:pt x="459899" y="7144"/>
                    <a:pt x="386556" y="7144"/>
                  </a:cubicBezTo>
                  <a:cubicBezTo>
                    <a:pt x="313214" y="7144"/>
                    <a:pt x="239871" y="25241"/>
                    <a:pt x="175101" y="58579"/>
                  </a:cubicBezTo>
                  <a:cubicBezTo>
                    <a:pt x="112236" y="90964"/>
                    <a:pt x="56991" y="138589"/>
                    <a:pt x="14129" y="195739"/>
                  </a:cubicBezTo>
                  <a:cubicBezTo>
                    <a:pt x="2699" y="210979"/>
                    <a:pt x="5556" y="232886"/>
                    <a:pt x="20796" y="243364"/>
                  </a:cubicBezTo>
                  <a:cubicBezTo>
                    <a:pt x="28416" y="249079"/>
                    <a:pt x="36989" y="250984"/>
                    <a:pt x="45561" y="250031"/>
                  </a:cubicBezTo>
                  <a:cubicBezTo>
                    <a:pt x="54134" y="249079"/>
                    <a:pt x="62706" y="244316"/>
                    <a:pt x="67469" y="236696"/>
                  </a:cubicBezTo>
                  <a:cubicBezTo>
                    <a:pt x="103664" y="187166"/>
                    <a:pt x="151289" y="147161"/>
                    <a:pt x="204629" y="118586"/>
                  </a:cubicBezTo>
                  <a:cubicBezTo>
                    <a:pt x="260826" y="89059"/>
                    <a:pt x="321786" y="74771"/>
                    <a:pt x="385604" y="74771"/>
                  </a:cubicBezTo>
                  <a:cubicBezTo>
                    <a:pt x="449421" y="74771"/>
                    <a:pt x="510381" y="90011"/>
                    <a:pt x="566579" y="118586"/>
                  </a:cubicBezTo>
                  <a:cubicBezTo>
                    <a:pt x="619919" y="146209"/>
                    <a:pt x="667544" y="187166"/>
                    <a:pt x="703739" y="236696"/>
                  </a:cubicBezTo>
                  <a:lnTo>
                    <a:pt x="703739" y="236696"/>
                  </a:lnTo>
                  <a:cubicBezTo>
                    <a:pt x="710406" y="245269"/>
                    <a:pt x="719931" y="250031"/>
                    <a:pt x="730409" y="250031"/>
                  </a:cubicBezTo>
                  <a:cubicBezTo>
                    <a:pt x="739934" y="250984"/>
                    <a:pt x="746601" y="249079"/>
                    <a:pt x="752316" y="244316"/>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297" name="Freeform: Shape 296">
              <a:extLst>
                <a:ext uri="{FF2B5EF4-FFF2-40B4-BE49-F238E27FC236}">
                  <a16:creationId xmlns:a16="http://schemas.microsoft.com/office/drawing/2014/main" id="{EDE6820C-AACB-4236-8E50-7DB34456874B}"/>
                </a:ext>
              </a:extLst>
            </p:cNvPr>
            <p:cNvSpPr/>
            <p:nvPr/>
          </p:nvSpPr>
          <p:spPr>
            <a:xfrm>
              <a:off x="7042357" y="3338536"/>
              <a:ext cx="533400" cy="190503"/>
            </a:xfrm>
            <a:custGeom>
              <a:avLst/>
              <a:gdLst/>
              <a:ahLst/>
              <a:cxnLst/>
              <a:rect l="0" t="0" r="0" b="0"/>
              <a:pathLst>
                <a:path w="533400" h="190500">
                  <a:moveTo>
                    <a:pt x="528749" y="153829"/>
                  </a:moveTo>
                  <a:cubicBezTo>
                    <a:pt x="529702" y="144304"/>
                    <a:pt x="527797" y="134779"/>
                    <a:pt x="521129" y="127159"/>
                  </a:cubicBezTo>
                  <a:cubicBezTo>
                    <a:pt x="460169" y="50959"/>
                    <a:pt x="368729" y="7144"/>
                    <a:pt x="268716" y="7144"/>
                  </a:cubicBezTo>
                  <a:cubicBezTo>
                    <a:pt x="168704" y="7144"/>
                    <a:pt x="73454" y="52864"/>
                    <a:pt x="14399" y="130016"/>
                  </a:cubicBezTo>
                  <a:cubicBezTo>
                    <a:pt x="8684" y="137636"/>
                    <a:pt x="5826" y="147161"/>
                    <a:pt x="7731" y="156686"/>
                  </a:cubicBezTo>
                  <a:cubicBezTo>
                    <a:pt x="8684" y="166211"/>
                    <a:pt x="14399" y="174784"/>
                    <a:pt x="22971" y="180499"/>
                  </a:cubicBezTo>
                  <a:cubicBezTo>
                    <a:pt x="29639" y="185261"/>
                    <a:pt x="37259" y="188119"/>
                    <a:pt x="45831" y="188119"/>
                  </a:cubicBezTo>
                  <a:cubicBezTo>
                    <a:pt x="58214" y="188119"/>
                    <a:pt x="69644" y="182404"/>
                    <a:pt x="76312" y="173831"/>
                  </a:cubicBezTo>
                  <a:cubicBezTo>
                    <a:pt x="122031" y="114776"/>
                    <a:pt x="192516" y="80486"/>
                    <a:pt x="269669" y="80486"/>
                  </a:cubicBezTo>
                  <a:cubicBezTo>
                    <a:pt x="345869" y="80486"/>
                    <a:pt x="415401" y="113824"/>
                    <a:pt x="461122" y="171926"/>
                  </a:cubicBezTo>
                  <a:cubicBezTo>
                    <a:pt x="473504" y="188119"/>
                    <a:pt x="498269" y="190976"/>
                    <a:pt x="514462" y="178594"/>
                  </a:cubicBezTo>
                  <a:cubicBezTo>
                    <a:pt x="522081" y="171926"/>
                    <a:pt x="527797" y="163354"/>
                    <a:pt x="528749" y="153829"/>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298" name="Group 297">
            <a:extLst>
              <a:ext uri="{FF2B5EF4-FFF2-40B4-BE49-F238E27FC236}">
                <a16:creationId xmlns:a16="http://schemas.microsoft.com/office/drawing/2014/main" id="{424EC3E3-0DD2-40A4-8CB8-95E5C945424D}"/>
              </a:ext>
            </a:extLst>
          </p:cNvPr>
          <p:cNvGrpSpPr/>
          <p:nvPr/>
        </p:nvGrpSpPr>
        <p:grpSpPr>
          <a:xfrm>
            <a:off x="8849082" y="3491564"/>
            <a:ext cx="265574" cy="334784"/>
            <a:chOff x="6774656" y="7332821"/>
            <a:chExt cx="1684973" cy="2124075"/>
          </a:xfrm>
          <a:solidFill>
            <a:schemeClr val="accent1"/>
          </a:solidFill>
        </p:grpSpPr>
        <p:sp>
          <p:nvSpPr>
            <p:cNvPr id="299" name="Freeform: Shape 298">
              <a:extLst>
                <a:ext uri="{FF2B5EF4-FFF2-40B4-BE49-F238E27FC236}">
                  <a16:creationId xmlns:a16="http://schemas.microsoft.com/office/drawing/2014/main" id="{8A4A8E0C-4056-4167-BDFE-8B6E56741871}"/>
                </a:ext>
              </a:extLst>
            </p:cNvPr>
            <p:cNvSpPr/>
            <p:nvPr/>
          </p:nvSpPr>
          <p:spPr>
            <a:xfrm>
              <a:off x="7366119" y="8237696"/>
              <a:ext cx="228600" cy="180975"/>
            </a:xfrm>
            <a:custGeom>
              <a:avLst/>
              <a:gdLst/>
              <a:ahLst/>
              <a:cxnLst/>
              <a:rect l="0" t="0" r="0" b="0"/>
              <a:pathLst>
                <a:path w="228600" h="180975">
                  <a:moveTo>
                    <a:pt x="41474" y="178594"/>
                  </a:moveTo>
                  <a:lnTo>
                    <a:pt x="190064" y="178594"/>
                  </a:lnTo>
                  <a:cubicBezTo>
                    <a:pt x="209114" y="178594"/>
                    <a:pt x="224354" y="166211"/>
                    <a:pt x="224354" y="151924"/>
                  </a:cubicBezTo>
                  <a:lnTo>
                    <a:pt x="224354" y="33814"/>
                  </a:lnTo>
                  <a:cubicBezTo>
                    <a:pt x="224354" y="18574"/>
                    <a:pt x="209114" y="7144"/>
                    <a:pt x="190064" y="7144"/>
                  </a:cubicBezTo>
                  <a:lnTo>
                    <a:pt x="41474" y="7144"/>
                  </a:lnTo>
                  <a:cubicBezTo>
                    <a:pt x="22424" y="7144"/>
                    <a:pt x="7184" y="19526"/>
                    <a:pt x="7184" y="33814"/>
                  </a:cubicBezTo>
                  <a:lnTo>
                    <a:pt x="7184" y="151924"/>
                  </a:lnTo>
                  <a:cubicBezTo>
                    <a:pt x="6231" y="166211"/>
                    <a:pt x="22424" y="178594"/>
                    <a:pt x="41474" y="178594"/>
                  </a:cubicBezTo>
                  <a:close/>
                  <a:moveTo>
                    <a:pt x="75764" y="60484"/>
                  </a:moveTo>
                  <a:lnTo>
                    <a:pt x="154821" y="60484"/>
                  </a:lnTo>
                  <a:lnTo>
                    <a:pt x="154821" y="124301"/>
                  </a:lnTo>
                  <a:lnTo>
                    <a:pt x="75764" y="124301"/>
                  </a:lnTo>
                  <a:lnTo>
                    <a:pt x="75764" y="6048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0" name="Freeform: Shape 299">
              <a:extLst>
                <a:ext uri="{FF2B5EF4-FFF2-40B4-BE49-F238E27FC236}">
                  <a16:creationId xmlns:a16="http://schemas.microsoft.com/office/drawing/2014/main" id="{5B18EE32-9B05-4383-9890-CF614A9FF32A}"/>
                </a:ext>
              </a:extLst>
            </p:cNvPr>
            <p:cNvSpPr/>
            <p:nvPr/>
          </p:nvSpPr>
          <p:spPr>
            <a:xfrm>
              <a:off x="6866056" y="8237696"/>
              <a:ext cx="228600" cy="180975"/>
            </a:xfrm>
            <a:custGeom>
              <a:avLst/>
              <a:gdLst/>
              <a:ahLst/>
              <a:cxnLst/>
              <a:rect l="0" t="0" r="0" b="0"/>
              <a:pathLst>
                <a:path w="228600" h="180975">
                  <a:moveTo>
                    <a:pt x="41474" y="178594"/>
                  </a:moveTo>
                  <a:lnTo>
                    <a:pt x="190064" y="178594"/>
                  </a:lnTo>
                  <a:cubicBezTo>
                    <a:pt x="209114" y="178594"/>
                    <a:pt x="224354" y="166211"/>
                    <a:pt x="224354" y="151924"/>
                  </a:cubicBezTo>
                  <a:lnTo>
                    <a:pt x="224354" y="33814"/>
                  </a:lnTo>
                  <a:cubicBezTo>
                    <a:pt x="224354" y="18574"/>
                    <a:pt x="209114" y="7144"/>
                    <a:pt x="190064" y="7144"/>
                  </a:cubicBezTo>
                  <a:lnTo>
                    <a:pt x="41474" y="7144"/>
                  </a:lnTo>
                  <a:cubicBezTo>
                    <a:pt x="22424" y="7144"/>
                    <a:pt x="7184" y="19526"/>
                    <a:pt x="7184" y="33814"/>
                  </a:cubicBezTo>
                  <a:lnTo>
                    <a:pt x="7184" y="151924"/>
                  </a:lnTo>
                  <a:cubicBezTo>
                    <a:pt x="6231" y="166211"/>
                    <a:pt x="22424" y="178594"/>
                    <a:pt x="41474" y="178594"/>
                  </a:cubicBezTo>
                  <a:close/>
                  <a:moveTo>
                    <a:pt x="75764" y="60484"/>
                  </a:moveTo>
                  <a:lnTo>
                    <a:pt x="154821" y="60484"/>
                  </a:lnTo>
                  <a:lnTo>
                    <a:pt x="154821" y="124301"/>
                  </a:lnTo>
                  <a:lnTo>
                    <a:pt x="75764" y="124301"/>
                  </a:lnTo>
                  <a:lnTo>
                    <a:pt x="75764" y="6048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1" name="Freeform: Shape 300">
              <a:extLst>
                <a:ext uri="{FF2B5EF4-FFF2-40B4-BE49-F238E27FC236}">
                  <a16:creationId xmlns:a16="http://schemas.microsoft.com/office/drawing/2014/main" id="{40AD479C-0BD7-4B3A-B6F1-57C4A7AD85C6}"/>
                </a:ext>
              </a:extLst>
            </p:cNvPr>
            <p:cNvSpPr/>
            <p:nvPr/>
          </p:nvSpPr>
          <p:spPr>
            <a:xfrm>
              <a:off x="6866096" y="8509159"/>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2409"/>
                    <a:pt x="41434" y="222409"/>
                  </a:cubicBezTo>
                  <a:lnTo>
                    <a:pt x="190024" y="222409"/>
                  </a:lnTo>
                  <a:cubicBezTo>
                    <a:pt x="209074" y="222409"/>
                    <a:pt x="224314" y="207169"/>
                    <a:pt x="224314" y="188119"/>
                  </a:cubicBezTo>
                  <a:lnTo>
                    <a:pt x="224314" y="41434"/>
                  </a:lnTo>
                  <a:cubicBezTo>
                    <a:pt x="224314" y="22384"/>
                    <a:pt x="209074" y="7144"/>
                    <a:pt x="190024" y="7144"/>
                  </a:cubicBezTo>
                  <a:close/>
                  <a:moveTo>
                    <a:pt x="154781" y="153829"/>
                  </a:moveTo>
                  <a:lnTo>
                    <a:pt x="75724" y="153829"/>
                  </a:lnTo>
                  <a:lnTo>
                    <a:pt x="75724" y="76676"/>
                  </a:lnTo>
                  <a:lnTo>
                    <a:pt x="154781" y="76676"/>
                  </a:lnTo>
                  <a:lnTo>
                    <a:pt x="154781"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2" name="Freeform: Shape 301">
              <a:extLst>
                <a:ext uri="{FF2B5EF4-FFF2-40B4-BE49-F238E27FC236}">
                  <a16:creationId xmlns:a16="http://schemas.microsoft.com/office/drawing/2014/main" id="{2FA0B3BA-83AD-496A-900B-ECF9DBB72419}"/>
                </a:ext>
              </a:extLst>
            </p:cNvPr>
            <p:cNvSpPr/>
            <p:nvPr/>
          </p:nvSpPr>
          <p:spPr>
            <a:xfrm>
              <a:off x="7138511" y="9052084"/>
              <a:ext cx="228600" cy="228600"/>
            </a:xfrm>
            <a:custGeom>
              <a:avLst/>
              <a:gdLst/>
              <a:ahLst/>
              <a:cxnLst/>
              <a:rect l="0" t="0" r="0" b="0"/>
              <a:pathLst>
                <a:path w="228600" h="228600">
                  <a:moveTo>
                    <a:pt x="190024" y="7144"/>
                  </a:moveTo>
                  <a:lnTo>
                    <a:pt x="41434" y="7144"/>
                  </a:lnTo>
                  <a:cubicBezTo>
                    <a:pt x="22384" y="7144"/>
                    <a:pt x="7144" y="22384"/>
                    <a:pt x="7144" y="41434"/>
                  </a:cubicBezTo>
                  <a:lnTo>
                    <a:pt x="7144" y="189071"/>
                  </a:lnTo>
                  <a:cubicBezTo>
                    <a:pt x="7144" y="205264"/>
                    <a:pt x="22384" y="223361"/>
                    <a:pt x="41434" y="223361"/>
                  </a:cubicBezTo>
                  <a:lnTo>
                    <a:pt x="190024" y="223361"/>
                  </a:lnTo>
                  <a:cubicBezTo>
                    <a:pt x="210026" y="223361"/>
                    <a:pt x="224314" y="205264"/>
                    <a:pt x="224314" y="189071"/>
                  </a:cubicBezTo>
                  <a:lnTo>
                    <a:pt x="224314" y="41434"/>
                  </a:lnTo>
                  <a:cubicBezTo>
                    <a:pt x="224314" y="22384"/>
                    <a:pt x="209074" y="7144"/>
                    <a:pt x="190024" y="7144"/>
                  </a:cubicBezTo>
                  <a:close/>
                  <a:moveTo>
                    <a:pt x="155734" y="154781"/>
                  </a:moveTo>
                  <a:lnTo>
                    <a:pt x="76676" y="154781"/>
                  </a:lnTo>
                  <a:lnTo>
                    <a:pt x="76676" y="75724"/>
                  </a:lnTo>
                  <a:lnTo>
                    <a:pt x="155734" y="75724"/>
                  </a:lnTo>
                  <a:lnTo>
                    <a:pt x="155734" y="15478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3" name="Freeform: Shape 302">
              <a:extLst>
                <a:ext uri="{FF2B5EF4-FFF2-40B4-BE49-F238E27FC236}">
                  <a16:creationId xmlns:a16="http://schemas.microsoft.com/office/drawing/2014/main" id="{7FCD237A-2EBF-4DB3-9219-62FE28991CC4}"/>
                </a:ext>
              </a:extLst>
            </p:cNvPr>
            <p:cNvSpPr/>
            <p:nvPr/>
          </p:nvSpPr>
          <p:spPr>
            <a:xfrm>
              <a:off x="6866096" y="8780621"/>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3361"/>
                    <a:pt x="41434" y="223361"/>
                  </a:cubicBezTo>
                  <a:lnTo>
                    <a:pt x="190024" y="223361"/>
                  </a:lnTo>
                  <a:cubicBezTo>
                    <a:pt x="209074" y="223361"/>
                    <a:pt x="224314" y="208121"/>
                    <a:pt x="224314" y="188119"/>
                  </a:cubicBezTo>
                  <a:lnTo>
                    <a:pt x="224314" y="41434"/>
                  </a:lnTo>
                  <a:cubicBezTo>
                    <a:pt x="224314" y="22384"/>
                    <a:pt x="209074" y="7144"/>
                    <a:pt x="190024" y="7144"/>
                  </a:cubicBezTo>
                  <a:close/>
                  <a:moveTo>
                    <a:pt x="154781" y="153829"/>
                  </a:moveTo>
                  <a:lnTo>
                    <a:pt x="75724" y="153829"/>
                  </a:lnTo>
                  <a:lnTo>
                    <a:pt x="75724" y="76676"/>
                  </a:lnTo>
                  <a:lnTo>
                    <a:pt x="154781" y="76676"/>
                  </a:lnTo>
                  <a:lnTo>
                    <a:pt x="154781"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4" name="Freeform: Shape 303">
              <a:extLst>
                <a:ext uri="{FF2B5EF4-FFF2-40B4-BE49-F238E27FC236}">
                  <a16:creationId xmlns:a16="http://schemas.microsoft.com/office/drawing/2014/main" id="{B9DB7D8E-538C-4168-9363-1C1C18C71C59}"/>
                </a:ext>
              </a:extLst>
            </p:cNvPr>
            <p:cNvSpPr/>
            <p:nvPr/>
          </p:nvSpPr>
          <p:spPr>
            <a:xfrm>
              <a:off x="7138511" y="8509159"/>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2409"/>
                    <a:pt x="41434" y="222409"/>
                  </a:cubicBezTo>
                  <a:lnTo>
                    <a:pt x="190024" y="222409"/>
                  </a:lnTo>
                  <a:cubicBezTo>
                    <a:pt x="209074" y="222409"/>
                    <a:pt x="224314" y="207169"/>
                    <a:pt x="224314" y="188119"/>
                  </a:cubicBezTo>
                  <a:lnTo>
                    <a:pt x="224314" y="41434"/>
                  </a:lnTo>
                  <a:cubicBezTo>
                    <a:pt x="224314" y="22384"/>
                    <a:pt x="209074" y="7144"/>
                    <a:pt x="190024" y="7144"/>
                  </a:cubicBezTo>
                  <a:close/>
                  <a:moveTo>
                    <a:pt x="155734" y="153829"/>
                  </a:moveTo>
                  <a:lnTo>
                    <a:pt x="76676" y="153829"/>
                  </a:lnTo>
                  <a:lnTo>
                    <a:pt x="76676" y="76676"/>
                  </a:lnTo>
                  <a:lnTo>
                    <a:pt x="155734" y="76676"/>
                  </a:lnTo>
                  <a:lnTo>
                    <a:pt x="155734"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5" name="Freeform: Shape 304">
              <a:extLst>
                <a:ext uri="{FF2B5EF4-FFF2-40B4-BE49-F238E27FC236}">
                  <a16:creationId xmlns:a16="http://schemas.microsoft.com/office/drawing/2014/main" id="{222158B2-C7C5-4E15-847F-90EF2BE533D6}"/>
                </a:ext>
              </a:extLst>
            </p:cNvPr>
            <p:cNvSpPr/>
            <p:nvPr/>
          </p:nvSpPr>
          <p:spPr>
            <a:xfrm>
              <a:off x="7138511" y="8780621"/>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3361"/>
                    <a:pt x="41434" y="223361"/>
                  </a:cubicBezTo>
                  <a:lnTo>
                    <a:pt x="190024" y="223361"/>
                  </a:lnTo>
                  <a:cubicBezTo>
                    <a:pt x="209074" y="223361"/>
                    <a:pt x="224314" y="208121"/>
                    <a:pt x="224314" y="188119"/>
                  </a:cubicBezTo>
                  <a:lnTo>
                    <a:pt x="224314" y="41434"/>
                  </a:lnTo>
                  <a:cubicBezTo>
                    <a:pt x="224314" y="22384"/>
                    <a:pt x="209074" y="7144"/>
                    <a:pt x="190024" y="7144"/>
                  </a:cubicBezTo>
                  <a:close/>
                  <a:moveTo>
                    <a:pt x="155734" y="153829"/>
                  </a:moveTo>
                  <a:lnTo>
                    <a:pt x="76676" y="153829"/>
                  </a:lnTo>
                  <a:lnTo>
                    <a:pt x="76676" y="76676"/>
                  </a:lnTo>
                  <a:lnTo>
                    <a:pt x="155734" y="76676"/>
                  </a:lnTo>
                  <a:lnTo>
                    <a:pt x="155734"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6" name="Freeform: Shape 305">
              <a:extLst>
                <a:ext uri="{FF2B5EF4-FFF2-40B4-BE49-F238E27FC236}">
                  <a16:creationId xmlns:a16="http://schemas.microsoft.com/office/drawing/2014/main" id="{E9E8371F-B510-4377-9757-58F18DF00DF7}"/>
                </a:ext>
              </a:extLst>
            </p:cNvPr>
            <p:cNvSpPr/>
            <p:nvPr/>
          </p:nvSpPr>
          <p:spPr>
            <a:xfrm>
              <a:off x="6866096" y="9052084"/>
              <a:ext cx="228600" cy="228600"/>
            </a:xfrm>
            <a:custGeom>
              <a:avLst/>
              <a:gdLst/>
              <a:ahLst/>
              <a:cxnLst/>
              <a:rect l="0" t="0" r="0" b="0"/>
              <a:pathLst>
                <a:path w="228600" h="228600">
                  <a:moveTo>
                    <a:pt x="190024" y="7144"/>
                  </a:moveTo>
                  <a:lnTo>
                    <a:pt x="41434" y="7144"/>
                  </a:lnTo>
                  <a:cubicBezTo>
                    <a:pt x="22384" y="7144"/>
                    <a:pt x="7144" y="22384"/>
                    <a:pt x="7144" y="41434"/>
                  </a:cubicBezTo>
                  <a:lnTo>
                    <a:pt x="7144" y="189071"/>
                  </a:lnTo>
                  <a:cubicBezTo>
                    <a:pt x="7144" y="205264"/>
                    <a:pt x="22384" y="223361"/>
                    <a:pt x="41434" y="223361"/>
                  </a:cubicBezTo>
                  <a:lnTo>
                    <a:pt x="190024" y="223361"/>
                  </a:lnTo>
                  <a:cubicBezTo>
                    <a:pt x="210026" y="223361"/>
                    <a:pt x="224314" y="205264"/>
                    <a:pt x="224314" y="189071"/>
                  </a:cubicBezTo>
                  <a:lnTo>
                    <a:pt x="224314" y="41434"/>
                  </a:lnTo>
                  <a:cubicBezTo>
                    <a:pt x="224314" y="22384"/>
                    <a:pt x="209074" y="7144"/>
                    <a:pt x="190024" y="7144"/>
                  </a:cubicBezTo>
                  <a:close/>
                  <a:moveTo>
                    <a:pt x="154781" y="154781"/>
                  </a:moveTo>
                  <a:lnTo>
                    <a:pt x="75724" y="154781"/>
                  </a:lnTo>
                  <a:lnTo>
                    <a:pt x="75724" y="75724"/>
                  </a:lnTo>
                  <a:lnTo>
                    <a:pt x="154781" y="75724"/>
                  </a:lnTo>
                  <a:lnTo>
                    <a:pt x="154781" y="15478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7" name="Freeform: Shape 306">
              <a:extLst>
                <a:ext uri="{FF2B5EF4-FFF2-40B4-BE49-F238E27FC236}">
                  <a16:creationId xmlns:a16="http://schemas.microsoft.com/office/drawing/2014/main" id="{4CE21B22-DD69-4BFC-9E8D-12B4DD6E5372}"/>
                </a:ext>
              </a:extLst>
            </p:cNvPr>
            <p:cNvSpPr/>
            <p:nvPr/>
          </p:nvSpPr>
          <p:spPr>
            <a:xfrm>
              <a:off x="8138636" y="7649051"/>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2409"/>
                    <a:pt x="41434" y="222409"/>
                  </a:cubicBezTo>
                  <a:lnTo>
                    <a:pt x="190024" y="222409"/>
                  </a:lnTo>
                  <a:cubicBezTo>
                    <a:pt x="209074" y="222409"/>
                    <a:pt x="224314" y="207169"/>
                    <a:pt x="224314" y="188119"/>
                  </a:cubicBezTo>
                  <a:lnTo>
                    <a:pt x="224314" y="42386"/>
                  </a:lnTo>
                  <a:cubicBezTo>
                    <a:pt x="224314" y="23336"/>
                    <a:pt x="209074" y="7144"/>
                    <a:pt x="190024" y="7144"/>
                  </a:cubicBezTo>
                  <a:close/>
                  <a:moveTo>
                    <a:pt x="154781" y="154781"/>
                  </a:moveTo>
                  <a:lnTo>
                    <a:pt x="75724" y="154781"/>
                  </a:lnTo>
                  <a:lnTo>
                    <a:pt x="75724" y="77629"/>
                  </a:lnTo>
                  <a:lnTo>
                    <a:pt x="154781" y="77629"/>
                  </a:lnTo>
                  <a:lnTo>
                    <a:pt x="154781" y="15478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8" name="Freeform: Shape 307">
              <a:extLst>
                <a:ext uri="{FF2B5EF4-FFF2-40B4-BE49-F238E27FC236}">
                  <a16:creationId xmlns:a16="http://schemas.microsoft.com/office/drawing/2014/main" id="{4ACFDD16-BEA0-419B-929D-2180D0A895B5}"/>
                </a:ext>
              </a:extLst>
            </p:cNvPr>
            <p:cNvSpPr/>
            <p:nvPr/>
          </p:nvSpPr>
          <p:spPr>
            <a:xfrm>
              <a:off x="7865269" y="8191976"/>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2409"/>
                    <a:pt x="41434" y="222409"/>
                  </a:cubicBezTo>
                  <a:lnTo>
                    <a:pt x="190024" y="222409"/>
                  </a:lnTo>
                  <a:cubicBezTo>
                    <a:pt x="209074" y="222409"/>
                    <a:pt x="224314" y="207169"/>
                    <a:pt x="224314" y="188119"/>
                  </a:cubicBezTo>
                  <a:lnTo>
                    <a:pt x="224314" y="42386"/>
                  </a:lnTo>
                  <a:cubicBezTo>
                    <a:pt x="225266" y="23336"/>
                    <a:pt x="209074" y="7144"/>
                    <a:pt x="190024" y="7144"/>
                  </a:cubicBezTo>
                  <a:close/>
                  <a:moveTo>
                    <a:pt x="155734" y="154781"/>
                  </a:moveTo>
                  <a:lnTo>
                    <a:pt x="76676" y="154781"/>
                  </a:lnTo>
                  <a:lnTo>
                    <a:pt x="76676" y="77629"/>
                  </a:lnTo>
                  <a:lnTo>
                    <a:pt x="155734" y="77629"/>
                  </a:lnTo>
                  <a:lnTo>
                    <a:pt x="155734" y="15478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09" name="Freeform: Shape 308">
              <a:extLst>
                <a:ext uri="{FF2B5EF4-FFF2-40B4-BE49-F238E27FC236}">
                  <a16:creationId xmlns:a16="http://schemas.microsoft.com/office/drawing/2014/main" id="{A6A4CA3B-D829-4411-B66D-2DA8D024BF7D}"/>
                </a:ext>
              </a:extLst>
            </p:cNvPr>
            <p:cNvSpPr/>
            <p:nvPr/>
          </p:nvSpPr>
          <p:spPr>
            <a:xfrm>
              <a:off x="7865269" y="8509159"/>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2409"/>
                    <a:pt x="41434" y="222409"/>
                  </a:cubicBezTo>
                  <a:lnTo>
                    <a:pt x="190024" y="222409"/>
                  </a:lnTo>
                  <a:cubicBezTo>
                    <a:pt x="209074" y="222409"/>
                    <a:pt x="224314" y="207169"/>
                    <a:pt x="224314" y="188119"/>
                  </a:cubicBezTo>
                  <a:lnTo>
                    <a:pt x="224314" y="41434"/>
                  </a:lnTo>
                  <a:cubicBezTo>
                    <a:pt x="225266" y="22384"/>
                    <a:pt x="209074" y="7144"/>
                    <a:pt x="190024" y="7144"/>
                  </a:cubicBezTo>
                  <a:close/>
                  <a:moveTo>
                    <a:pt x="155734" y="153829"/>
                  </a:moveTo>
                  <a:lnTo>
                    <a:pt x="76676" y="153829"/>
                  </a:lnTo>
                  <a:lnTo>
                    <a:pt x="76676" y="76676"/>
                  </a:lnTo>
                  <a:lnTo>
                    <a:pt x="155734" y="76676"/>
                  </a:lnTo>
                  <a:lnTo>
                    <a:pt x="155734"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10" name="Freeform: Shape 309">
              <a:extLst>
                <a:ext uri="{FF2B5EF4-FFF2-40B4-BE49-F238E27FC236}">
                  <a16:creationId xmlns:a16="http://schemas.microsoft.com/office/drawing/2014/main" id="{3B6B1BEA-1CFD-4EA0-B8B8-0B8EB5736ACA}"/>
                </a:ext>
              </a:extLst>
            </p:cNvPr>
            <p:cNvSpPr/>
            <p:nvPr/>
          </p:nvSpPr>
          <p:spPr>
            <a:xfrm>
              <a:off x="7865269" y="7920514"/>
              <a:ext cx="228600" cy="228600"/>
            </a:xfrm>
            <a:custGeom>
              <a:avLst/>
              <a:gdLst/>
              <a:ahLst/>
              <a:cxnLst/>
              <a:rect l="0" t="0" r="0" b="0"/>
              <a:pathLst>
                <a:path w="228600" h="228600">
                  <a:moveTo>
                    <a:pt x="190024" y="7144"/>
                  </a:moveTo>
                  <a:lnTo>
                    <a:pt x="41434" y="7144"/>
                  </a:lnTo>
                  <a:cubicBezTo>
                    <a:pt x="22384" y="7144"/>
                    <a:pt x="7144" y="22384"/>
                    <a:pt x="7144" y="41434"/>
                  </a:cubicBezTo>
                  <a:lnTo>
                    <a:pt x="7144" y="189071"/>
                  </a:lnTo>
                  <a:cubicBezTo>
                    <a:pt x="7144" y="208121"/>
                    <a:pt x="22384" y="223361"/>
                    <a:pt x="41434" y="223361"/>
                  </a:cubicBezTo>
                  <a:lnTo>
                    <a:pt x="190024" y="223361"/>
                  </a:lnTo>
                  <a:cubicBezTo>
                    <a:pt x="209074" y="223361"/>
                    <a:pt x="224314" y="208121"/>
                    <a:pt x="224314" y="189071"/>
                  </a:cubicBezTo>
                  <a:lnTo>
                    <a:pt x="224314" y="41434"/>
                  </a:lnTo>
                  <a:cubicBezTo>
                    <a:pt x="225266" y="23336"/>
                    <a:pt x="209074" y="7144"/>
                    <a:pt x="190024" y="7144"/>
                  </a:cubicBezTo>
                  <a:close/>
                  <a:moveTo>
                    <a:pt x="155734" y="155734"/>
                  </a:moveTo>
                  <a:lnTo>
                    <a:pt x="76676" y="155734"/>
                  </a:lnTo>
                  <a:lnTo>
                    <a:pt x="76676" y="76676"/>
                  </a:lnTo>
                  <a:lnTo>
                    <a:pt x="155734" y="76676"/>
                  </a:lnTo>
                  <a:lnTo>
                    <a:pt x="155734" y="15573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11" name="Freeform: Shape 310">
              <a:extLst>
                <a:ext uri="{FF2B5EF4-FFF2-40B4-BE49-F238E27FC236}">
                  <a16:creationId xmlns:a16="http://schemas.microsoft.com/office/drawing/2014/main" id="{A31775F9-256D-46FF-AEDE-8C779406D37A}"/>
                </a:ext>
              </a:extLst>
            </p:cNvPr>
            <p:cNvSpPr/>
            <p:nvPr/>
          </p:nvSpPr>
          <p:spPr>
            <a:xfrm>
              <a:off x="7865269" y="7649051"/>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2409"/>
                    <a:pt x="41434" y="222409"/>
                  </a:cubicBezTo>
                  <a:lnTo>
                    <a:pt x="190024" y="222409"/>
                  </a:lnTo>
                  <a:cubicBezTo>
                    <a:pt x="209074" y="222409"/>
                    <a:pt x="224314" y="207169"/>
                    <a:pt x="224314" y="188119"/>
                  </a:cubicBezTo>
                  <a:lnTo>
                    <a:pt x="224314" y="42386"/>
                  </a:lnTo>
                  <a:cubicBezTo>
                    <a:pt x="225266" y="23336"/>
                    <a:pt x="209074" y="7144"/>
                    <a:pt x="190024" y="7144"/>
                  </a:cubicBezTo>
                  <a:close/>
                  <a:moveTo>
                    <a:pt x="155734" y="154781"/>
                  </a:moveTo>
                  <a:lnTo>
                    <a:pt x="76676" y="154781"/>
                  </a:lnTo>
                  <a:lnTo>
                    <a:pt x="76676" y="77629"/>
                  </a:lnTo>
                  <a:lnTo>
                    <a:pt x="155734" y="77629"/>
                  </a:lnTo>
                  <a:lnTo>
                    <a:pt x="155734" y="15478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12" name="Freeform: Shape 311">
              <a:extLst>
                <a:ext uri="{FF2B5EF4-FFF2-40B4-BE49-F238E27FC236}">
                  <a16:creationId xmlns:a16="http://schemas.microsoft.com/office/drawing/2014/main" id="{60350215-6056-4EE1-9CE3-3E691BC97AC0}"/>
                </a:ext>
              </a:extLst>
            </p:cNvPr>
            <p:cNvSpPr/>
            <p:nvPr/>
          </p:nvSpPr>
          <p:spPr>
            <a:xfrm>
              <a:off x="7865269" y="9052084"/>
              <a:ext cx="228600" cy="228600"/>
            </a:xfrm>
            <a:custGeom>
              <a:avLst/>
              <a:gdLst/>
              <a:ahLst/>
              <a:cxnLst/>
              <a:rect l="0" t="0" r="0" b="0"/>
              <a:pathLst>
                <a:path w="228600" h="228600">
                  <a:moveTo>
                    <a:pt x="190024" y="7144"/>
                  </a:moveTo>
                  <a:lnTo>
                    <a:pt x="41434" y="7144"/>
                  </a:lnTo>
                  <a:cubicBezTo>
                    <a:pt x="22384" y="7144"/>
                    <a:pt x="7144" y="22384"/>
                    <a:pt x="7144" y="41434"/>
                  </a:cubicBezTo>
                  <a:lnTo>
                    <a:pt x="7144" y="189071"/>
                  </a:lnTo>
                  <a:cubicBezTo>
                    <a:pt x="7144" y="205264"/>
                    <a:pt x="22384" y="223361"/>
                    <a:pt x="41434" y="223361"/>
                  </a:cubicBezTo>
                  <a:lnTo>
                    <a:pt x="190024" y="223361"/>
                  </a:lnTo>
                  <a:cubicBezTo>
                    <a:pt x="210026" y="223361"/>
                    <a:pt x="224314" y="205264"/>
                    <a:pt x="224314" y="189071"/>
                  </a:cubicBezTo>
                  <a:lnTo>
                    <a:pt x="224314" y="41434"/>
                  </a:lnTo>
                  <a:cubicBezTo>
                    <a:pt x="225266" y="22384"/>
                    <a:pt x="209074" y="7144"/>
                    <a:pt x="190024" y="7144"/>
                  </a:cubicBezTo>
                  <a:close/>
                  <a:moveTo>
                    <a:pt x="155734" y="154781"/>
                  </a:moveTo>
                  <a:lnTo>
                    <a:pt x="76676" y="154781"/>
                  </a:lnTo>
                  <a:lnTo>
                    <a:pt x="76676" y="75724"/>
                  </a:lnTo>
                  <a:lnTo>
                    <a:pt x="155734" y="75724"/>
                  </a:lnTo>
                  <a:lnTo>
                    <a:pt x="155734" y="15478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13" name="Freeform: Shape 312">
              <a:extLst>
                <a:ext uri="{FF2B5EF4-FFF2-40B4-BE49-F238E27FC236}">
                  <a16:creationId xmlns:a16="http://schemas.microsoft.com/office/drawing/2014/main" id="{91B3A66C-8D35-4901-8CF7-8131A87CAE43}"/>
                </a:ext>
              </a:extLst>
            </p:cNvPr>
            <p:cNvSpPr/>
            <p:nvPr/>
          </p:nvSpPr>
          <p:spPr>
            <a:xfrm>
              <a:off x="7865269" y="8780621"/>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3361"/>
                    <a:pt x="41434" y="223361"/>
                  </a:cubicBezTo>
                  <a:lnTo>
                    <a:pt x="190024" y="223361"/>
                  </a:lnTo>
                  <a:cubicBezTo>
                    <a:pt x="209074" y="223361"/>
                    <a:pt x="224314" y="208121"/>
                    <a:pt x="224314" y="188119"/>
                  </a:cubicBezTo>
                  <a:lnTo>
                    <a:pt x="224314" y="41434"/>
                  </a:lnTo>
                  <a:cubicBezTo>
                    <a:pt x="225266" y="22384"/>
                    <a:pt x="209074" y="7144"/>
                    <a:pt x="190024" y="7144"/>
                  </a:cubicBezTo>
                  <a:close/>
                  <a:moveTo>
                    <a:pt x="155734" y="153829"/>
                  </a:moveTo>
                  <a:lnTo>
                    <a:pt x="76676" y="153829"/>
                  </a:lnTo>
                  <a:lnTo>
                    <a:pt x="76676" y="76676"/>
                  </a:lnTo>
                  <a:lnTo>
                    <a:pt x="155734" y="76676"/>
                  </a:lnTo>
                  <a:lnTo>
                    <a:pt x="155734"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14" name="Freeform: Shape 313">
              <a:extLst>
                <a:ext uri="{FF2B5EF4-FFF2-40B4-BE49-F238E27FC236}">
                  <a16:creationId xmlns:a16="http://schemas.microsoft.com/office/drawing/2014/main" id="{3581BB4F-8CDC-4C44-9529-C3A8F55F18C1}"/>
                </a:ext>
              </a:extLst>
            </p:cNvPr>
            <p:cNvSpPr/>
            <p:nvPr/>
          </p:nvSpPr>
          <p:spPr>
            <a:xfrm>
              <a:off x="7773829" y="7332821"/>
              <a:ext cx="685800" cy="2124075"/>
            </a:xfrm>
            <a:custGeom>
              <a:avLst/>
              <a:gdLst/>
              <a:ahLst/>
              <a:cxnLst/>
              <a:rect l="0" t="0" r="0" b="0"/>
              <a:pathLst>
                <a:path w="685800" h="2124075">
                  <a:moveTo>
                    <a:pt x="649129" y="7144"/>
                  </a:moveTo>
                  <a:lnTo>
                    <a:pt x="37624" y="7144"/>
                  </a:lnTo>
                  <a:cubicBezTo>
                    <a:pt x="20479" y="7144"/>
                    <a:pt x="7144" y="21431"/>
                    <a:pt x="7144" y="39529"/>
                  </a:cubicBezTo>
                  <a:lnTo>
                    <a:pt x="7144" y="2091214"/>
                  </a:lnTo>
                  <a:cubicBezTo>
                    <a:pt x="7144" y="2109311"/>
                    <a:pt x="20479" y="2123599"/>
                    <a:pt x="37624" y="2123599"/>
                  </a:cubicBezTo>
                  <a:lnTo>
                    <a:pt x="649129" y="2123599"/>
                  </a:lnTo>
                  <a:cubicBezTo>
                    <a:pt x="666274" y="2123599"/>
                    <a:pt x="679609" y="2109311"/>
                    <a:pt x="679609" y="2091214"/>
                  </a:cubicBezTo>
                  <a:lnTo>
                    <a:pt x="679609" y="39529"/>
                  </a:lnTo>
                  <a:cubicBezTo>
                    <a:pt x="679609" y="21431"/>
                    <a:pt x="666274" y="7144"/>
                    <a:pt x="649129" y="7144"/>
                  </a:cubicBezTo>
                  <a:close/>
                  <a:moveTo>
                    <a:pt x="619601" y="2058829"/>
                  </a:moveTo>
                  <a:lnTo>
                    <a:pt x="69056" y="2058829"/>
                  </a:lnTo>
                  <a:lnTo>
                    <a:pt x="69056" y="210026"/>
                  </a:lnTo>
                  <a:lnTo>
                    <a:pt x="619601" y="210026"/>
                  </a:lnTo>
                  <a:lnTo>
                    <a:pt x="619601" y="2058829"/>
                  </a:lnTo>
                  <a:close/>
                  <a:moveTo>
                    <a:pt x="619601" y="145256"/>
                  </a:moveTo>
                  <a:lnTo>
                    <a:pt x="69056" y="145256"/>
                  </a:lnTo>
                  <a:lnTo>
                    <a:pt x="69056" y="71914"/>
                  </a:lnTo>
                  <a:lnTo>
                    <a:pt x="619601" y="71914"/>
                  </a:lnTo>
                  <a:lnTo>
                    <a:pt x="619601" y="145256"/>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15" name="Freeform: Shape 314">
              <a:extLst>
                <a:ext uri="{FF2B5EF4-FFF2-40B4-BE49-F238E27FC236}">
                  <a16:creationId xmlns:a16="http://schemas.microsoft.com/office/drawing/2014/main" id="{7515D81B-233B-4A86-BA90-BF869117949F}"/>
                </a:ext>
              </a:extLst>
            </p:cNvPr>
            <p:cNvSpPr/>
            <p:nvPr/>
          </p:nvSpPr>
          <p:spPr>
            <a:xfrm>
              <a:off x="8138636" y="9052084"/>
              <a:ext cx="228600" cy="228600"/>
            </a:xfrm>
            <a:custGeom>
              <a:avLst/>
              <a:gdLst/>
              <a:ahLst/>
              <a:cxnLst/>
              <a:rect l="0" t="0" r="0" b="0"/>
              <a:pathLst>
                <a:path w="228600" h="228600">
                  <a:moveTo>
                    <a:pt x="190024" y="7144"/>
                  </a:moveTo>
                  <a:lnTo>
                    <a:pt x="41434" y="7144"/>
                  </a:lnTo>
                  <a:cubicBezTo>
                    <a:pt x="22384" y="7144"/>
                    <a:pt x="7144" y="22384"/>
                    <a:pt x="7144" y="41434"/>
                  </a:cubicBezTo>
                  <a:lnTo>
                    <a:pt x="7144" y="189071"/>
                  </a:lnTo>
                  <a:cubicBezTo>
                    <a:pt x="7144" y="205264"/>
                    <a:pt x="22384" y="223361"/>
                    <a:pt x="41434" y="223361"/>
                  </a:cubicBezTo>
                  <a:lnTo>
                    <a:pt x="190024" y="223361"/>
                  </a:lnTo>
                  <a:cubicBezTo>
                    <a:pt x="210026" y="223361"/>
                    <a:pt x="224314" y="205264"/>
                    <a:pt x="224314" y="189071"/>
                  </a:cubicBezTo>
                  <a:lnTo>
                    <a:pt x="224314" y="41434"/>
                  </a:lnTo>
                  <a:cubicBezTo>
                    <a:pt x="224314" y="22384"/>
                    <a:pt x="209074" y="7144"/>
                    <a:pt x="190024" y="7144"/>
                  </a:cubicBezTo>
                  <a:close/>
                  <a:moveTo>
                    <a:pt x="154781" y="154781"/>
                  </a:moveTo>
                  <a:lnTo>
                    <a:pt x="75724" y="154781"/>
                  </a:lnTo>
                  <a:lnTo>
                    <a:pt x="75724" y="75724"/>
                  </a:lnTo>
                  <a:lnTo>
                    <a:pt x="154781" y="75724"/>
                  </a:lnTo>
                  <a:lnTo>
                    <a:pt x="154781" y="15478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16" name="Freeform: Shape 315">
              <a:extLst>
                <a:ext uri="{FF2B5EF4-FFF2-40B4-BE49-F238E27FC236}">
                  <a16:creationId xmlns:a16="http://schemas.microsoft.com/office/drawing/2014/main" id="{5A6396D4-98AA-4A5E-9B00-7A679A6E9BBD}"/>
                </a:ext>
              </a:extLst>
            </p:cNvPr>
            <p:cNvSpPr/>
            <p:nvPr/>
          </p:nvSpPr>
          <p:spPr>
            <a:xfrm>
              <a:off x="8138636" y="8191976"/>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2409"/>
                    <a:pt x="41434" y="222409"/>
                  </a:cubicBezTo>
                  <a:lnTo>
                    <a:pt x="190024" y="222409"/>
                  </a:lnTo>
                  <a:cubicBezTo>
                    <a:pt x="209074" y="222409"/>
                    <a:pt x="224314" y="207169"/>
                    <a:pt x="224314" y="188119"/>
                  </a:cubicBezTo>
                  <a:lnTo>
                    <a:pt x="224314" y="42386"/>
                  </a:lnTo>
                  <a:cubicBezTo>
                    <a:pt x="224314" y="23336"/>
                    <a:pt x="209074" y="7144"/>
                    <a:pt x="190024" y="7144"/>
                  </a:cubicBezTo>
                  <a:close/>
                  <a:moveTo>
                    <a:pt x="154781" y="154781"/>
                  </a:moveTo>
                  <a:lnTo>
                    <a:pt x="75724" y="154781"/>
                  </a:lnTo>
                  <a:lnTo>
                    <a:pt x="75724" y="77629"/>
                  </a:lnTo>
                  <a:lnTo>
                    <a:pt x="154781" y="77629"/>
                  </a:lnTo>
                  <a:lnTo>
                    <a:pt x="154781" y="15478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17" name="Freeform: Shape 316">
              <a:extLst>
                <a:ext uri="{FF2B5EF4-FFF2-40B4-BE49-F238E27FC236}">
                  <a16:creationId xmlns:a16="http://schemas.microsoft.com/office/drawing/2014/main" id="{0376AC59-2793-43C9-8AEA-648CFB6A9C5B}"/>
                </a:ext>
              </a:extLst>
            </p:cNvPr>
            <p:cNvSpPr/>
            <p:nvPr/>
          </p:nvSpPr>
          <p:spPr>
            <a:xfrm>
              <a:off x="7138511" y="8237696"/>
              <a:ext cx="228600" cy="180975"/>
            </a:xfrm>
            <a:custGeom>
              <a:avLst/>
              <a:gdLst/>
              <a:ahLst/>
              <a:cxnLst/>
              <a:rect l="0" t="0" r="0" b="0"/>
              <a:pathLst>
                <a:path w="228600" h="180975">
                  <a:moveTo>
                    <a:pt x="41434" y="178594"/>
                  </a:moveTo>
                  <a:lnTo>
                    <a:pt x="190024" y="178594"/>
                  </a:lnTo>
                  <a:cubicBezTo>
                    <a:pt x="209074" y="178594"/>
                    <a:pt x="224314" y="166211"/>
                    <a:pt x="224314" y="151924"/>
                  </a:cubicBezTo>
                  <a:lnTo>
                    <a:pt x="224314" y="33814"/>
                  </a:lnTo>
                  <a:cubicBezTo>
                    <a:pt x="224314" y="18574"/>
                    <a:pt x="209074" y="7144"/>
                    <a:pt x="190024" y="7144"/>
                  </a:cubicBezTo>
                  <a:lnTo>
                    <a:pt x="41434" y="7144"/>
                  </a:lnTo>
                  <a:cubicBezTo>
                    <a:pt x="22384" y="7144"/>
                    <a:pt x="7144" y="19526"/>
                    <a:pt x="7144" y="33814"/>
                  </a:cubicBezTo>
                  <a:lnTo>
                    <a:pt x="7144" y="151924"/>
                  </a:lnTo>
                  <a:cubicBezTo>
                    <a:pt x="7144" y="166211"/>
                    <a:pt x="22384" y="178594"/>
                    <a:pt x="41434" y="178594"/>
                  </a:cubicBezTo>
                  <a:close/>
                  <a:moveTo>
                    <a:pt x="75724" y="60484"/>
                  </a:moveTo>
                  <a:lnTo>
                    <a:pt x="154781" y="60484"/>
                  </a:lnTo>
                  <a:lnTo>
                    <a:pt x="154781" y="124301"/>
                  </a:lnTo>
                  <a:lnTo>
                    <a:pt x="75724" y="124301"/>
                  </a:lnTo>
                  <a:lnTo>
                    <a:pt x="75724" y="6048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23" name="Freeform: Shape 322">
              <a:extLst>
                <a:ext uri="{FF2B5EF4-FFF2-40B4-BE49-F238E27FC236}">
                  <a16:creationId xmlns:a16="http://schemas.microsoft.com/office/drawing/2014/main" id="{DC47AA69-EB70-4301-A28A-0D3248B142D0}"/>
                </a:ext>
              </a:extLst>
            </p:cNvPr>
            <p:cNvSpPr/>
            <p:nvPr/>
          </p:nvSpPr>
          <p:spPr>
            <a:xfrm>
              <a:off x="8138636" y="8780621"/>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3361"/>
                    <a:pt x="41434" y="223361"/>
                  </a:cubicBezTo>
                  <a:lnTo>
                    <a:pt x="190024" y="223361"/>
                  </a:lnTo>
                  <a:cubicBezTo>
                    <a:pt x="209074" y="223361"/>
                    <a:pt x="224314" y="208121"/>
                    <a:pt x="224314" y="188119"/>
                  </a:cubicBezTo>
                  <a:lnTo>
                    <a:pt x="224314" y="41434"/>
                  </a:lnTo>
                  <a:cubicBezTo>
                    <a:pt x="224314" y="22384"/>
                    <a:pt x="209074" y="7144"/>
                    <a:pt x="190024" y="7144"/>
                  </a:cubicBezTo>
                  <a:close/>
                  <a:moveTo>
                    <a:pt x="154781" y="153829"/>
                  </a:moveTo>
                  <a:lnTo>
                    <a:pt x="75724" y="153829"/>
                  </a:lnTo>
                  <a:lnTo>
                    <a:pt x="75724" y="76676"/>
                  </a:lnTo>
                  <a:lnTo>
                    <a:pt x="154781" y="76676"/>
                  </a:lnTo>
                  <a:lnTo>
                    <a:pt x="154781"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36" name="Freeform: Shape 335">
              <a:extLst>
                <a:ext uri="{FF2B5EF4-FFF2-40B4-BE49-F238E27FC236}">
                  <a16:creationId xmlns:a16="http://schemas.microsoft.com/office/drawing/2014/main" id="{8FA014B2-CFA6-4C83-9B20-ABFAD64951DF}"/>
                </a:ext>
              </a:extLst>
            </p:cNvPr>
            <p:cNvSpPr/>
            <p:nvPr/>
          </p:nvSpPr>
          <p:spPr>
            <a:xfrm>
              <a:off x="7366159" y="9052084"/>
              <a:ext cx="228600" cy="228600"/>
            </a:xfrm>
            <a:custGeom>
              <a:avLst/>
              <a:gdLst/>
              <a:ahLst/>
              <a:cxnLst/>
              <a:rect l="0" t="0" r="0" b="0"/>
              <a:pathLst>
                <a:path w="228600" h="228600">
                  <a:moveTo>
                    <a:pt x="190024" y="7144"/>
                  </a:moveTo>
                  <a:lnTo>
                    <a:pt x="41434" y="7144"/>
                  </a:lnTo>
                  <a:cubicBezTo>
                    <a:pt x="22384" y="7144"/>
                    <a:pt x="7144" y="22384"/>
                    <a:pt x="7144" y="41434"/>
                  </a:cubicBezTo>
                  <a:lnTo>
                    <a:pt x="7144" y="189071"/>
                  </a:lnTo>
                  <a:cubicBezTo>
                    <a:pt x="7144" y="205264"/>
                    <a:pt x="22384" y="223361"/>
                    <a:pt x="41434" y="223361"/>
                  </a:cubicBezTo>
                  <a:lnTo>
                    <a:pt x="190024" y="223361"/>
                  </a:lnTo>
                  <a:cubicBezTo>
                    <a:pt x="210026" y="223361"/>
                    <a:pt x="224314" y="205264"/>
                    <a:pt x="224314" y="189071"/>
                  </a:cubicBezTo>
                  <a:lnTo>
                    <a:pt x="224314" y="41434"/>
                  </a:lnTo>
                  <a:cubicBezTo>
                    <a:pt x="224314" y="22384"/>
                    <a:pt x="209074" y="7144"/>
                    <a:pt x="190024" y="7144"/>
                  </a:cubicBezTo>
                  <a:close/>
                  <a:moveTo>
                    <a:pt x="154781" y="154781"/>
                  </a:moveTo>
                  <a:lnTo>
                    <a:pt x="75724" y="154781"/>
                  </a:lnTo>
                  <a:lnTo>
                    <a:pt x="75724" y="75724"/>
                  </a:lnTo>
                  <a:lnTo>
                    <a:pt x="154781" y="75724"/>
                  </a:lnTo>
                  <a:lnTo>
                    <a:pt x="154781" y="154781"/>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37" name="Freeform: Shape 336">
              <a:extLst>
                <a:ext uri="{FF2B5EF4-FFF2-40B4-BE49-F238E27FC236}">
                  <a16:creationId xmlns:a16="http://schemas.microsoft.com/office/drawing/2014/main" id="{10DC28EA-0B99-4538-9F0E-E9939B9A7171}"/>
                </a:ext>
              </a:extLst>
            </p:cNvPr>
            <p:cNvSpPr/>
            <p:nvPr/>
          </p:nvSpPr>
          <p:spPr>
            <a:xfrm>
              <a:off x="7366159" y="8780621"/>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3361"/>
                    <a:pt x="41434" y="223361"/>
                  </a:cubicBezTo>
                  <a:lnTo>
                    <a:pt x="190024" y="223361"/>
                  </a:lnTo>
                  <a:cubicBezTo>
                    <a:pt x="209074" y="223361"/>
                    <a:pt x="224314" y="208121"/>
                    <a:pt x="224314" y="188119"/>
                  </a:cubicBezTo>
                  <a:lnTo>
                    <a:pt x="224314" y="41434"/>
                  </a:lnTo>
                  <a:cubicBezTo>
                    <a:pt x="224314" y="22384"/>
                    <a:pt x="209074" y="7144"/>
                    <a:pt x="190024" y="7144"/>
                  </a:cubicBezTo>
                  <a:close/>
                  <a:moveTo>
                    <a:pt x="154781" y="153829"/>
                  </a:moveTo>
                  <a:lnTo>
                    <a:pt x="75724" y="153829"/>
                  </a:lnTo>
                  <a:lnTo>
                    <a:pt x="75724" y="76676"/>
                  </a:lnTo>
                  <a:lnTo>
                    <a:pt x="154781" y="76676"/>
                  </a:lnTo>
                  <a:lnTo>
                    <a:pt x="154781"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65" name="Freeform: Shape 364">
              <a:extLst>
                <a:ext uri="{FF2B5EF4-FFF2-40B4-BE49-F238E27FC236}">
                  <a16:creationId xmlns:a16="http://schemas.microsoft.com/office/drawing/2014/main" id="{E5D9A370-11D8-4BB7-8D74-ECD3DF892850}"/>
                </a:ext>
              </a:extLst>
            </p:cNvPr>
            <p:cNvSpPr/>
            <p:nvPr/>
          </p:nvSpPr>
          <p:spPr>
            <a:xfrm>
              <a:off x="6774656" y="7875746"/>
              <a:ext cx="914400" cy="1581150"/>
            </a:xfrm>
            <a:custGeom>
              <a:avLst/>
              <a:gdLst/>
              <a:ahLst/>
              <a:cxnLst/>
              <a:rect l="0" t="0" r="0" b="0"/>
              <a:pathLst>
                <a:path w="914400" h="1581150">
                  <a:moveTo>
                    <a:pt x="874871" y="7144"/>
                  </a:moveTo>
                  <a:lnTo>
                    <a:pt x="39529" y="7144"/>
                  </a:lnTo>
                  <a:cubicBezTo>
                    <a:pt x="21431" y="7144"/>
                    <a:pt x="7144" y="21431"/>
                    <a:pt x="7144" y="39529"/>
                  </a:cubicBezTo>
                  <a:lnTo>
                    <a:pt x="7144" y="1549241"/>
                  </a:lnTo>
                  <a:cubicBezTo>
                    <a:pt x="7144" y="1567339"/>
                    <a:pt x="21431" y="1581626"/>
                    <a:pt x="39529" y="1581626"/>
                  </a:cubicBezTo>
                  <a:lnTo>
                    <a:pt x="874871" y="1581626"/>
                  </a:lnTo>
                  <a:cubicBezTo>
                    <a:pt x="892969" y="1581626"/>
                    <a:pt x="907256" y="1567339"/>
                    <a:pt x="907256" y="1549241"/>
                  </a:cubicBezTo>
                  <a:lnTo>
                    <a:pt x="907256" y="39529"/>
                  </a:lnTo>
                  <a:cubicBezTo>
                    <a:pt x="906304" y="21431"/>
                    <a:pt x="892016" y="7144"/>
                    <a:pt x="874871" y="7144"/>
                  </a:cubicBezTo>
                  <a:close/>
                  <a:moveTo>
                    <a:pt x="70961" y="70961"/>
                  </a:moveTo>
                  <a:lnTo>
                    <a:pt x="419576" y="70961"/>
                  </a:lnTo>
                  <a:lnTo>
                    <a:pt x="419576" y="144304"/>
                  </a:lnTo>
                  <a:lnTo>
                    <a:pt x="70961" y="144304"/>
                  </a:lnTo>
                  <a:lnTo>
                    <a:pt x="70961" y="70961"/>
                  </a:lnTo>
                  <a:close/>
                  <a:moveTo>
                    <a:pt x="842486" y="1516856"/>
                  </a:moveTo>
                  <a:lnTo>
                    <a:pt x="70961" y="1516856"/>
                  </a:lnTo>
                  <a:lnTo>
                    <a:pt x="70961" y="209074"/>
                  </a:lnTo>
                  <a:lnTo>
                    <a:pt x="842486" y="209074"/>
                  </a:lnTo>
                  <a:lnTo>
                    <a:pt x="842486" y="1516856"/>
                  </a:lnTo>
                  <a:close/>
                  <a:moveTo>
                    <a:pt x="842486" y="144304"/>
                  </a:moveTo>
                  <a:lnTo>
                    <a:pt x="483394" y="144304"/>
                  </a:lnTo>
                  <a:lnTo>
                    <a:pt x="483394" y="70961"/>
                  </a:lnTo>
                  <a:lnTo>
                    <a:pt x="842486" y="70961"/>
                  </a:lnTo>
                  <a:lnTo>
                    <a:pt x="842486" y="14430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66" name="Freeform: Shape 365">
              <a:extLst>
                <a:ext uri="{FF2B5EF4-FFF2-40B4-BE49-F238E27FC236}">
                  <a16:creationId xmlns:a16="http://schemas.microsoft.com/office/drawing/2014/main" id="{DAE329A0-7671-446D-BFC4-3F4AC45FEE6D}"/>
                </a:ext>
              </a:extLst>
            </p:cNvPr>
            <p:cNvSpPr/>
            <p:nvPr/>
          </p:nvSpPr>
          <p:spPr>
            <a:xfrm>
              <a:off x="8138636" y="8509159"/>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2409"/>
                    <a:pt x="41434" y="222409"/>
                  </a:cubicBezTo>
                  <a:lnTo>
                    <a:pt x="190024" y="222409"/>
                  </a:lnTo>
                  <a:cubicBezTo>
                    <a:pt x="209074" y="222409"/>
                    <a:pt x="224314" y="207169"/>
                    <a:pt x="224314" y="188119"/>
                  </a:cubicBezTo>
                  <a:lnTo>
                    <a:pt x="224314" y="41434"/>
                  </a:lnTo>
                  <a:cubicBezTo>
                    <a:pt x="224314" y="22384"/>
                    <a:pt x="209074" y="7144"/>
                    <a:pt x="190024" y="7144"/>
                  </a:cubicBezTo>
                  <a:close/>
                  <a:moveTo>
                    <a:pt x="154781" y="153829"/>
                  </a:moveTo>
                  <a:lnTo>
                    <a:pt x="75724" y="153829"/>
                  </a:lnTo>
                  <a:lnTo>
                    <a:pt x="75724" y="76676"/>
                  </a:lnTo>
                  <a:lnTo>
                    <a:pt x="154781" y="76676"/>
                  </a:lnTo>
                  <a:lnTo>
                    <a:pt x="154781"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67" name="Freeform: Shape 366">
              <a:extLst>
                <a:ext uri="{FF2B5EF4-FFF2-40B4-BE49-F238E27FC236}">
                  <a16:creationId xmlns:a16="http://schemas.microsoft.com/office/drawing/2014/main" id="{97F629C5-44E7-4EE6-A241-05EC6BEA5B36}"/>
                </a:ext>
              </a:extLst>
            </p:cNvPr>
            <p:cNvSpPr/>
            <p:nvPr/>
          </p:nvSpPr>
          <p:spPr>
            <a:xfrm>
              <a:off x="7366159" y="8509159"/>
              <a:ext cx="228600" cy="228600"/>
            </a:xfrm>
            <a:custGeom>
              <a:avLst/>
              <a:gdLst/>
              <a:ahLst/>
              <a:cxnLst/>
              <a:rect l="0" t="0" r="0" b="0"/>
              <a:pathLst>
                <a:path w="228600" h="228600">
                  <a:moveTo>
                    <a:pt x="190024" y="7144"/>
                  </a:moveTo>
                  <a:lnTo>
                    <a:pt x="41434" y="7144"/>
                  </a:lnTo>
                  <a:cubicBezTo>
                    <a:pt x="22384" y="7144"/>
                    <a:pt x="7144" y="22384"/>
                    <a:pt x="7144" y="41434"/>
                  </a:cubicBezTo>
                  <a:lnTo>
                    <a:pt x="7144" y="188119"/>
                  </a:lnTo>
                  <a:cubicBezTo>
                    <a:pt x="7144" y="207169"/>
                    <a:pt x="22384" y="222409"/>
                    <a:pt x="41434" y="222409"/>
                  </a:cubicBezTo>
                  <a:lnTo>
                    <a:pt x="190024" y="222409"/>
                  </a:lnTo>
                  <a:cubicBezTo>
                    <a:pt x="209074" y="222409"/>
                    <a:pt x="224314" y="207169"/>
                    <a:pt x="224314" y="188119"/>
                  </a:cubicBezTo>
                  <a:lnTo>
                    <a:pt x="224314" y="41434"/>
                  </a:lnTo>
                  <a:cubicBezTo>
                    <a:pt x="224314" y="22384"/>
                    <a:pt x="209074" y="7144"/>
                    <a:pt x="190024" y="7144"/>
                  </a:cubicBezTo>
                  <a:close/>
                  <a:moveTo>
                    <a:pt x="154781" y="153829"/>
                  </a:moveTo>
                  <a:lnTo>
                    <a:pt x="75724" y="153829"/>
                  </a:lnTo>
                  <a:lnTo>
                    <a:pt x="75724" y="76676"/>
                  </a:lnTo>
                  <a:lnTo>
                    <a:pt x="154781" y="76676"/>
                  </a:lnTo>
                  <a:lnTo>
                    <a:pt x="154781" y="1538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77" name="Freeform: Shape 376">
              <a:extLst>
                <a:ext uri="{FF2B5EF4-FFF2-40B4-BE49-F238E27FC236}">
                  <a16:creationId xmlns:a16="http://schemas.microsoft.com/office/drawing/2014/main" id="{3B7851AD-9D13-4D42-A507-5210E4AE8EDE}"/>
                </a:ext>
              </a:extLst>
            </p:cNvPr>
            <p:cNvSpPr/>
            <p:nvPr/>
          </p:nvSpPr>
          <p:spPr>
            <a:xfrm>
              <a:off x="8138636" y="7920514"/>
              <a:ext cx="228600" cy="228600"/>
            </a:xfrm>
            <a:custGeom>
              <a:avLst/>
              <a:gdLst/>
              <a:ahLst/>
              <a:cxnLst/>
              <a:rect l="0" t="0" r="0" b="0"/>
              <a:pathLst>
                <a:path w="228600" h="228600">
                  <a:moveTo>
                    <a:pt x="190024" y="7144"/>
                  </a:moveTo>
                  <a:lnTo>
                    <a:pt x="41434" y="7144"/>
                  </a:lnTo>
                  <a:cubicBezTo>
                    <a:pt x="22384" y="7144"/>
                    <a:pt x="7144" y="22384"/>
                    <a:pt x="7144" y="41434"/>
                  </a:cubicBezTo>
                  <a:lnTo>
                    <a:pt x="7144" y="189071"/>
                  </a:lnTo>
                  <a:cubicBezTo>
                    <a:pt x="7144" y="208121"/>
                    <a:pt x="22384" y="223361"/>
                    <a:pt x="41434" y="223361"/>
                  </a:cubicBezTo>
                  <a:lnTo>
                    <a:pt x="190024" y="223361"/>
                  </a:lnTo>
                  <a:cubicBezTo>
                    <a:pt x="209074" y="223361"/>
                    <a:pt x="224314" y="208121"/>
                    <a:pt x="224314" y="189071"/>
                  </a:cubicBezTo>
                  <a:lnTo>
                    <a:pt x="224314" y="41434"/>
                  </a:lnTo>
                  <a:cubicBezTo>
                    <a:pt x="224314" y="23336"/>
                    <a:pt x="209074" y="7144"/>
                    <a:pt x="190024" y="7144"/>
                  </a:cubicBezTo>
                  <a:close/>
                  <a:moveTo>
                    <a:pt x="154781" y="155734"/>
                  </a:moveTo>
                  <a:lnTo>
                    <a:pt x="75724" y="155734"/>
                  </a:lnTo>
                  <a:lnTo>
                    <a:pt x="75724" y="76676"/>
                  </a:lnTo>
                  <a:lnTo>
                    <a:pt x="154781" y="76676"/>
                  </a:lnTo>
                  <a:lnTo>
                    <a:pt x="154781" y="155734"/>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378" name="Group 377">
            <a:extLst>
              <a:ext uri="{FF2B5EF4-FFF2-40B4-BE49-F238E27FC236}">
                <a16:creationId xmlns:a16="http://schemas.microsoft.com/office/drawing/2014/main" id="{DEC7E2D0-70F0-4811-A11B-548AB5679053}"/>
              </a:ext>
            </a:extLst>
          </p:cNvPr>
          <p:cNvGrpSpPr/>
          <p:nvPr/>
        </p:nvGrpSpPr>
        <p:grpSpPr>
          <a:xfrm>
            <a:off x="9032945" y="5330456"/>
            <a:ext cx="330440" cy="330440"/>
            <a:chOff x="6781895" y="3517487"/>
            <a:chExt cx="866775" cy="866775"/>
          </a:xfrm>
          <a:solidFill>
            <a:schemeClr val="accent1"/>
          </a:solidFill>
        </p:grpSpPr>
        <p:sp>
          <p:nvSpPr>
            <p:cNvPr id="379" name="Freeform: Shape 378">
              <a:extLst>
                <a:ext uri="{FF2B5EF4-FFF2-40B4-BE49-F238E27FC236}">
                  <a16:creationId xmlns:a16="http://schemas.microsoft.com/office/drawing/2014/main" id="{A99D35B9-7D98-4473-B692-8BECB0F9255C}"/>
                </a:ext>
              </a:extLst>
            </p:cNvPr>
            <p:cNvSpPr/>
            <p:nvPr/>
          </p:nvSpPr>
          <p:spPr>
            <a:xfrm>
              <a:off x="6781895" y="3517487"/>
              <a:ext cx="866775" cy="866775"/>
            </a:xfrm>
            <a:custGeom>
              <a:avLst/>
              <a:gdLst/>
              <a:ahLst/>
              <a:cxnLst/>
              <a:rect l="0" t="0" r="0" b="0"/>
              <a:pathLst>
                <a:path w="866775" h="866775">
                  <a:moveTo>
                    <a:pt x="20974" y="637632"/>
                  </a:moveTo>
                  <a:lnTo>
                    <a:pt x="163106" y="637632"/>
                  </a:lnTo>
                  <a:lnTo>
                    <a:pt x="163106" y="850563"/>
                  </a:lnTo>
                  <a:cubicBezTo>
                    <a:pt x="163106" y="854202"/>
                    <a:pt x="164582" y="857764"/>
                    <a:pt x="167154" y="860336"/>
                  </a:cubicBezTo>
                  <a:cubicBezTo>
                    <a:pt x="169726" y="862908"/>
                    <a:pt x="173288" y="864394"/>
                    <a:pt x="176936" y="864394"/>
                  </a:cubicBezTo>
                  <a:lnTo>
                    <a:pt x="702345" y="864394"/>
                  </a:lnTo>
                  <a:cubicBezTo>
                    <a:pt x="705984" y="864394"/>
                    <a:pt x="709546" y="862917"/>
                    <a:pt x="712118" y="860346"/>
                  </a:cubicBezTo>
                  <a:cubicBezTo>
                    <a:pt x="714689" y="857774"/>
                    <a:pt x="716166" y="854212"/>
                    <a:pt x="716166" y="850573"/>
                  </a:cubicBezTo>
                  <a:lnTo>
                    <a:pt x="716166" y="637632"/>
                  </a:lnTo>
                  <a:lnTo>
                    <a:pt x="850563" y="637632"/>
                  </a:lnTo>
                  <a:cubicBezTo>
                    <a:pt x="854202" y="637632"/>
                    <a:pt x="857764" y="636156"/>
                    <a:pt x="860336" y="633584"/>
                  </a:cubicBezTo>
                  <a:cubicBezTo>
                    <a:pt x="862908" y="631012"/>
                    <a:pt x="864384" y="627450"/>
                    <a:pt x="864384" y="623811"/>
                  </a:cubicBezTo>
                  <a:lnTo>
                    <a:pt x="864384" y="145409"/>
                  </a:lnTo>
                  <a:cubicBezTo>
                    <a:pt x="864384" y="141770"/>
                    <a:pt x="862908" y="138208"/>
                    <a:pt x="860336" y="135626"/>
                  </a:cubicBezTo>
                  <a:cubicBezTo>
                    <a:pt x="857764" y="133045"/>
                    <a:pt x="854202" y="131578"/>
                    <a:pt x="850563" y="131578"/>
                  </a:cubicBezTo>
                  <a:lnTo>
                    <a:pt x="716166" y="131578"/>
                  </a:lnTo>
                  <a:lnTo>
                    <a:pt x="716166" y="20974"/>
                  </a:lnTo>
                  <a:cubicBezTo>
                    <a:pt x="716166" y="17336"/>
                    <a:pt x="714689" y="13773"/>
                    <a:pt x="712118" y="11192"/>
                  </a:cubicBezTo>
                  <a:cubicBezTo>
                    <a:pt x="709546" y="8611"/>
                    <a:pt x="705984" y="7144"/>
                    <a:pt x="702345" y="7144"/>
                  </a:cubicBezTo>
                  <a:lnTo>
                    <a:pt x="176936" y="7144"/>
                  </a:lnTo>
                  <a:cubicBezTo>
                    <a:pt x="173298" y="7144"/>
                    <a:pt x="169736" y="8620"/>
                    <a:pt x="167164" y="11192"/>
                  </a:cubicBezTo>
                  <a:cubicBezTo>
                    <a:pt x="164592" y="13764"/>
                    <a:pt x="163116" y="17326"/>
                    <a:pt x="163116" y="20974"/>
                  </a:cubicBezTo>
                  <a:lnTo>
                    <a:pt x="163116" y="131588"/>
                  </a:lnTo>
                  <a:lnTo>
                    <a:pt x="20974" y="131588"/>
                  </a:lnTo>
                  <a:cubicBezTo>
                    <a:pt x="17336" y="131588"/>
                    <a:pt x="13773" y="133064"/>
                    <a:pt x="11201" y="135636"/>
                  </a:cubicBezTo>
                  <a:cubicBezTo>
                    <a:pt x="8620" y="138208"/>
                    <a:pt x="7144" y="141770"/>
                    <a:pt x="7144" y="145409"/>
                  </a:cubicBezTo>
                  <a:lnTo>
                    <a:pt x="7144" y="623811"/>
                  </a:lnTo>
                  <a:cubicBezTo>
                    <a:pt x="7144" y="627450"/>
                    <a:pt x="8620" y="631012"/>
                    <a:pt x="11192" y="633584"/>
                  </a:cubicBezTo>
                  <a:cubicBezTo>
                    <a:pt x="13773" y="636165"/>
                    <a:pt x="17326" y="637632"/>
                    <a:pt x="20974" y="637632"/>
                  </a:cubicBezTo>
                  <a:close/>
                  <a:moveTo>
                    <a:pt x="190757" y="477241"/>
                  </a:moveTo>
                  <a:lnTo>
                    <a:pt x="688515" y="477241"/>
                  </a:lnTo>
                  <a:lnTo>
                    <a:pt x="688515" y="836743"/>
                  </a:lnTo>
                  <a:lnTo>
                    <a:pt x="190757" y="836743"/>
                  </a:lnTo>
                  <a:lnTo>
                    <a:pt x="190757" y="477241"/>
                  </a:lnTo>
                  <a:close/>
                  <a:moveTo>
                    <a:pt x="190757" y="34795"/>
                  </a:moveTo>
                  <a:lnTo>
                    <a:pt x="688515" y="34795"/>
                  </a:lnTo>
                  <a:lnTo>
                    <a:pt x="688515" y="131521"/>
                  </a:lnTo>
                  <a:lnTo>
                    <a:pt x="190757" y="131521"/>
                  </a:lnTo>
                  <a:lnTo>
                    <a:pt x="190757" y="34795"/>
                  </a:lnTo>
                  <a:close/>
                  <a:moveTo>
                    <a:pt x="34795" y="159229"/>
                  </a:moveTo>
                  <a:lnTo>
                    <a:pt x="836743" y="159229"/>
                  </a:lnTo>
                  <a:lnTo>
                    <a:pt x="836743" y="609981"/>
                  </a:lnTo>
                  <a:lnTo>
                    <a:pt x="716175" y="609981"/>
                  </a:lnTo>
                  <a:lnTo>
                    <a:pt x="716175" y="463420"/>
                  </a:lnTo>
                  <a:cubicBezTo>
                    <a:pt x="716175" y="459781"/>
                    <a:pt x="714699" y="456219"/>
                    <a:pt x="712127" y="453638"/>
                  </a:cubicBezTo>
                  <a:cubicBezTo>
                    <a:pt x="709555" y="451066"/>
                    <a:pt x="705993" y="449590"/>
                    <a:pt x="702354" y="449590"/>
                  </a:cubicBezTo>
                  <a:lnTo>
                    <a:pt x="176936" y="449590"/>
                  </a:lnTo>
                  <a:cubicBezTo>
                    <a:pt x="173298" y="449590"/>
                    <a:pt x="169736" y="451066"/>
                    <a:pt x="167164" y="453638"/>
                  </a:cubicBezTo>
                  <a:cubicBezTo>
                    <a:pt x="164592" y="456209"/>
                    <a:pt x="163116" y="459772"/>
                    <a:pt x="163116" y="463420"/>
                  </a:cubicBezTo>
                  <a:lnTo>
                    <a:pt x="163116" y="609981"/>
                  </a:lnTo>
                  <a:lnTo>
                    <a:pt x="34804" y="609981"/>
                  </a:lnTo>
                  <a:lnTo>
                    <a:pt x="34804" y="159229"/>
                  </a:ln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80" name="Freeform: Shape 379">
              <a:extLst>
                <a:ext uri="{FF2B5EF4-FFF2-40B4-BE49-F238E27FC236}">
                  <a16:creationId xmlns:a16="http://schemas.microsoft.com/office/drawing/2014/main" id="{26C399E8-AB15-4E2F-A2F6-6046168329E6}"/>
                </a:ext>
              </a:extLst>
            </p:cNvPr>
            <p:cNvSpPr/>
            <p:nvPr/>
          </p:nvSpPr>
          <p:spPr>
            <a:xfrm>
              <a:off x="7076122" y="4091292"/>
              <a:ext cx="285750" cy="38100"/>
            </a:xfrm>
            <a:custGeom>
              <a:avLst/>
              <a:gdLst/>
              <a:ahLst/>
              <a:cxnLst/>
              <a:rect l="0" t="0" r="0" b="0"/>
              <a:pathLst>
                <a:path w="285750" h="38100">
                  <a:moveTo>
                    <a:pt x="269853" y="7144"/>
                  </a:moveTo>
                  <a:lnTo>
                    <a:pt x="20974" y="7144"/>
                  </a:lnTo>
                  <a:cubicBezTo>
                    <a:pt x="13335" y="7144"/>
                    <a:pt x="7144" y="13335"/>
                    <a:pt x="7144" y="20974"/>
                  </a:cubicBezTo>
                  <a:cubicBezTo>
                    <a:pt x="7144" y="28613"/>
                    <a:pt x="13335" y="34804"/>
                    <a:pt x="20974" y="34804"/>
                  </a:cubicBezTo>
                  <a:lnTo>
                    <a:pt x="269853" y="34804"/>
                  </a:lnTo>
                  <a:cubicBezTo>
                    <a:pt x="277492" y="34804"/>
                    <a:pt x="283683" y="28613"/>
                    <a:pt x="283683" y="20974"/>
                  </a:cubicBezTo>
                  <a:cubicBezTo>
                    <a:pt x="283674" y="13335"/>
                    <a:pt x="277482" y="7144"/>
                    <a:pt x="269853" y="7144"/>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84" name="Freeform: Shape 383">
              <a:extLst>
                <a:ext uri="{FF2B5EF4-FFF2-40B4-BE49-F238E27FC236}">
                  <a16:creationId xmlns:a16="http://schemas.microsoft.com/office/drawing/2014/main" id="{4D28E195-7B33-4535-BC9E-70C398015A34}"/>
                </a:ext>
              </a:extLst>
            </p:cNvPr>
            <p:cNvSpPr/>
            <p:nvPr/>
          </p:nvSpPr>
          <p:spPr>
            <a:xfrm>
              <a:off x="7076122" y="4215736"/>
              <a:ext cx="161925" cy="38100"/>
            </a:xfrm>
            <a:custGeom>
              <a:avLst/>
              <a:gdLst/>
              <a:ahLst/>
              <a:cxnLst/>
              <a:rect l="0" t="0" r="0" b="0"/>
              <a:pathLst>
                <a:path w="161925" h="38100">
                  <a:moveTo>
                    <a:pt x="148733" y="7144"/>
                  </a:moveTo>
                  <a:lnTo>
                    <a:pt x="20974" y="7144"/>
                  </a:lnTo>
                  <a:cubicBezTo>
                    <a:pt x="13335" y="7144"/>
                    <a:pt x="7144" y="13335"/>
                    <a:pt x="7144" y="20974"/>
                  </a:cubicBezTo>
                  <a:cubicBezTo>
                    <a:pt x="7144" y="28613"/>
                    <a:pt x="13335" y="34804"/>
                    <a:pt x="20974" y="34804"/>
                  </a:cubicBezTo>
                  <a:lnTo>
                    <a:pt x="148742" y="34804"/>
                  </a:lnTo>
                  <a:cubicBezTo>
                    <a:pt x="156381" y="34804"/>
                    <a:pt x="162573" y="28613"/>
                    <a:pt x="162573" y="20974"/>
                  </a:cubicBezTo>
                  <a:cubicBezTo>
                    <a:pt x="162563" y="13325"/>
                    <a:pt x="156372" y="7144"/>
                    <a:pt x="148733" y="7144"/>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89" name="Freeform: Shape 388">
              <a:extLst>
                <a:ext uri="{FF2B5EF4-FFF2-40B4-BE49-F238E27FC236}">
                  <a16:creationId xmlns:a16="http://schemas.microsoft.com/office/drawing/2014/main" id="{7D8029EF-D0E6-42EA-B2CC-C4F6D60D4A1D}"/>
                </a:ext>
              </a:extLst>
            </p:cNvPr>
            <p:cNvSpPr/>
            <p:nvPr/>
          </p:nvSpPr>
          <p:spPr>
            <a:xfrm>
              <a:off x="7461294" y="3764813"/>
              <a:ext cx="57150" cy="57150"/>
            </a:xfrm>
            <a:custGeom>
              <a:avLst/>
              <a:gdLst/>
              <a:ahLst/>
              <a:cxnLst/>
              <a:rect l="0" t="0" r="0" b="0"/>
              <a:pathLst>
                <a:path w="57150" h="57150">
                  <a:moveTo>
                    <a:pt x="58503" y="32823"/>
                  </a:moveTo>
                  <a:cubicBezTo>
                    <a:pt x="58503" y="47005"/>
                    <a:pt x="47006" y="58503"/>
                    <a:pt x="32823" y="58503"/>
                  </a:cubicBezTo>
                  <a:cubicBezTo>
                    <a:pt x="18641" y="58503"/>
                    <a:pt x="7144" y="47005"/>
                    <a:pt x="7144" y="32823"/>
                  </a:cubicBezTo>
                  <a:cubicBezTo>
                    <a:pt x="7144" y="18641"/>
                    <a:pt x="18641" y="7144"/>
                    <a:pt x="32823" y="7144"/>
                  </a:cubicBezTo>
                  <a:cubicBezTo>
                    <a:pt x="47006" y="7144"/>
                    <a:pt x="58503" y="18641"/>
                    <a:pt x="58503" y="32823"/>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sp>
          <p:nvSpPr>
            <p:cNvPr id="390" name="Freeform: Shape 389">
              <a:extLst>
                <a:ext uri="{FF2B5EF4-FFF2-40B4-BE49-F238E27FC236}">
                  <a16:creationId xmlns:a16="http://schemas.microsoft.com/office/drawing/2014/main" id="{2736EFEA-C465-4E6F-90F6-E23DD709F194}"/>
                </a:ext>
              </a:extLst>
            </p:cNvPr>
            <p:cNvSpPr/>
            <p:nvPr/>
          </p:nvSpPr>
          <p:spPr>
            <a:xfrm>
              <a:off x="7342337" y="3764813"/>
              <a:ext cx="57150" cy="57150"/>
            </a:xfrm>
            <a:custGeom>
              <a:avLst/>
              <a:gdLst/>
              <a:ahLst/>
              <a:cxnLst/>
              <a:rect l="0" t="0" r="0" b="0"/>
              <a:pathLst>
                <a:path w="57150" h="57150">
                  <a:moveTo>
                    <a:pt x="58503" y="32823"/>
                  </a:moveTo>
                  <a:cubicBezTo>
                    <a:pt x="58503" y="47005"/>
                    <a:pt x="47006" y="58503"/>
                    <a:pt x="32823" y="58503"/>
                  </a:cubicBezTo>
                  <a:cubicBezTo>
                    <a:pt x="18641" y="58503"/>
                    <a:pt x="7144" y="47005"/>
                    <a:pt x="7144" y="32823"/>
                  </a:cubicBezTo>
                  <a:cubicBezTo>
                    <a:pt x="7144" y="18641"/>
                    <a:pt x="18641" y="7144"/>
                    <a:pt x="32823" y="7144"/>
                  </a:cubicBezTo>
                  <a:cubicBezTo>
                    <a:pt x="47006" y="7144"/>
                    <a:pt x="58503" y="18641"/>
                    <a:pt x="58503" y="32823"/>
                  </a:cubicBezTo>
                  <a:close/>
                </a:path>
              </a:pathLst>
            </a:custGeom>
            <a:grpFill/>
            <a:ln w="9525" cap="flat">
              <a:noFill/>
              <a:prstDash val="solid"/>
              <a:miter/>
            </a:ln>
          </p:spPr>
          <p:txBody>
            <a:bodyPr/>
            <a:lstStyle/>
            <a:p>
              <a:pPr defTabSz="932418"/>
              <a:endParaRPr lang="en-US" sz="1836">
                <a:solidFill>
                  <a:srgbClr val="505050"/>
                </a:solidFill>
                <a:latin typeface="Segoe UI"/>
              </a:endParaRPr>
            </a:p>
          </p:txBody>
        </p:sp>
      </p:grpSp>
      <p:grpSp>
        <p:nvGrpSpPr>
          <p:cNvPr id="398" name="Group 397">
            <a:extLst>
              <a:ext uri="{FF2B5EF4-FFF2-40B4-BE49-F238E27FC236}">
                <a16:creationId xmlns:a16="http://schemas.microsoft.com/office/drawing/2014/main" id="{749FC41E-B1A1-4C27-AB44-92496485E406}"/>
              </a:ext>
            </a:extLst>
          </p:cNvPr>
          <p:cNvGrpSpPr/>
          <p:nvPr/>
        </p:nvGrpSpPr>
        <p:grpSpPr>
          <a:xfrm>
            <a:off x="8535986" y="5370981"/>
            <a:ext cx="310234" cy="291556"/>
            <a:chOff x="7116768" y="3441704"/>
            <a:chExt cx="606426" cy="569913"/>
          </a:xfrm>
          <a:solidFill>
            <a:schemeClr val="accent1"/>
          </a:solidFill>
        </p:grpSpPr>
        <p:sp>
          <p:nvSpPr>
            <p:cNvPr id="399" name="Freeform 85">
              <a:extLst>
                <a:ext uri="{FF2B5EF4-FFF2-40B4-BE49-F238E27FC236}">
                  <a16:creationId xmlns:a16="http://schemas.microsoft.com/office/drawing/2014/main" id="{D4DDA468-A438-42A5-B996-5C49547E12B5}"/>
                </a:ext>
              </a:extLst>
            </p:cNvPr>
            <p:cNvSpPr>
              <a:spLocks/>
            </p:cNvSpPr>
            <p:nvPr/>
          </p:nvSpPr>
          <p:spPr bwMode="auto">
            <a:xfrm>
              <a:off x="7335843" y="3906842"/>
              <a:ext cx="169863" cy="63500"/>
            </a:xfrm>
            <a:custGeom>
              <a:avLst/>
              <a:gdLst>
                <a:gd name="connsiteX0" fmla="*/ 23813 w 169863"/>
                <a:gd name="connsiteY0" fmla="*/ 25400 h 63500"/>
                <a:gd name="connsiteX1" fmla="*/ 23813 w 169863"/>
                <a:gd name="connsiteY1" fmla="*/ 27922 h 63500"/>
                <a:gd name="connsiteX2" fmla="*/ 25535 w 169863"/>
                <a:gd name="connsiteY2" fmla="*/ 39688 h 63500"/>
                <a:gd name="connsiteX3" fmla="*/ 144330 w 169863"/>
                <a:gd name="connsiteY3" fmla="*/ 39688 h 63500"/>
                <a:gd name="connsiteX4" fmla="*/ 146051 w 169863"/>
                <a:gd name="connsiteY4" fmla="*/ 27922 h 63500"/>
                <a:gd name="connsiteX5" fmla="*/ 146051 w 169863"/>
                <a:gd name="connsiteY5" fmla="*/ 25400 h 63500"/>
                <a:gd name="connsiteX6" fmla="*/ 23813 w 169863"/>
                <a:gd name="connsiteY6" fmla="*/ 25400 h 63500"/>
                <a:gd name="connsiteX7" fmla="*/ 12011 w 169863"/>
                <a:gd name="connsiteY7" fmla="*/ 0 h 63500"/>
                <a:gd name="connsiteX8" fmla="*/ 157853 w 169863"/>
                <a:gd name="connsiteY8" fmla="*/ 0 h 63500"/>
                <a:gd name="connsiteX9" fmla="*/ 169863 w 169863"/>
                <a:gd name="connsiteY9" fmla="*/ 12178 h 63500"/>
                <a:gd name="connsiteX10" fmla="*/ 169863 w 169863"/>
                <a:gd name="connsiteY10" fmla="*/ 26966 h 63500"/>
                <a:gd name="connsiteX11" fmla="*/ 150990 w 169863"/>
                <a:gd name="connsiteY11" fmla="*/ 63500 h 63500"/>
                <a:gd name="connsiteX12" fmla="*/ 18874 w 169863"/>
                <a:gd name="connsiteY12" fmla="*/ 63500 h 63500"/>
                <a:gd name="connsiteX13" fmla="*/ 0 w 169863"/>
                <a:gd name="connsiteY13" fmla="*/ 26966 h 63500"/>
                <a:gd name="connsiteX14" fmla="*/ 0 w 169863"/>
                <a:gd name="connsiteY14" fmla="*/ 12178 h 63500"/>
                <a:gd name="connsiteX15" fmla="*/ 12011 w 169863"/>
                <a:gd name="connsiteY15" fmla="*/ 0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863" h="63500">
                  <a:moveTo>
                    <a:pt x="23813" y="25400"/>
                  </a:moveTo>
                  <a:cubicBezTo>
                    <a:pt x="23813" y="27922"/>
                    <a:pt x="23813" y="27922"/>
                    <a:pt x="23813" y="27922"/>
                  </a:cubicBezTo>
                  <a:cubicBezTo>
                    <a:pt x="23813" y="32964"/>
                    <a:pt x="24674" y="37167"/>
                    <a:pt x="25535" y="39688"/>
                  </a:cubicBezTo>
                  <a:cubicBezTo>
                    <a:pt x="144330" y="39688"/>
                    <a:pt x="144330" y="39688"/>
                    <a:pt x="144330" y="39688"/>
                  </a:cubicBezTo>
                  <a:cubicBezTo>
                    <a:pt x="145190" y="37167"/>
                    <a:pt x="146051" y="32964"/>
                    <a:pt x="146051" y="27922"/>
                  </a:cubicBezTo>
                  <a:cubicBezTo>
                    <a:pt x="146051" y="25400"/>
                    <a:pt x="146051" y="25400"/>
                    <a:pt x="146051" y="25400"/>
                  </a:cubicBezTo>
                  <a:cubicBezTo>
                    <a:pt x="23813" y="25400"/>
                    <a:pt x="23813" y="25400"/>
                    <a:pt x="23813" y="25400"/>
                  </a:cubicBezTo>
                  <a:close/>
                  <a:moveTo>
                    <a:pt x="12011" y="0"/>
                  </a:moveTo>
                  <a:cubicBezTo>
                    <a:pt x="157853" y="0"/>
                    <a:pt x="157853" y="0"/>
                    <a:pt x="157853" y="0"/>
                  </a:cubicBezTo>
                  <a:cubicBezTo>
                    <a:pt x="163858" y="0"/>
                    <a:pt x="169863" y="5219"/>
                    <a:pt x="169863" y="12178"/>
                  </a:cubicBezTo>
                  <a:cubicBezTo>
                    <a:pt x="169863" y="26966"/>
                    <a:pt x="169863" y="26966"/>
                    <a:pt x="169863" y="26966"/>
                  </a:cubicBezTo>
                  <a:cubicBezTo>
                    <a:pt x="169863" y="40884"/>
                    <a:pt x="167290" y="63500"/>
                    <a:pt x="150990" y="63500"/>
                  </a:cubicBezTo>
                  <a:cubicBezTo>
                    <a:pt x="18874" y="63500"/>
                    <a:pt x="18874" y="63500"/>
                    <a:pt x="18874" y="63500"/>
                  </a:cubicBezTo>
                  <a:cubicBezTo>
                    <a:pt x="2574" y="63500"/>
                    <a:pt x="0" y="40884"/>
                    <a:pt x="0" y="26966"/>
                  </a:cubicBezTo>
                  <a:cubicBezTo>
                    <a:pt x="0" y="12178"/>
                    <a:pt x="0" y="12178"/>
                    <a:pt x="0" y="12178"/>
                  </a:cubicBezTo>
                  <a:cubicBezTo>
                    <a:pt x="0" y="5219"/>
                    <a:pt x="6006" y="0"/>
                    <a:pt x="1201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noAutofit/>
            </a:bodyPr>
            <a:lstStyle/>
            <a:p>
              <a:pPr defTabSz="932418"/>
              <a:endParaRPr lang="en-US" sz="1836">
                <a:solidFill>
                  <a:srgbClr val="505050"/>
                </a:solidFill>
                <a:latin typeface="Segoe UI"/>
              </a:endParaRPr>
            </a:p>
          </p:txBody>
        </p:sp>
        <p:sp>
          <p:nvSpPr>
            <p:cNvPr id="400" name="Freeform 86">
              <a:extLst>
                <a:ext uri="{FF2B5EF4-FFF2-40B4-BE49-F238E27FC236}">
                  <a16:creationId xmlns:a16="http://schemas.microsoft.com/office/drawing/2014/main" id="{0E49F117-0C87-4545-B99A-93AEFC83E7A2}"/>
                </a:ext>
              </a:extLst>
            </p:cNvPr>
            <p:cNvSpPr>
              <a:spLocks/>
            </p:cNvSpPr>
            <p:nvPr/>
          </p:nvSpPr>
          <p:spPr bwMode="auto">
            <a:xfrm>
              <a:off x="7116768" y="3441704"/>
              <a:ext cx="606426" cy="569913"/>
            </a:xfrm>
            <a:custGeom>
              <a:avLst/>
              <a:gdLst>
                <a:gd name="connsiteX0" fmla="*/ 65358 w 606426"/>
                <a:gd name="connsiteY0" fmla="*/ 371618 h 569913"/>
                <a:gd name="connsiteX1" fmla="*/ 52475 w 606426"/>
                <a:gd name="connsiteY1" fmla="*/ 409255 h 569913"/>
                <a:gd name="connsiteX2" fmla="*/ 25400 w 606426"/>
                <a:gd name="connsiteY2" fmla="*/ 488356 h 569913"/>
                <a:gd name="connsiteX3" fmla="*/ 25400 w 606426"/>
                <a:gd name="connsiteY3" fmla="*/ 489218 h 569913"/>
                <a:gd name="connsiteX4" fmla="*/ 26260 w 606426"/>
                <a:gd name="connsiteY4" fmla="*/ 490080 h 569913"/>
                <a:gd name="connsiteX5" fmla="*/ 26260 w 606426"/>
                <a:gd name="connsiteY5" fmla="*/ 491804 h 569913"/>
                <a:gd name="connsiteX6" fmla="*/ 25400 w 606426"/>
                <a:gd name="connsiteY6" fmla="*/ 496113 h 569913"/>
                <a:gd name="connsiteX7" fmla="*/ 25400 w 606426"/>
                <a:gd name="connsiteY7" fmla="*/ 512489 h 569913"/>
                <a:gd name="connsiteX8" fmla="*/ 58936 w 606426"/>
                <a:gd name="connsiteY8" fmla="*/ 546101 h 569913"/>
                <a:gd name="connsiteX9" fmla="*/ 549077 w 606426"/>
                <a:gd name="connsiteY9" fmla="*/ 546101 h 569913"/>
                <a:gd name="connsiteX10" fmla="*/ 582613 w 606426"/>
                <a:gd name="connsiteY10" fmla="*/ 512489 h 569913"/>
                <a:gd name="connsiteX11" fmla="*/ 582613 w 606426"/>
                <a:gd name="connsiteY11" fmla="*/ 496113 h 569913"/>
                <a:gd name="connsiteX12" fmla="*/ 580034 w 606426"/>
                <a:gd name="connsiteY12" fmla="*/ 494389 h 569913"/>
                <a:gd name="connsiteX13" fmla="*/ 580034 w 606426"/>
                <a:gd name="connsiteY13" fmla="*/ 489218 h 569913"/>
                <a:gd name="connsiteX14" fmla="*/ 580034 w 606426"/>
                <a:gd name="connsiteY14" fmla="*/ 488356 h 569913"/>
                <a:gd name="connsiteX15" fmla="*/ 541661 w 606426"/>
                <a:gd name="connsiteY15" fmla="*/ 379762 h 569913"/>
                <a:gd name="connsiteX16" fmla="*/ 539187 w 606426"/>
                <a:gd name="connsiteY16" fmla="*/ 372761 h 569913"/>
                <a:gd name="connsiteX17" fmla="*/ 534517 w 606426"/>
                <a:gd name="connsiteY17" fmla="*/ 374651 h 569913"/>
                <a:gd name="connsiteX18" fmla="*/ 72638 w 606426"/>
                <a:gd name="connsiteY18" fmla="*/ 374651 h 569913"/>
                <a:gd name="connsiteX19" fmla="*/ 94192 w 606426"/>
                <a:gd name="connsiteY19" fmla="*/ 23813 h 569913"/>
                <a:gd name="connsiteX20" fmla="*/ 60656 w 606426"/>
                <a:gd name="connsiteY20" fmla="*/ 57426 h 569913"/>
                <a:gd name="connsiteX21" fmla="*/ 60656 w 606426"/>
                <a:gd name="connsiteY21" fmla="*/ 334850 h 569913"/>
                <a:gd name="connsiteX22" fmla="*/ 60656 w 606426"/>
                <a:gd name="connsiteY22" fmla="*/ 338299 h 569913"/>
                <a:gd name="connsiteX23" fmla="*/ 64037 w 606426"/>
                <a:gd name="connsiteY23" fmla="*/ 347372 h 569913"/>
                <a:gd name="connsiteX24" fmla="*/ 72638 w 606426"/>
                <a:gd name="connsiteY24" fmla="*/ 350875 h 569913"/>
                <a:gd name="connsiteX25" fmla="*/ 534517 w 606426"/>
                <a:gd name="connsiteY25" fmla="*/ 350875 h 569913"/>
                <a:gd name="connsiteX26" fmla="*/ 543870 w 606426"/>
                <a:gd name="connsiteY26" fmla="*/ 347372 h 569913"/>
                <a:gd name="connsiteX27" fmla="*/ 547357 w 606426"/>
                <a:gd name="connsiteY27" fmla="*/ 338297 h 569913"/>
                <a:gd name="connsiteX28" fmla="*/ 547357 w 606426"/>
                <a:gd name="connsiteY28" fmla="*/ 246229 h 569913"/>
                <a:gd name="connsiteX29" fmla="*/ 547357 w 606426"/>
                <a:gd name="connsiteY29" fmla="*/ 57426 h 569913"/>
                <a:gd name="connsiteX30" fmla="*/ 513822 w 606426"/>
                <a:gd name="connsiteY30" fmla="*/ 23813 h 569913"/>
                <a:gd name="connsiteX31" fmla="*/ 94192 w 606426"/>
                <a:gd name="connsiteY31" fmla="*/ 23813 h 569913"/>
                <a:gd name="connsiteX32" fmla="*/ 93032 w 606426"/>
                <a:gd name="connsiteY32" fmla="*/ 0 h 569913"/>
                <a:gd name="connsiteX33" fmla="*/ 513395 w 606426"/>
                <a:gd name="connsiteY33" fmla="*/ 0 h 569913"/>
                <a:gd name="connsiteX34" fmla="*/ 571109 w 606426"/>
                <a:gd name="connsiteY34" fmla="*/ 57680 h 569913"/>
                <a:gd name="connsiteX35" fmla="*/ 571109 w 606426"/>
                <a:gd name="connsiteY35" fmla="*/ 334794 h 569913"/>
                <a:gd name="connsiteX36" fmla="*/ 571109 w 606426"/>
                <a:gd name="connsiteY36" fmla="*/ 338138 h 569913"/>
                <a:gd name="connsiteX37" fmla="*/ 571501 w 606426"/>
                <a:gd name="connsiteY37" fmla="*/ 338138 h 569913"/>
                <a:gd name="connsiteX38" fmla="*/ 571109 w 606426"/>
                <a:gd name="connsiteY38" fmla="*/ 339082 h 569913"/>
                <a:gd name="connsiteX39" fmla="*/ 571109 w 606426"/>
                <a:gd name="connsiteY39" fmla="*/ 339193 h 569913"/>
                <a:gd name="connsiteX40" fmla="*/ 562495 w 606426"/>
                <a:gd name="connsiteY40" fmla="*/ 368464 h 569913"/>
                <a:gd name="connsiteX41" fmla="*/ 602981 w 606426"/>
                <a:gd name="connsiteY41" fmla="*/ 480380 h 569913"/>
                <a:gd name="connsiteX42" fmla="*/ 603842 w 606426"/>
                <a:gd name="connsiteY42" fmla="*/ 484684 h 569913"/>
                <a:gd name="connsiteX43" fmla="*/ 606426 w 606426"/>
                <a:gd name="connsiteY43" fmla="*/ 495015 h 569913"/>
                <a:gd name="connsiteX44" fmla="*/ 606426 w 606426"/>
                <a:gd name="connsiteY44" fmla="*/ 512233 h 569913"/>
                <a:gd name="connsiteX45" fmla="*/ 548712 w 606426"/>
                <a:gd name="connsiteY45" fmla="*/ 569913 h 569913"/>
                <a:gd name="connsiteX46" fmla="*/ 57714 w 606426"/>
                <a:gd name="connsiteY46" fmla="*/ 569913 h 569913"/>
                <a:gd name="connsiteX47" fmla="*/ 0 w 606426"/>
                <a:gd name="connsiteY47" fmla="*/ 512233 h 569913"/>
                <a:gd name="connsiteX48" fmla="*/ 0 w 606426"/>
                <a:gd name="connsiteY48" fmla="*/ 495015 h 569913"/>
                <a:gd name="connsiteX49" fmla="*/ 0 w 606426"/>
                <a:gd name="connsiteY49" fmla="*/ 491572 h 569913"/>
                <a:gd name="connsiteX50" fmla="*/ 862 w 606426"/>
                <a:gd name="connsiteY50" fmla="*/ 482102 h 569913"/>
                <a:gd name="connsiteX51" fmla="*/ 862 w 606426"/>
                <a:gd name="connsiteY51" fmla="*/ 481241 h 569913"/>
                <a:gd name="connsiteX52" fmla="*/ 41347 w 606426"/>
                <a:gd name="connsiteY52" fmla="*/ 364159 h 569913"/>
                <a:gd name="connsiteX53" fmla="*/ 35318 w 606426"/>
                <a:gd name="connsiteY53" fmla="*/ 339193 h 569913"/>
                <a:gd name="connsiteX54" fmla="*/ 35318 w 606426"/>
                <a:gd name="connsiteY54" fmla="*/ 57680 h 569913"/>
                <a:gd name="connsiteX55" fmla="*/ 93032 w 606426"/>
                <a:gd name="connsiteY5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06426" h="569913">
                  <a:moveTo>
                    <a:pt x="65358" y="371618"/>
                  </a:moveTo>
                  <a:lnTo>
                    <a:pt x="52475" y="409255"/>
                  </a:lnTo>
                  <a:cubicBezTo>
                    <a:pt x="25400" y="488356"/>
                    <a:pt x="25400" y="488356"/>
                    <a:pt x="25400" y="488356"/>
                  </a:cubicBezTo>
                  <a:cubicBezTo>
                    <a:pt x="25400" y="488356"/>
                    <a:pt x="25400" y="488356"/>
                    <a:pt x="25400" y="489218"/>
                  </a:cubicBezTo>
                  <a:cubicBezTo>
                    <a:pt x="26260" y="490080"/>
                    <a:pt x="26260" y="490080"/>
                    <a:pt x="26260" y="490080"/>
                  </a:cubicBezTo>
                  <a:cubicBezTo>
                    <a:pt x="26260" y="491804"/>
                    <a:pt x="26260" y="491804"/>
                    <a:pt x="26260" y="491804"/>
                  </a:cubicBezTo>
                  <a:cubicBezTo>
                    <a:pt x="26260" y="493528"/>
                    <a:pt x="25400" y="495251"/>
                    <a:pt x="25400" y="496113"/>
                  </a:cubicBezTo>
                  <a:cubicBezTo>
                    <a:pt x="25400" y="512489"/>
                    <a:pt x="25400" y="512489"/>
                    <a:pt x="25400" y="512489"/>
                  </a:cubicBezTo>
                  <a:cubicBezTo>
                    <a:pt x="25400" y="530588"/>
                    <a:pt x="40878" y="546101"/>
                    <a:pt x="58936" y="546101"/>
                  </a:cubicBezTo>
                  <a:cubicBezTo>
                    <a:pt x="549077" y="546101"/>
                    <a:pt x="549077" y="546101"/>
                    <a:pt x="549077" y="546101"/>
                  </a:cubicBezTo>
                  <a:cubicBezTo>
                    <a:pt x="567135" y="546101"/>
                    <a:pt x="582613" y="530588"/>
                    <a:pt x="582613" y="512489"/>
                  </a:cubicBezTo>
                  <a:cubicBezTo>
                    <a:pt x="582613" y="496113"/>
                    <a:pt x="582613" y="496113"/>
                    <a:pt x="582613" y="496113"/>
                  </a:cubicBezTo>
                  <a:cubicBezTo>
                    <a:pt x="580034" y="494389"/>
                    <a:pt x="580034" y="494389"/>
                    <a:pt x="580034" y="494389"/>
                  </a:cubicBezTo>
                  <a:cubicBezTo>
                    <a:pt x="580034" y="489218"/>
                    <a:pt x="580034" y="489218"/>
                    <a:pt x="580034" y="489218"/>
                  </a:cubicBezTo>
                  <a:cubicBezTo>
                    <a:pt x="580034" y="489218"/>
                    <a:pt x="580034" y="488356"/>
                    <a:pt x="580034" y="488356"/>
                  </a:cubicBezTo>
                  <a:cubicBezTo>
                    <a:pt x="558107" y="426302"/>
                    <a:pt x="547143" y="395275"/>
                    <a:pt x="541661" y="379762"/>
                  </a:cubicBezTo>
                  <a:lnTo>
                    <a:pt x="539187" y="372761"/>
                  </a:lnTo>
                  <a:lnTo>
                    <a:pt x="534517" y="374651"/>
                  </a:lnTo>
                  <a:cubicBezTo>
                    <a:pt x="72638" y="374651"/>
                    <a:pt x="72638" y="374651"/>
                    <a:pt x="72638" y="374651"/>
                  </a:cubicBezTo>
                  <a:close/>
                  <a:moveTo>
                    <a:pt x="94192" y="23813"/>
                  </a:moveTo>
                  <a:cubicBezTo>
                    <a:pt x="75274" y="23813"/>
                    <a:pt x="60656" y="39327"/>
                    <a:pt x="60656" y="57426"/>
                  </a:cubicBezTo>
                  <a:cubicBezTo>
                    <a:pt x="60656" y="268797"/>
                    <a:pt x="60656" y="321640"/>
                    <a:pt x="60656" y="334850"/>
                  </a:cubicBezTo>
                  <a:lnTo>
                    <a:pt x="60656" y="338299"/>
                  </a:lnTo>
                  <a:lnTo>
                    <a:pt x="64037" y="347372"/>
                  </a:lnTo>
                  <a:cubicBezTo>
                    <a:pt x="66187" y="349601"/>
                    <a:pt x="69197" y="350875"/>
                    <a:pt x="72638" y="350875"/>
                  </a:cubicBezTo>
                  <a:cubicBezTo>
                    <a:pt x="534517" y="350875"/>
                    <a:pt x="534517" y="350875"/>
                    <a:pt x="534517" y="350875"/>
                  </a:cubicBezTo>
                  <a:cubicBezTo>
                    <a:pt x="538387" y="350875"/>
                    <a:pt x="541613" y="349601"/>
                    <a:pt x="543870" y="347372"/>
                  </a:cubicBezTo>
                  <a:lnTo>
                    <a:pt x="547357" y="338297"/>
                  </a:lnTo>
                  <a:lnTo>
                    <a:pt x="547357" y="246229"/>
                  </a:lnTo>
                  <a:cubicBezTo>
                    <a:pt x="547357" y="57426"/>
                    <a:pt x="547357" y="57426"/>
                    <a:pt x="547357" y="57426"/>
                  </a:cubicBezTo>
                  <a:cubicBezTo>
                    <a:pt x="547357" y="39327"/>
                    <a:pt x="532739" y="23813"/>
                    <a:pt x="513822" y="23813"/>
                  </a:cubicBezTo>
                  <a:cubicBezTo>
                    <a:pt x="94192" y="23813"/>
                    <a:pt x="94192" y="23813"/>
                    <a:pt x="94192" y="23813"/>
                  </a:cubicBezTo>
                  <a:close/>
                  <a:moveTo>
                    <a:pt x="93032" y="0"/>
                  </a:moveTo>
                  <a:cubicBezTo>
                    <a:pt x="513395" y="0"/>
                    <a:pt x="513395" y="0"/>
                    <a:pt x="513395" y="0"/>
                  </a:cubicBezTo>
                  <a:cubicBezTo>
                    <a:pt x="545267" y="0"/>
                    <a:pt x="571109" y="25827"/>
                    <a:pt x="571109" y="57680"/>
                  </a:cubicBezTo>
                  <a:cubicBezTo>
                    <a:pt x="571109" y="268815"/>
                    <a:pt x="571109" y="321598"/>
                    <a:pt x="571109" y="334794"/>
                  </a:cubicBezTo>
                  <a:lnTo>
                    <a:pt x="571109" y="338138"/>
                  </a:lnTo>
                  <a:lnTo>
                    <a:pt x="571501" y="338138"/>
                  </a:lnTo>
                  <a:lnTo>
                    <a:pt x="571109" y="339082"/>
                  </a:lnTo>
                  <a:lnTo>
                    <a:pt x="571109" y="339193"/>
                  </a:lnTo>
                  <a:cubicBezTo>
                    <a:pt x="571109" y="349524"/>
                    <a:pt x="568525" y="359855"/>
                    <a:pt x="562495" y="368464"/>
                  </a:cubicBezTo>
                  <a:cubicBezTo>
                    <a:pt x="602981" y="480380"/>
                    <a:pt x="602981" y="480380"/>
                    <a:pt x="602981" y="480380"/>
                  </a:cubicBezTo>
                  <a:cubicBezTo>
                    <a:pt x="603842" y="482102"/>
                    <a:pt x="603842" y="483824"/>
                    <a:pt x="603842" y="484684"/>
                  </a:cubicBezTo>
                  <a:cubicBezTo>
                    <a:pt x="605565" y="488128"/>
                    <a:pt x="606426" y="491572"/>
                    <a:pt x="606426" y="495015"/>
                  </a:cubicBezTo>
                  <a:cubicBezTo>
                    <a:pt x="606426" y="512233"/>
                    <a:pt x="606426" y="512233"/>
                    <a:pt x="606426" y="512233"/>
                  </a:cubicBezTo>
                  <a:cubicBezTo>
                    <a:pt x="606426" y="544086"/>
                    <a:pt x="580584" y="569913"/>
                    <a:pt x="548712" y="569913"/>
                  </a:cubicBezTo>
                  <a:cubicBezTo>
                    <a:pt x="57714" y="569913"/>
                    <a:pt x="57714" y="569913"/>
                    <a:pt x="57714" y="569913"/>
                  </a:cubicBezTo>
                  <a:cubicBezTo>
                    <a:pt x="25842" y="569913"/>
                    <a:pt x="0" y="544086"/>
                    <a:pt x="0" y="512233"/>
                  </a:cubicBezTo>
                  <a:cubicBezTo>
                    <a:pt x="0" y="495015"/>
                    <a:pt x="0" y="495015"/>
                    <a:pt x="0" y="495015"/>
                  </a:cubicBezTo>
                  <a:cubicBezTo>
                    <a:pt x="0" y="493293"/>
                    <a:pt x="0" y="492433"/>
                    <a:pt x="0" y="491572"/>
                  </a:cubicBezTo>
                  <a:cubicBezTo>
                    <a:pt x="0" y="488128"/>
                    <a:pt x="0" y="484684"/>
                    <a:pt x="862" y="482102"/>
                  </a:cubicBezTo>
                  <a:cubicBezTo>
                    <a:pt x="862" y="481241"/>
                    <a:pt x="862" y="481241"/>
                    <a:pt x="862" y="481241"/>
                  </a:cubicBezTo>
                  <a:cubicBezTo>
                    <a:pt x="41347" y="364159"/>
                    <a:pt x="41347" y="364159"/>
                    <a:pt x="41347" y="364159"/>
                  </a:cubicBezTo>
                  <a:cubicBezTo>
                    <a:pt x="37040" y="356411"/>
                    <a:pt x="35318" y="346941"/>
                    <a:pt x="35318" y="339193"/>
                  </a:cubicBezTo>
                  <a:cubicBezTo>
                    <a:pt x="35318" y="57680"/>
                    <a:pt x="35318" y="57680"/>
                    <a:pt x="35318" y="57680"/>
                  </a:cubicBezTo>
                  <a:cubicBezTo>
                    <a:pt x="35318" y="25827"/>
                    <a:pt x="61160" y="0"/>
                    <a:pt x="930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noAutofit/>
            </a:bodyPr>
            <a:lstStyle/>
            <a:p>
              <a:pPr defTabSz="932418"/>
              <a:endParaRPr lang="en-US" sz="1836">
                <a:solidFill>
                  <a:srgbClr val="505050"/>
                </a:solidFill>
                <a:latin typeface="Segoe UI"/>
              </a:endParaRPr>
            </a:p>
          </p:txBody>
        </p:sp>
      </p:grpSp>
      <p:cxnSp>
        <p:nvCxnSpPr>
          <p:cNvPr id="3" name="Straight Arrow Connector 2">
            <a:extLst>
              <a:ext uri="{FF2B5EF4-FFF2-40B4-BE49-F238E27FC236}">
                <a16:creationId xmlns:a16="http://schemas.microsoft.com/office/drawing/2014/main" id="{0A70ED88-DD46-4C46-921F-2D341E815B76}"/>
              </a:ext>
            </a:extLst>
          </p:cNvPr>
          <p:cNvCxnSpPr/>
          <p:nvPr/>
        </p:nvCxnSpPr>
        <p:spPr>
          <a:xfrm>
            <a:off x="10807744" y="2933482"/>
            <a:ext cx="0" cy="353577"/>
          </a:xfrm>
          <a:prstGeom prst="straightConnector1">
            <a:avLst/>
          </a:prstGeom>
          <a:ln>
            <a:solidFill>
              <a:schemeClr val="tx1">
                <a:lumMod val="40000"/>
                <a:lumOff val="6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19D739FE-F09B-40F9-8BA7-FBD66C501200}"/>
              </a:ext>
            </a:extLst>
          </p:cNvPr>
          <p:cNvCxnSpPr/>
          <p:nvPr/>
        </p:nvCxnSpPr>
        <p:spPr>
          <a:xfrm>
            <a:off x="10807744" y="4364910"/>
            <a:ext cx="0" cy="353577"/>
          </a:xfrm>
          <a:prstGeom prst="straightConnector1">
            <a:avLst/>
          </a:prstGeom>
          <a:ln>
            <a:solidFill>
              <a:schemeClr val="tx1">
                <a:lumMod val="40000"/>
                <a:lumOff val="6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67" name="Freeform 17">
            <a:extLst>
              <a:ext uri="{FF2B5EF4-FFF2-40B4-BE49-F238E27FC236}">
                <a16:creationId xmlns:a16="http://schemas.microsoft.com/office/drawing/2014/main" id="{87439D24-99D7-4EF9-BFDE-3573EF3FB8B0}"/>
              </a:ext>
            </a:extLst>
          </p:cNvPr>
          <p:cNvSpPr>
            <a:spLocks noChangeAspect="1"/>
          </p:cNvSpPr>
          <p:nvPr/>
        </p:nvSpPr>
        <p:spPr bwMode="auto">
          <a:xfrm>
            <a:off x="10349611" y="2064389"/>
            <a:ext cx="1027011" cy="590661"/>
          </a:xfrm>
          <a:custGeom>
            <a:avLst/>
            <a:gdLst>
              <a:gd name="T0" fmla="*/ 6330 w 6336"/>
              <a:gd name="T1" fmla="*/ 2358 h 3644"/>
              <a:gd name="T2" fmla="*/ 6299 w 6336"/>
              <a:gd name="T3" fmla="*/ 2553 h 3644"/>
              <a:gd name="T4" fmla="*/ 6241 w 6336"/>
              <a:gd name="T5" fmla="*/ 2738 h 3644"/>
              <a:gd name="T6" fmla="*/ 6160 w 6336"/>
              <a:gd name="T7" fmla="*/ 2912 h 3644"/>
              <a:gd name="T8" fmla="*/ 6058 w 6336"/>
              <a:gd name="T9" fmla="*/ 3073 h 3644"/>
              <a:gd name="T10" fmla="*/ 5936 w 6336"/>
              <a:gd name="T11" fmla="*/ 3218 h 3644"/>
              <a:gd name="T12" fmla="*/ 5796 w 6336"/>
              <a:gd name="T13" fmla="*/ 3346 h 3644"/>
              <a:gd name="T14" fmla="*/ 5640 w 6336"/>
              <a:gd name="T15" fmla="*/ 3454 h 3644"/>
              <a:gd name="T16" fmla="*/ 5471 w 6336"/>
              <a:gd name="T17" fmla="*/ 3542 h 3644"/>
              <a:gd name="T18" fmla="*/ 5289 w 6336"/>
              <a:gd name="T19" fmla="*/ 3606 h 3644"/>
              <a:gd name="T20" fmla="*/ 5097 w 6336"/>
              <a:gd name="T21" fmla="*/ 3644 h 3644"/>
              <a:gd name="T22" fmla="*/ 827 w 6336"/>
              <a:gd name="T23" fmla="*/ 3634 h 3644"/>
              <a:gd name="T24" fmla="*/ 552 w 6336"/>
              <a:gd name="T25" fmla="*/ 3548 h 3644"/>
              <a:gd name="T26" fmla="*/ 320 w 6336"/>
              <a:gd name="T27" fmla="*/ 3391 h 3644"/>
              <a:gd name="T28" fmla="*/ 141 w 6336"/>
              <a:gd name="T29" fmla="*/ 3174 h 3644"/>
              <a:gd name="T30" fmla="*/ 30 w 6336"/>
              <a:gd name="T31" fmla="*/ 2912 h 3644"/>
              <a:gd name="T32" fmla="*/ 0 w 6336"/>
              <a:gd name="T33" fmla="*/ 2669 h 3644"/>
              <a:gd name="T34" fmla="*/ 44 w 6336"/>
              <a:gd name="T35" fmla="*/ 2379 h 3644"/>
              <a:gd name="T36" fmla="*/ 166 w 6336"/>
              <a:gd name="T37" fmla="*/ 2124 h 3644"/>
              <a:gd name="T38" fmla="*/ 355 w 6336"/>
              <a:gd name="T39" fmla="*/ 1916 h 3644"/>
              <a:gd name="T40" fmla="*/ 595 w 6336"/>
              <a:gd name="T41" fmla="*/ 1771 h 3644"/>
              <a:gd name="T42" fmla="*/ 875 w 6336"/>
              <a:gd name="T43" fmla="*/ 1698 h 3644"/>
              <a:gd name="T44" fmla="*/ 1111 w 6336"/>
              <a:gd name="T45" fmla="*/ 1705 h 3644"/>
              <a:gd name="T46" fmla="*/ 1216 w 6336"/>
              <a:gd name="T47" fmla="*/ 1614 h 3644"/>
              <a:gd name="T48" fmla="*/ 1330 w 6336"/>
              <a:gd name="T49" fmla="*/ 1485 h 3644"/>
              <a:gd name="T50" fmla="*/ 1467 w 6336"/>
              <a:gd name="T51" fmla="*/ 1380 h 3644"/>
              <a:gd name="T52" fmla="*/ 1623 w 6336"/>
              <a:gd name="T53" fmla="*/ 1304 h 3644"/>
              <a:gd name="T54" fmla="*/ 1795 w 6336"/>
              <a:gd name="T55" fmla="*/ 1260 h 3644"/>
              <a:gd name="T56" fmla="*/ 1943 w 6336"/>
              <a:gd name="T57" fmla="*/ 1252 h 3644"/>
              <a:gd name="T58" fmla="*/ 2097 w 6336"/>
              <a:gd name="T59" fmla="*/ 1273 h 3644"/>
              <a:gd name="T60" fmla="*/ 2263 w 6336"/>
              <a:gd name="T61" fmla="*/ 1327 h 3644"/>
              <a:gd name="T62" fmla="*/ 2289 w 6336"/>
              <a:gd name="T63" fmla="*/ 1186 h 3644"/>
              <a:gd name="T64" fmla="*/ 2295 w 6336"/>
              <a:gd name="T65" fmla="*/ 1042 h 3644"/>
              <a:gd name="T66" fmla="*/ 2325 w 6336"/>
              <a:gd name="T67" fmla="*/ 871 h 3644"/>
              <a:gd name="T68" fmla="*/ 2380 w 6336"/>
              <a:gd name="T69" fmla="*/ 709 h 3644"/>
              <a:gd name="T70" fmla="*/ 2457 w 6336"/>
              <a:gd name="T71" fmla="*/ 559 h 3644"/>
              <a:gd name="T72" fmla="*/ 2669 w 6336"/>
              <a:gd name="T73" fmla="*/ 302 h 3644"/>
              <a:gd name="T74" fmla="*/ 2896 w 6336"/>
              <a:gd name="T75" fmla="*/ 140 h 3644"/>
              <a:gd name="T76" fmla="*/ 3051 w 6336"/>
              <a:gd name="T77" fmla="*/ 70 h 3644"/>
              <a:gd name="T78" fmla="*/ 3216 w 6336"/>
              <a:gd name="T79" fmla="*/ 24 h 3644"/>
              <a:gd name="T80" fmla="*/ 3391 w 6336"/>
              <a:gd name="T81" fmla="*/ 1 h 3644"/>
              <a:gd name="T82" fmla="*/ 3598 w 6336"/>
              <a:gd name="T83" fmla="*/ 9 h 3644"/>
              <a:gd name="T84" fmla="*/ 3874 w 6336"/>
              <a:gd name="T85" fmla="*/ 80 h 3644"/>
              <a:gd name="T86" fmla="*/ 4119 w 6336"/>
              <a:gd name="T87" fmla="*/ 215 h 3644"/>
              <a:gd name="T88" fmla="*/ 4324 w 6336"/>
              <a:gd name="T89" fmla="*/ 402 h 3644"/>
              <a:gd name="T90" fmla="*/ 4480 w 6336"/>
              <a:gd name="T91" fmla="*/ 632 h 3644"/>
              <a:gd name="T92" fmla="*/ 4565 w 6336"/>
              <a:gd name="T93" fmla="*/ 853 h 3644"/>
              <a:gd name="T94" fmla="*/ 4825 w 6336"/>
              <a:gd name="T95" fmla="*/ 806 h 3644"/>
              <a:gd name="T96" fmla="*/ 5025 w 6336"/>
              <a:gd name="T97" fmla="*/ 807 h 3644"/>
              <a:gd name="T98" fmla="*/ 5237 w 6336"/>
              <a:gd name="T99" fmla="*/ 840 h 3644"/>
              <a:gd name="T100" fmla="*/ 5437 w 6336"/>
              <a:gd name="T101" fmla="*/ 902 h 3644"/>
              <a:gd name="T102" fmla="*/ 5623 w 6336"/>
              <a:gd name="T103" fmla="*/ 991 h 3644"/>
              <a:gd name="T104" fmla="*/ 5793 w 6336"/>
              <a:gd name="T105" fmla="*/ 1107 h 3644"/>
              <a:gd name="T106" fmla="*/ 5944 w 6336"/>
              <a:gd name="T107" fmla="*/ 1244 h 3644"/>
              <a:gd name="T108" fmla="*/ 6074 w 6336"/>
              <a:gd name="T109" fmla="*/ 1401 h 3644"/>
              <a:gd name="T110" fmla="*/ 6181 w 6336"/>
              <a:gd name="T111" fmla="*/ 1578 h 3644"/>
              <a:gd name="T112" fmla="*/ 6261 w 6336"/>
              <a:gd name="T113" fmla="*/ 1768 h 3644"/>
              <a:gd name="T114" fmla="*/ 6315 w 6336"/>
              <a:gd name="T115" fmla="*/ 1973 h 3644"/>
              <a:gd name="T116" fmla="*/ 6336 w 6336"/>
              <a:gd name="T117" fmla="*/ 2187 h 3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36" h="3644">
                <a:moveTo>
                  <a:pt x="6336" y="2225"/>
                </a:moveTo>
                <a:lnTo>
                  <a:pt x="6336" y="2225"/>
                </a:lnTo>
                <a:lnTo>
                  <a:pt x="6336" y="2258"/>
                </a:lnTo>
                <a:lnTo>
                  <a:pt x="6335" y="2291"/>
                </a:lnTo>
                <a:lnTo>
                  <a:pt x="6333" y="2325"/>
                </a:lnTo>
                <a:lnTo>
                  <a:pt x="6330" y="2358"/>
                </a:lnTo>
                <a:lnTo>
                  <a:pt x="6327" y="2392"/>
                </a:lnTo>
                <a:lnTo>
                  <a:pt x="6322" y="2424"/>
                </a:lnTo>
                <a:lnTo>
                  <a:pt x="6318" y="2457"/>
                </a:lnTo>
                <a:lnTo>
                  <a:pt x="6312" y="2489"/>
                </a:lnTo>
                <a:lnTo>
                  <a:pt x="6306" y="2522"/>
                </a:lnTo>
                <a:lnTo>
                  <a:pt x="6299" y="2553"/>
                </a:lnTo>
                <a:lnTo>
                  <a:pt x="6291" y="2585"/>
                </a:lnTo>
                <a:lnTo>
                  <a:pt x="6282" y="2616"/>
                </a:lnTo>
                <a:lnTo>
                  <a:pt x="6273" y="2647"/>
                </a:lnTo>
                <a:lnTo>
                  <a:pt x="6263" y="2677"/>
                </a:lnTo>
                <a:lnTo>
                  <a:pt x="6252" y="2708"/>
                </a:lnTo>
                <a:lnTo>
                  <a:pt x="6241" y="2738"/>
                </a:lnTo>
                <a:lnTo>
                  <a:pt x="6229" y="2768"/>
                </a:lnTo>
                <a:lnTo>
                  <a:pt x="6216" y="2797"/>
                </a:lnTo>
                <a:lnTo>
                  <a:pt x="6204" y="2826"/>
                </a:lnTo>
                <a:lnTo>
                  <a:pt x="6189" y="2856"/>
                </a:lnTo>
                <a:lnTo>
                  <a:pt x="6176" y="2884"/>
                </a:lnTo>
                <a:lnTo>
                  <a:pt x="6160" y="2912"/>
                </a:lnTo>
                <a:lnTo>
                  <a:pt x="6144" y="2940"/>
                </a:lnTo>
                <a:lnTo>
                  <a:pt x="6128" y="2968"/>
                </a:lnTo>
                <a:lnTo>
                  <a:pt x="6111" y="2995"/>
                </a:lnTo>
                <a:lnTo>
                  <a:pt x="6094" y="3021"/>
                </a:lnTo>
                <a:lnTo>
                  <a:pt x="6076" y="3047"/>
                </a:lnTo>
                <a:lnTo>
                  <a:pt x="6058" y="3073"/>
                </a:lnTo>
                <a:lnTo>
                  <a:pt x="6039" y="3099"/>
                </a:lnTo>
                <a:lnTo>
                  <a:pt x="6019" y="3123"/>
                </a:lnTo>
                <a:lnTo>
                  <a:pt x="5999" y="3147"/>
                </a:lnTo>
                <a:lnTo>
                  <a:pt x="5978" y="3172"/>
                </a:lnTo>
                <a:lnTo>
                  <a:pt x="5958" y="3195"/>
                </a:lnTo>
                <a:lnTo>
                  <a:pt x="5936" y="3218"/>
                </a:lnTo>
                <a:lnTo>
                  <a:pt x="5914" y="3241"/>
                </a:lnTo>
                <a:lnTo>
                  <a:pt x="5891" y="3262"/>
                </a:lnTo>
                <a:lnTo>
                  <a:pt x="5867" y="3285"/>
                </a:lnTo>
                <a:lnTo>
                  <a:pt x="5845" y="3305"/>
                </a:lnTo>
                <a:lnTo>
                  <a:pt x="5820" y="3326"/>
                </a:lnTo>
                <a:lnTo>
                  <a:pt x="5796" y="3346"/>
                </a:lnTo>
                <a:lnTo>
                  <a:pt x="5771" y="3365"/>
                </a:lnTo>
                <a:lnTo>
                  <a:pt x="5745" y="3384"/>
                </a:lnTo>
                <a:lnTo>
                  <a:pt x="5719" y="3402"/>
                </a:lnTo>
                <a:lnTo>
                  <a:pt x="5693" y="3420"/>
                </a:lnTo>
                <a:lnTo>
                  <a:pt x="5668" y="3438"/>
                </a:lnTo>
                <a:lnTo>
                  <a:pt x="5640" y="3454"/>
                </a:lnTo>
                <a:lnTo>
                  <a:pt x="5613" y="3471"/>
                </a:lnTo>
                <a:lnTo>
                  <a:pt x="5585" y="3486"/>
                </a:lnTo>
                <a:lnTo>
                  <a:pt x="5557" y="3501"/>
                </a:lnTo>
                <a:lnTo>
                  <a:pt x="5529" y="3515"/>
                </a:lnTo>
                <a:lnTo>
                  <a:pt x="5499" y="3529"/>
                </a:lnTo>
                <a:lnTo>
                  <a:pt x="5471" y="3542"/>
                </a:lnTo>
                <a:lnTo>
                  <a:pt x="5441" y="3555"/>
                </a:lnTo>
                <a:lnTo>
                  <a:pt x="5411" y="3566"/>
                </a:lnTo>
                <a:lnTo>
                  <a:pt x="5381" y="3577"/>
                </a:lnTo>
                <a:lnTo>
                  <a:pt x="5350" y="3588"/>
                </a:lnTo>
                <a:lnTo>
                  <a:pt x="5320" y="3597"/>
                </a:lnTo>
                <a:lnTo>
                  <a:pt x="5289" y="3606"/>
                </a:lnTo>
                <a:lnTo>
                  <a:pt x="5258" y="3615"/>
                </a:lnTo>
                <a:lnTo>
                  <a:pt x="5226" y="3621"/>
                </a:lnTo>
                <a:lnTo>
                  <a:pt x="5194" y="3628"/>
                </a:lnTo>
                <a:lnTo>
                  <a:pt x="5162" y="3635"/>
                </a:lnTo>
                <a:lnTo>
                  <a:pt x="5130" y="3639"/>
                </a:lnTo>
                <a:lnTo>
                  <a:pt x="5097" y="3644"/>
                </a:lnTo>
                <a:lnTo>
                  <a:pt x="1082" y="3644"/>
                </a:lnTo>
                <a:lnTo>
                  <a:pt x="976" y="3644"/>
                </a:lnTo>
                <a:lnTo>
                  <a:pt x="976" y="3644"/>
                </a:lnTo>
                <a:lnTo>
                  <a:pt x="925" y="3643"/>
                </a:lnTo>
                <a:lnTo>
                  <a:pt x="875" y="3639"/>
                </a:lnTo>
                <a:lnTo>
                  <a:pt x="827" y="3634"/>
                </a:lnTo>
                <a:lnTo>
                  <a:pt x="779" y="3625"/>
                </a:lnTo>
                <a:lnTo>
                  <a:pt x="732" y="3614"/>
                </a:lnTo>
                <a:lnTo>
                  <a:pt x="685" y="3601"/>
                </a:lnTo>
                <a:lnTo>
                  <a:pt x="640" y="3585"/>
                </a:lnTo>
                <a:lnTo>
                  <a:pt x="595" y="3568"/>
                </a:lnTo>
                <a:lnTo>
                  <a:pt x="552" y="3548"/>
                </a:lnTo>
                <a:lnTo>
                  <a:pt x="510" y="3527"/>
                </a:lnTo>
                <a:lnTo>
                  <a:pt x="470" y="3503"/>
                </a:lnTo>
                <a:lnTo>
                  <a:pt x="430" y="3478"/>
                </a:lnTo>
                <a:lnTo>
                  <a:pt x="392" y="3451"/>
                </a:lnTo>
                <a:lnTo>
                  <a:pt x="355" y="3422"/>
                </a:lnTo>
                <a:lnTo>
                  <a:pt x="320" y="3391"/>
                </a:lnTo>
                <a:lnTo>
                  <a:pt x="286" y="3358"/>
                </a:lnTo>
                <a:lnTo>
                  <a:pt x="253" y="3324"/>
                </a:lnTo>
                <a:lnTo>
                  <a:pt x="222" y="3289"/>
                </a:lnTo>
                <a:lnTo>
                  <a:pt x="193" y="3252"/>
                </a:lnTo>
                <a:lnTo>
                  <a:pt x="166" y="3214"/>
                </a:lnTo>
                <a:lnTo>
                  <a:pt x="141" y="3174"/>
                </a:lnTo>
                <a:lnTo>
                  <a:pt x="117" y="3134"/>
                </a:lnTo>
                <a:lnTo>
                  <a:pt x="96" y="3092"/>
                </a:lnTo>
                <a:lnTo>
                  <a:pt x="77" y="3049"/>
                </a:lnTo>
                <a:lnTo>
                  <a:pt x="59" y="3004"/>
                </a:lnTo>
                <a:lnTo>
                  <a:pt x="44" y="2959"/>
                </a:lnTo>
                <a:lnTo>
                  <a:pt x="30" y="2912"/>
                </a:lnTo>
                <a:lnTo>
                  <a:pt x="19" y="2866"/>
                </a:lnTo>
                <a:lnTo>
                  <a:pt x="11" y="2817"/>
                </a:lnTo>
                <a:lnTo>
                  <a:pt x="5" y="2769"/>
                </a:lnTo>
                <a:lnTo>
                  <a:pt x="1" y="2719"/>
                </a:lnTo>
                <a:lnTo>
                  <a:pt x="0" y="2669"/>
                </a:lnTo>
                <a:lnTo>
                  <a:pt x="0" y="2669"/>
                </a:lnTo>
                <a:lnTo>
                  <a:pt x="1" y="2619"/>
                </a:lnTo>
                <a:lnTo>
                  <a:pt x="5" y="2569"/>
                </a:lnTo>
                <a:lnTo>
                  <a:pt x="11" y="2520"/>
                </a:lnTo>
                <a:lnTo>
                  <a:pt x="19" y="2473"/>
                </a:lnTo>
                <a:lnTo>
                  <a:pt x="30" y="2426"/>
                </a:lnTo>
                <a:lnTo>
                  <a:pt x="44" y="2379"/>
                </a:lnTo>
                <a:lnTo>
                  <a:pt x="59" y="2334"/>
                </a:lnTo>
                <a:lnTo>
                  <a:pt x="77" y="2289"/>
                </a:lnTo>
                <a:lnTo>
                  <a:pt x="96" y="2246"/>
                </a:lnTo>
                <a:lnTo>
                  <a:pt x="117" y="2204"/>
                </a:lnTo>
                <a:lnTo>
                  <a:pt x="141" y="2164"/>
                </a:lnTo>
                <a:lnTo>
                  <a:pt x="166" y="2124"/>
                </a:lnTo>
                <a:lnTo>
                  <a:pt x="193" y="2086"/>
                </a:lnTo>
                <a:lnTo>
                  <a:pt x="222" y="2048"/>
                </a:lnTo>
                <a:lnTo>
                  <a:pt x="253" y="2013"/>
                </a:lnTo>
                <a:lnTo>
                  <a:pt x="286" y="1980"/>
                </a:lnTo>
                <a:lnTo>
                  <a:pt x="320" y="1947"/>
                </a:lnTo>
                <a:lnTo>
                  <a:pt x="355" y="1916"/>
                </a:lnTo>
                <a:lnTo>
                  <a:pt x="392" y="1887"/>
                </a:lnTo>
                <a:lnTo>
                  <a:pt x="430" y="1860"/>
                </a:lnTo>
                <a:lnTo>
                  <a:pt x="470" y="1835"/>
                </a:lnTo>
                <a:lnTo>
                  <a:pt x="510" y="1811"/>
                </a:lnTo>
                <a:lnTo>
                  <a:pt x="552" y="1790"/>
                </a:lnTo>
                <a:lnTo>
                  <a:pt x="595" y="1771"/>
                </a:lnTo>
                <a:lnTo>
                  <a:pt x="640" y="1753"/>
                </a:lnTo>
                <a:lnTo>
                  <a:pt x="685" y="1738"/>
                </a:lnTo>
                <a:lnTo>
                  <a:pt x="732" y="1724"/>
                </a:lnTo>
                <a:lnTo>
                  <a:pt x="779" y="1713"/>
                </a:lnTo>
                <a:lnTo>
                  <a:pt x="827" y="1705"/>
                </a:lnTo>
                <a:lnTo>
                  <a:pt x="875" y="1698"/>
                </a:lnTo>
                <a:lnTo>
                  <a:pt x="925" y="1695"/>
                </a:lnTo>
                <a:lnTo>
                  <a:pt x="976" y="1694"/>
                </a:lnTo>
                <a:lnTo>
                  <a:pt x="976" y="1694"/>
                </a:lnTo>
                <a:lnTo>
                  <a:pt x="1021" y="1695"/>
                </a:lnTo>
                <a:lnTo>
                  <a:pt x="1066" y="1698"/>
                </a:lnTo>
                <a:lnTo>
                  <a:pt x="1111" y="1705"/>
                </a:lnTo>
                <a:lnTo>
                  <a:pt x="1155" y="1712"/>
                </a:lnTo>
                <a:lnTo>
                  <a:pt x="1155" y="1712"/>
                </a:lnTo>
                <a:lnTo>
                  <a:pt x="1169" y="1687"/>
                </a:lnTo>
                <a:lnTo>
                  <a:pt x="1183" y="1662"/>
                </a:lnTo>
                <a:lnTo>
                  <a:pt x="1199" y="1637"/>
                </a:lnTo>
                <a:lnTo>
                  <a:pt x="1216" y="1614"/>
                </a:lnTo>
                <a:lnTo>
                  <a:pt x="1233" y="1591"/>
                </a:lnTo>
                <a:lnTo>
                  <a:pt x="1251" y="1568"/>
                </a:lnTo>
                <a:lnTo>
                  <a:pt x="1270" y="1547"/>
                </a:lnTo>
                <a:lnTo>
                  <a:pt x="1290" y="1526"/>
                </a:lnTo>
                <a:lnTo>
                  <a:pt x="1309" y="1504"/>
                </a:lnTo>
                <a:lnTo>
                  <a:pt x="1330" y="1485"/>
                </a:lnTo>
                <a:lnTo>
                  <a:pt x="1352" y="1466"/>
                </a:lnTo>
                <a:lnTo>
                  <a:pt x="1373" y="1447"/>
                </a:lnTo>
                <a:lnTo>
                  <a:pt x="1396" y="1428"/>
                </a:lnTo>
                <a:lnTo>
                  <a:pt x="1418" y="1412"/>
                </a:lnTo>
                <a:lnTo>
                  <a:pt x="1442" y="1396"/>
                </a:lnTo>
                <a:lnTo>
                  <a:pt x="1467" y="1380"/>
                </a:lnTo>
                <a:lnTo>
                  <a:pt x="1492" y="1365"/>
                </a:lnTo>
                <a:lnTo>
                  <a:pt x="1517" y="1352"/>
                </a:lnTo>
                <a:lnTo>
                  <a:pt x="1543" y="1338"/>
                </a:lnTo>
                <a:lnTo>
                  <a:pt x="1568" y="1326"/>
                </a:lnTo>
                <a:lnTo>
                  <a:pt x="1596" y="1314"/>
                </a:lnTo>
                <a:lnTo>
                  <a:pt x="1623" y="1304"/>
                </a:lnTo>
                <a:lnTo>
                  <a:pt x="1651" y="1294"/>
                </a:lnTo>
                <a:lnTo>
                  <a:pt x="1679" y="1286"/>
                </a:lnTo>
                <a:lnTo>
                  <a:pt x="1707" y="1278"/>
                </a:lnTo>
                <a:lnTo>
                  <a:pt x="1736" y="1272"/>
                </a:lnTo>
                <a:lnTo>
                  <a:pt x="1765" y="1266"/>
                </a:lnTo>
                <a:lnTo>
                  <a:pt x="1795" y="1260"/>
                </a:lnTo>
                <a:lnTo>
                  <a:pt x="1825" y="1257"/>
                </a:lnTo>
                <a:lnTo>
                  <a:pt x="1855" y="1255"/>
                </a:lnTo>
                <a:lnTo>
                  <a:pt x="1886" y="1252"/>
                </a:lnTo>
                <a:lnTo>
                  <a:pt x="1917" y="1252"/>
                </a:lnTo>
                <a:lnTo>
                  <a:pt x="1917" y="1252"/>
                </a:lnTo>
                <a:lnTo>
                  <a:pt x="1943" y="1252"/>
                </a:lnTo>
                <a:lnTo>
                  <a:pt x="1969" y="1253"/>
                </a:lnTo>
                <a:lnTo>
                  <a:pt x="1995" y="1256"/>
                </a:lnTo>
                <a:lnTo>
                  <a:pt x="2021" y="1259"/>
                </a:lnTo>
                <a:lnTo>
                  <a:pt x="2046" y="1262"/>
                </a:lnTo>
                <a:lnTo>
                  <a:pt x="2072" y="1267"/>
                </a:lnTo>
                <a:lnTo>
                  <a:pt x="2097" y="1273"/>
                </a:lnTo>
                <a:lnTo>
                  <a:pt x="2121" y="1278"/>
                </a:lnTo>
                <a:lnTo>
                  <a:pt x="2145" y="1285"/>
                </a:lnTo>
                <a:lnTo>
                  <a:pt x="2169" y="1292"/>
                </a:lnTo>
                <a:lnTo>
                  <a:pt x="2193" y="1300"/>
                </a:lnTo>
                <a:lnTo>
                  <a:pt x="2217" y="1309"/>
                </a:lnTo>
                <a:lnTo>
                  <a:pt x="2263" y="1327"/>
                </a:lnTo>
                <a:lnTo>
                  <a:pt x="2307" y="1348"/>
                </a:lnTo>
                <a:lnTo>
                  <a:pt x="2307" y="1348"/>
                </a:lnTo>
                <a:lnTo>
                  <a:pt x="2300" y="1302"/>
                </a:lnTo>
                <a:lnTo>
                  <a:pt x="2295" y="1256"/>
                </a:lnTo>
                <a:lnTo>
                  <a:pt x="2290" y="1209"/>
                </a:lnTo>
                <a:lnTo>
                  <a:pt x="2289" y="1186"/>
                </a:lnTo>
                <a:lnTo>
                  <a:pt x="2289" y="1161"/>
                </a:lnTo>
                <a:lnTo>
                  <a:pt x="2289" y="1161"/>
                </a:lnTo>
                <a:lnTo>
                  <a:pt x="2289" y="1131"/>
                </a:lnTo>
                <a:lnTo>
                  <a:pt x="2290" y="1102"/>
                </a:lnTo>
                <a:lnTo>
                  <a:pt x="2292" y="1072"/>
                </a:lnTo>
                <a:lnTo>
                  <a:pt x="2295" y="1042"/>
                </a:lnTo>
                <a:lnTo>
                  <a:pt x="2298" y="1013"/>
                </a:lnTo>
                <a:lnTo>
                  <a:pt x="2302" y="985"/>
                </a:lnTo>
                <a:lnTo>
                  <a:pt x="2307" y="955"/>
                </a:lnTo>
                <a:lnTo>
                  <a:pt x="2313" y="927"/>
                </a:lnTo>
                <a:lnTo>
                  <a:pt x="2318" y="899"/>
                </a:lnTo>
                <a:lnTo>
                  <a:pt x="2325" y="871"/>
                </a:lnTo>
                <a:lnTo>
                  <a:pt x="2333" y="844"/>
                </a:lnTo>
                <a:lnTo>
                  <a:pt x="2341" y="816"/>
                </a:lnTo>
                <a:lnTo>
                  <a:pt x="2350" y="789"/>
                </a:lnTo>
                <a:lnTo>
                  <a:pt x="2359" y="762"/>
                </a:lnTo>
                <a:lnTo>
                  <a:pt x="2369" y="735"/>
                </a:lnTo>
                <a:lnTo>
                  <a:pt x="2380" y="709"/>
                </a:lnTo>
                <a:lnTo>
                  <a:pt x="2392" y="683"/>
                </a:lnTo>
                <a:lnTo>
                  <a:pt x="2403" y="658"/>
                </a:lnTo>
                <a:lnTo>
                  <a:pt x="2417" y="632"/>
                </a:lnTo>
                <a:lnTo>
                  <a:pt x="2429" y="608"/>
                </a:lnTo>
                <a:lnTo>
                  <a:pt x="2442" y="584"/>
                </a:lnTo>
                <a:lnTo>
                  <a:pt x="2457" y="559"/>
                </a:lnTo>
                <a:lnTo>
                  <a:pt x="2488" y="512"/>
                </a:lnTo>
                <a:lnTo>
                  <a:pt x="2519" y="466"/>
                </a:lnTo>
                <a:lnTo>
                  <a:pt x="2554" y="422"/>
                </a:lnTo>
                <a:lnTo>
                  <a:pt x="2590" y="381"/>
                </a:lnTo>
                <a:lnTo>
                  <a:pt x="2629" y="340"/>
                </a:lnTo>
                <a:lnTo>
                  <a:pt x="2669" y="302"/>
                </a:lnTo>
                <a:lnTo>
                  <a:pt x="2711" y="265"/>
                </a:lnTo>
                <a:lnTo>
                  <a:pt x="2755" y="230"/>
                </a:lnTo>
                <a:lnTo>
                  <a:pt x="2800" y="199"/>
                </a:lnTo>
                <a:lnTo>
                  <a:pt x="2848" y="168"/>
                </a:lnTo>
                <a:lnTo>
                  <a:pt x="2873" y="154"/>
                </a:lnTo>
                <a:lnTo>
                  <a:pt x="2896" y="140"/>
                </a:lnTo>
                <a:lnTo>
                  <a:pt x="2921" y="126"/>
                </a:lnTo>
                <a:lnTo>
                  <a:pt x="2947" y="114"/>
                </a:lnTo>
                <a:lnTo>
                  <a:pt x="2972" y="103"/>
                </a:lnTo>
                <a:lnTo>
                  <a:pt x="2998" y="91"/>
                </a:lnTo>
                <a:lnTo>
                  <a:pt x="3024" y="80"/>
                </a:lnTo>
                <a:lnTo>
                  <a:pt x="3051" y="70"/>
                </a:lnTo>
                <a:lnTo>
                  <a:pt x="3078" y="61"/>
                </a:lnTo>
                <a:lnTo>
                  <a:pt x="3105" y="52"/>
                </a:lnTo>
                <a:lnTo>
                  <a:pt x="3132" y="44"/>
                </a:lnTo>
                <a:lnTo>
                  <a:pt x="3160" y="36"/>
                </a:lnTo>
                <a:lnTo>
                  <a:pt x="3188" y="29"/>
                </a:lnTo>
                <a:lnTo>
                  <a:pt x="3216" y="24"/>
                </a:lnTo>
                <a:lnTo>
                  <a:pt x="3244" y="18"/>
                </a:lnTo>
                <a:lnTo>
                  <a:pt x="3274" y="14"/>
                </a:lnTo>
                <a:lnTo>
                  <a:pt x="3303" y="9"/>
                </a:lnTo>
                <a:lnTo>
                  <a:pt x="3331" y="6"/>
                </a:lnTo>
                <a:lnTo>
                  <a:pt x="3361" y="3"/>
                </a:lnTo>
                <a:lnTo>
                  <a:pt x="3391" y="1"/>
                </a:lnTo>
                <a:lnTo>
                  <a:pt x="3420" y="0"/>
                </a:lnTo>
                <a:lnTo>
                  <a:pt x="3451" y="0"/>
                </a:lnTo>
                <a:lnTo>
                  <a:pt x="3451" y="0"/>
                </a:lnTo>
                <a:lnTo>
                  <a:pt x="3501" y="1"/>
                </a:lnTo>
                <a:lnTo>
                  <a:pt x="3549" y="5"/>
                </a:lnTo>
                <a:lnTo>
                  <a:pt x="3598" y="9"/>
                </a:lnTo>
                <a:lnTo>
                  <a:pt x="3646" y="17"/>
                </a:lnTo>
                <a:lnTo>
                  <a:pt x="3694" y="26"/>
                </a:lnTo>
                <a:lnTo>
                  <a:pt x="3740" y="36"/>
                </a:lnTo>
                <a:lnTo>
                  <a:pt x="3785" y="50"/>
                </a:lnTo>
                <a:lnTo>
                  <a:pt x="3830" y="64"/>
                </a:lnTo>
                <a:lnTo>
                  <a:pt x="3874" y="80"/>
                </a:lnTo>
                <a:lnTo>
                  <a:pt x="3918" y="98"/>
                </a:lnTo>
                <a:lnTo>
                  <a:pt x="3960" y="119"/>
                </a:lnTo>
                <a:lnTo>
                  <a:pt x="4002" y="140"/>
                </a:lnTo>
                <a:lnTo>
                  <a:pt x="4043" y="164"/>
                </a:lnTo>
                <a:lnTo>
                  <a:pt x="4081" y="189"/>
                </a:lnTo>
                <a:lnTo>
                  <a:pt x="4119" y="215"/>
                </a:lnTo>
                <a:lnTo>
                  <a:pt x="4157" y="242"/>
                </a:lnTo>
                <a:lnTo>
                  <a:pt x="4193" y="271"/>
                </a:lnTo>
                <a:lnTo>
                  <a:pt x="4228" y="302"/>
                </a:lnTo>
                <a:lnTo>
                  <a:pt x="4261" y="334"/>
                </a:lnTo>
                <a:lnTo>
                  <a:pt x="4293" y="367"/>
                </a:lnTo>
                <a:lnTo>
                  <a:pt x="4324" y="402"/>
                </a:lnTo>
                <a:lnTo>
                  <a:pt x="4353" y="437"/>
                </a:lnTo>
                <a:lnTo>
                  <a:pt x="4381" y="474"/>
                </a:lnTo>
                <a:lnTo>
                  <a:pt x="4408" y="513"/>
                </a:lnTo>
                <a:lnTo>
                  <a:pt x="4433" y="551"/>
                </a:lnTo>
                <a:lnTo>
                  <a:pt x="4457" y="592"/>
                </a:lnTo>
                <a:lnTo>
                  <a:pt x="4480" y="632"/>
                </a:lnTo>
                <a:lnTo>
                  <a:pt x="4500" y="675"/>
                </a:lnTo>
                <a:lnTo>
                  <a:pt x="4519" y="718"/>
                </a:lnTo>
                <a:lnTo>
                  <a:pt x="4536" y="762"/>
                </a:lnTo>
                <a:lnTo>
                  <a:pt x="4552" y="806"/>
                </a:lnTo>
                <a:lnTo>
                  <a:pt x="4565" y="853"/>
                </a:lnTo>
                <a:lnTo>
                  <a:pt x="4565" y="853"/>
                </a:lnTo>
                <a:lnTo>
                  <a:pt x="4607" y="841"/>
                </a:lnTo>
                <a:lnTo>
                  <a:pt x="4650" y="832"/>
                </a:lnTo>
                <a:lnTo>
                  <a:pt x="4693" y="824"/>
                </a:lnTo>
                <a:lnTo>
                  <a:pt x="4737" y="816"/>
                </a:lnTo>
                <a:lnTo>
                  <a:pt x="4781" y="811"/>
                </a:lnTo>
                <a:lnTo>
                  <a:pt x="4825" y="806"/>
                </a:lnTo>
                <a:lnTo>
                  <a:pt x="4870" y="804"/>
                </a:lnTo>
                <a:lnTo>
                  <a:pt x="4915" y="803"/>
                </a:lnTo>
                <a:lnTo>
                  <a:pt x="4915" y="803"/>
                </a:lnTo>
                <a:lnTo>
                  <a:pt x="4953" y="804"/>
                </a:lnTo>
                <a:lnTo>
                  <a:pt x="4989" y="805"/>
                </a:lnTo>
                <a:lnTo>
                  <a:pt x="5025" y="807"/>
                </a:lnTo>
                <a:lnTo>
                  <a:pt x="5061" y="811"/>
                </a:lnTo>
                <a:lnTo>
                  <a:pt x="5097" y="814"/>
                </a:lnTo>
                <a:lnTo>
                  <a:pt x="5132" y="820"/>
                </a:lnTo>
                <a:lnTo>
                  <a:pt x="5167" y="825"/>
                </a:lnTo>
                <a:lnTo>
                  <a:pt x="5202" y="832"/>
                </a:lnTo>
                <a:lnTo>
                  <a:pt x="5237" y="840"/>
                </a:lnTo>
                <a:lnTo>
                  <a:pt x="5271" y="848"/>
                </a:lnTo>
                <a:lnTo>
                  <a:pt x="5305" y="857"/>
                </a:lnTo>
                <a:lnTo>
                  <a:pt x="5339" y="867"/>
                </a:lnTo>
                <a:lnTo>
                  <a:pt x="5372" y="877"/>
                </a:lnTo>
                <a:lnTo>
                  <a:pt x="5404" y="890"/>
                </a:lnTo>
                <a:lnTo>
                  <a:pt x="5437" y="902"/>
                </a:lnTo>
                <a:lnTo>
                  <a:pt x="5469" y="915"/>
                </a:lnTo>
                <a:lnTo>
                  <a:pt x="5500" y="928"/>
                </a:lnTo>
                <a:lnTo>
                  <a:pt x="5532" y="943"/>
                </a:lnTo>
                <a:lnTo>
                  <a:pt x="5562" y="959"/>
                </a:lnTo>
                <a:lnTo>
                  <a:pt x="5593" y="975"/>
                </a:lnTo>
                <a:lnTo>
                  <a:pt x="5623" y="991"/>
                </a:lnTo>
                <a:lnTo>
                  <a:pt x="5653" y="1010"/>
                </a:lnTo>
                <a:lnTo>
                  <a:pt x="5681" y="1028"/>
                </a:lnTo>
                <a:lnTo>
                  <a:pt x="5710" y="1046"/>
                </a:lnTo>
                <a:lnTo>
                  <a:pt x="5739" y="1065"/>
                </a:lnTo>
                <a:lnTo>
                  <a:pt x="5766" y="1085"/>
                </a:lnTo>
                <a:lnTo>
                  <a:pt x="5793" y="1107"/>
                </a:lnTo>
                <a:lnTo>
                  <a:pt x="5820" y="1128"/>
                </a:lnTo>
                <a:lnTo>
                  <a:pt x="5846" y="1150"/>
                </a:lnTo>
                <a:lnTo>
                  <a:pt x="5871" y="1172"/>
                </a:lnTo>
                <a:lnTo>
                  <a:pt x="5896" y="1196"/>
                </a:lnTo>
                <a:lnTo>
                  <a:pt x="5920" y="1220"/>
                </a:lnTo>
                <a:lnTo>
                  <a:pt x="5944" y="1244"/>
                </a:lnTo>
                <a:lnTo>
                  <a:pt x="5968" y="1269"/>
                </a:lnTo>
                <a:lnTo>
                  <a:pt x="5990" y="1294"/>
                </a:lnTo>
                <a:lnTo>
                  <a:pt x="6012" y="1320"/>
                </a:lnTo>
                <a:lnTo>
                  <a:pt x="6033" y="1347"/>
                </a:lnTo>
                <a:lnTo>
                  <a:pt x="6055" y="1374"/>
                </a:lnTo>
                <a:lnTo>
                  <a:pt x="6074" y="1401"/>
                </a:lnTo>
                <a:lnTo>
                  <a:pt x="6094" y="1430"/>
                </a:lnTo>
                <a:lnTo>
                  <a:pt x="6112" y="1458"/>
                </a:lnTo>
                <a:lnTo>
                  <a:pt x="6130" y="1487"/>
                </a:lnTo>
                <a:lnTo>
                  <a:pt x="6149" y="1517"/>
                </a:lnTo>
                <a:lnTo>
                  <a:pt x="6165" y="1547"/>
                </a:lnTo>
                <a:lnTo>
                  <a:pt x="6181" y="1578"/>
                </a:lnTo>
                <a:lnTo>
                  <a:pt x="6196" y="1608"/>
                </a:lnTo>
                <a:lnTo>
                  <a:pt x="6211" y="1640"/>
                </a:lnTo>
                <a:lnTo>
                  <a:pt x="6225" y="1671"/>
                </a:lnTo>
                <a:lnTo>
                  <a:pt x="6238" y="1703"/>
                </a:lnTo>
                <a:lnTo>
                  <a:pt x="6250" y="1736"/>
                </a:lnTo>
                <a:lnTo>
                  <a:pt x="6261" y="1768"/>
                </a:lnTo>
                <a:lnTo>
                  <a:pt x="6273" y="1802"/>
                </a:lnTo>
                <a:lnTo>
                  <a:pt x="6283" y="1835"/>
                </a:lnTo>
                <a:lnTo>
                  <a:pt x="6292" y="1869"/>
                </a:lnTo>
                <a:lnTo>
                  <a:pt x="6300" y="1904"/>
                </a:lnTo>
                <a:lnTo>
                  <a:pt x="6308" y="1938"/>
                </a:lnTo>
                <a:lnTo>
                  <a:pt x="6315" y="1973"/>
                </a:lnTo>
                <a:lnTo>
                  <a:pt x="6320" y="2008"/>
                </a:lnTo>
                <a:lnTo>
                  <a:pt x="6325" y="2043"/>
                </a:lnTo>
                <a:lnTo>
                  <a:pt x="6329" y="2079"/>
                </a:lnTo>
                <a:lnTo>
                  <a:pt x="6333" y="2115"/>
                </a:lnTo>
                <a:lnTo>
                  <a:pt x="6335" y="2151"/>
                </a:lnTo>
                <a:lnTo>
                  <a:pt x="6336" y="2187"/>
                </a:lnTo>
                <a:lnTo>
                  <a:pt x="6336" y="2225"/>
                </a:lnTo>
                <a:close/>
              </a:path>
            </a:pathLst>
          </a:custGeom>
          <a:noFill/>
          <a:ln w="28575">
            <a:solidFill>
              <a:schemeClr val="accent1"/>
            </a:solid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318" name="Freeform 17">
            <a:extLst>
              <a:ext uri="{FF2B5EF4-FFF2-40B4-BE49-F238E27FC236}">
                <a16:creationId xmlns:a16="http://schemas.microsoft.com/office/drawing/2014/main" id="{A46A182F-E25E-4EB2-A24E-D97AF7588738}"/>
              </a:ext>
            </a:extLst>
          </p:cNvPr>
          <p:cNvSpPr>
            <a:spLocks noChangeAspect="1"/>
          </p:cNvSpPr>
          <p:nvPr/>
        </p:nvSpPr>
        <p:spPr bwMode="auto">
          <a:xfrm>
            <a:off x="10349611" y="3562511"/>
            <a:ext cx="1027011" cy="590661"/>
          </a:xfrm>
          <a:custGeom>
            <a:avLst/>
            <a:gdLst>
              <a:gd name="T0" fmla="*/ 6330 w 6336"/>
              <a:gd name="T1" fmla="*/ 2358 h 3644"/>
              <a:gd name="T2" fmla="*/ 6299 w 6336"/>
              <a:gd name="T3" fmla="*/ 2553 h 3644"/>
              <a:gd name="T4" fmla="*/ 6241 w 6336"/>
              <a:gd name="T5" fmla="*/ 2738 h 3644"/>
              <a:gd name="T6" fmla="*/ 6160 w 6336"/>
              <a:gd name="T7" fmla="*/ 2912 h 3644"/>
              <a:gd name="T8" fmla="*/ 6058 w 6336"/>
              <a:gd name="T9" fmla="*/ 3073 h 3644"/>
              <a:gd name="T10" fmla="*/ 5936 w 6336"/>
              <a:gd name="T11" fmla="*/ 3218 h 3644"/>
              <a:gd name="T12" fmla="*/ 5796 w 6336"/>
              <a:gd name="T13" fmla="*/ 3346 h 3644"/>
              <a:gd name="T14" fmla="*/ 5640 w 6336"/>
              <a:gd name="T15" fmla="*/ 3454 h 3644"/>
              <a:gd name="T16" fmla="*/ 5471 w 6336"/>
              <a:gd name="T17" fmla="*/ 3542 h 3644"/>
              <a:gd name="T18" fmla="*/ 5289 w 6336"/>
              <a:gd name="T19" fmla="*/ 3606 h 3644"/>
              <a:gd name="T20" fmla="*/ 5097 w 6336"/>
              <a:gd name="T21" fmla="*/ 3644 h 3644"/>
              <a:gd name="T22" fmla="*/ 827 w 6336"/>
              <a:gd name="T23" fmla="*/ 3634 h 3644"/>
              <a:gd name="T24" fmla="*/ 552 w 6336"/>
              <a:gd name="T25" fmla="*/ 3548 h 3644"/>
              <a:gd name="T26" fmla="*/ 320 w 6336"/>
              <a:gd name="T27" fmla="*/ 3391 h 3644"/>
              <a:gd name="T28" fmla="*/ 141 w 6336"/>
              <a:gd name="T29" fmla="*/ 3174 h 3644"/>
              <a:gd name="T30" fmla="*/ 30 w 6336"/>
              <a:gd name="T31" fmla="*/ 2912 h 3644"/>
              <a:gd name="T32" fmla="*/ 0 w 6336"/>
              <a:gd name="T33" fmla="*/ 2669 h 3644"/>
              <a:gd name="T34" fmla="*/ 44 w 6336"/>
              <a:gd name="T35" fmla="*/ 2379 h 3644"/>
              <a:gd name="T36" fmla="*/ 166 w 6336"/>
              <a:gd name="T37" fmla="*/ 2124 h 3644"/>
              <a:gd name="T38" fmla="*/ 355 w 6336"/>
              <a:gd name="T39" fmla="*/ 1916 h 3644"/>
              <a:gd name="T40" fmla="*/ 595 w 6336"/>
              <a:gd name="T41" fmla="*/ 1771 h 3644"/>
              <a:gd name="T42" fmla="*/ 875 w 6336"/>
              <a:gd name="T43" fmla="*/ 1698 h 3644"/>
              <a:gd name="T44" fmla="*/ 1111 w 6336"/>
              <a:gd name="T45" fmla="*/ 1705 h 3644"/>
              <a:gd name="T46" fmla="*/ 1216 w 6336"/>
              <a:gd name="T47" fmla="*/ 1614 h 3644"/>
              <a:gd name="T48" fmla="*/ 1330 w 6336"/>
              <a:gd name="T49" fmla="*/ 1485 h 3644"/>
              <a:gd name="T50" fmla="*/ 1467 w 6336"/>
              <a:gd name="T51" fmla="*/ 1380 h 3644"/>
              <a:gd name="T52" fmla="*/ 1623 w 6336"/>
              <a:gd name="T53" fmla="*/ 1304 h 3644"/>
              <a:gd name="T54" fmla="*/ 1795 w 6336"/>
              <a:gd name="T55" fmla="*/ 1260 h 3644"/>
              <a:gd name="T56" fmla="*/ 1943 w 6336"/>
              <a:gd name="T57" fmla="*/ 1252 h 3644"/>
              <a:gd name="T58" fmla="*/ 2097 w 6336"/>
              <a:gd name="T59" fmla="*/ 1273 h 3644"/>
              <a:gd name="T60" fmla="*/ 2263 w 6336"/>
              <a:gd name="T61" fmla="*/ 1327 h 3644"/>
              <a:gd name="T62" fmla="*/ 2289 w 6336"/>
              <a:gd name="T63" fmla="*/ 1186 h 3644"/>
              <a:gd name="T64" fmla="*/ 2295 w 6336"/>
              <a:gd name="T65" fmla="*/ 1042 h 3644"/>
              <a:gd name="T66" fmla="*/ 2325 w 6336"/>
              <a:gd name="T67" fmla="*/ 871 h 3644"/>
              <a:gd name="T68" fmla="*/ 2380 w 6336"/>
              <a:gd name="T69" fmla="*/ 709 h 3644"/>
              <a:gd name="T70" fmla="*/ 2457 w 6336"/>
              <a:gd name="T71" fmla="*/ 559 h 3644"/>
              <a:gd name="T72" fmla="*/ 2669 w 6336"/>
              <a:gd name="T73" fmla="*/ 302 h 3644"/>
              <a:gd name="T74" fmla="*/ 2896 w 6336"/>
              <a:gd name="T75" fmla="*/ 140 h 3644"/>
              <a:gd name="T76" fmla="*/ 3051 w 6336"/>
              <a:gd name="T77" fmla="*/ 70 h 3644"/>
              <a:gd name="T78" fmla="*/ 3216 w 6336"/>
              <a:gd name="T79" fmla="*/ 24 h 3644"/>
              <a:gd name="T80" fmla="*/ 3391 w 6336"/>
              <a:gd name="T81" fmla="*/ 1 h 3644"/>
              <a:gd name="T82" fmla="*/ 3598 w 6336"/>
              <a:gd name="T83" fmla="*/ 9 h 3644"/>
              <a:gd name="T84" fmla="*/ 3874 w 6336"/>
              <a:gd name="T85" fmla="*/ 80 h 3644"/>
              <a:gd name="T86" fmla="*/ 4119 w 6336"/>
              <a:gd name="T87" fmla="*/ 215 h 3644"/>
              <a:gd name="T88" fmla="*/ 4324 w 6336"/>
              <a:gd name="T89" fmla="*/ 402 h 3644"/>
              <a:gd name="T90" fmla="*/ 4480 w 6336"/>
              <a:gd name="T91" fmla="*/ 632 h 3644"/>
              <a:gd name="T92" fmla="*/ 4565 w 6336"/>
              <a:gd name="T93" fmla="*/ 853 h 3644"/>
              <a:gd name="T94" fmla="*/ 4825 w 6336"/>
              <a:gd name="T95" fmla="*/ 806 h 3644"/>
              <a:gd name="T96" fmla="*/ 5025 w 6336"/>
              <a:gd name="T97" fmla="*/ 807 h 3644"/>
              <a:gd name="T98" fmla="*/ 5237 w 6336"/>
              <a:gd name="T99" fmla="*/ 840 h 3644"/>
              <a:gd name="T100" fmla="*/ 5437 w 6336"/>
              <a:gd name="T101" fmla="*/ 902 h 3644"/>
              <a:gd name="T102" fmla="*/ 5623 w 6336"/>
              <a:gd name="T103" fmla="*/ 991 h 3644"/>
              <a:gd name="T104" fmla="*/ 5793 w 6336"/>
              <a:gd name="T105" fmla="*/ 1107 h 3644"/>
              <a:gd name="T106" fmla="*/ 5944 w 6336"/>
              <a:gd name="T107" fmla="*/ 1244 h 3644"/>
              <a:gd name="T108" fmla="*/ 6074 w 6336"/>
              <a:gd name="T109" fmla="*/ 1401 h 3644"/>
              <a:gd name="T110" fmla="*/ 6181 w 6336"/>
              <a:gd name="T111" fmla="*/ 1578 h 3644"/>
              <a:gd name="T112" fmla="*/ 6261 w 6336"/>
              <a:gd name="T113" fmla="*/ 1768 h 3644"/>
              <a:gd name="T114" fmla="*/ 6315 w 6336"/>
              <a:gd name="T115" fmla="*/ 1973 h 3644"/>
              <a:gd name="T116" fmla="*/ 6336 w 6336"/>
              <a:gd name="T117" fmla="*/ 2187 h 3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36" h="3644">
                <a:moveTo>
                  <a:pt x="6336" y="2225"/>
                </a:moveTo>
                <a:lnTo>
                  <a:pt x="6336" y="2225"/>
                </a:lnTo>
                <a:lnTo>
                  <a:pt x="6336" y="2258"/>
                </a:lnTo>
                <a:lnTo>
                  <a:pt x="6335" y="2291"/>
                </a:lnTo>
                <a:lnTo>
                  <a:pt x="6333" y="2325"/>
                </a:lnTo>
                <a:lnTo>
                  <a:pt x="6330" y="2358"/>
                </a:lnTo>
                <a:lnTo>
                  <a:pt x="6327" y="2392"/>
                </a:lnTo>
                <a:lnTo>
                  <a:pt x="6322" y="2424"/>
                </a:lnTo>
                <a:lnTo>
                  <a:pt x="6318" y="2457"/>
                </a:lnTo>
                <a:lnTo>
                  <a:pt x="6312" y="2489"/>
                </a:lnTo>
                <a:lnTo>
                  <a:pt x="6306" y="2522"/>
                </a:lnTo>
                <a:lnTo>
                  <a:pt x="6299" y="2553"/>
                </a:lnTo>
                <a:lnTo>
                  <a:pt x="6291" y="2585"/>
                </a:lnTo>
                <a:lnTo>
                  <a:pt x="6282" y="2616"/>
                </a:lnTo>
                <a:lnTo>
                  <a:pt x="6273" y="2647"/>
                </a:lnTo>
                <a:lnTo>
                  <a:pt x="6263" y="2677"/>
                </a:lnTo>
                <a:lnTo>
                  <a:pt x="6252" y="2708"/>
                </a:lnTo>
                <a:lnTo>
                  <a:pt x="6241" y="2738"/>
                </a:lnTo>
                <a:lnTo>
                  <a:pt x="6229" y="2768"/>
                </a:lnTo>
                <a:lnTo>
                  <a:pt x="6216" y="2797"/>
                </a:lnTo>
                <a:lnTo>
                  <a:pt x="6204" y="2826"/>
                </a:lnTo>
                <a:lnTo>
                  <a:pt x="6189" y="2856"/>
                </a:lnTo>
                <a:lnTo>
                  <a:pt x="6176" y="2884"/>
                </a:lnTo>
                <a:lnTo>
                  <a:pt x="6160" y="2912"/>
                </a:lnTo>
                <a:lnTo>
                  <a:pt x="6144" y="2940"/>
                </a:lnTo>
                <a:lnTo>
                  <a:pt x="6128" y="2968"/>
                </a:lnTo>
                <a:lnTo>
                  <a:pt x="6111" y="2995"/>
                </a:lnTo>
                <a:lnTo>
                  <a:pt x="6094" y="3021"/>
                </a:lnTo>
                <a:lnTo>
                  <a:pt x="6076" y="3047"/>
                </a:lnTo>
                <a:lnTo>
                  <a:pt x="6058" y="3073"/>
                </a:lnTo>
                <a:lnTo>
                  <a:pt x="6039" y="3099"/>
                </a:lnTo>
                <a:lnTo>
                  <a:pt x="6019" y="3123"/>
                </a:lnTo>
                <a:lnTo>
                  <a:pt x="5999" y="3147"/>
                </a:lnTo>
                <a:lnTo>
                  <a:pt x="5978" y="3172"/>
                </a:lnTo>
                <a:lnTo>
                  <a:pt x="5958" y="3195"/>
                </a:lnTo>
                <a:lnTo>
                  <a:pt x="5936" y="3218"/>
                </a:lnTo>
                <a:lnTo>
                  <a:pt x="5914" y="3241"/>
                </a:lnTo>
                <a:lnTo>
                  <a:pt x="5891" y="3262"/>
                </a:lnTo>
                <a:lnTo>
                  <a:pt x="5867" y="3285"/>
                </a:lnTo>
                <a:lnTo>
                  <a:pt x="5845" y="3305"/>
                </a:lnTo>
                <a:lnTo>
                  <a:pt x="5820" y="3326"/>
                </a:lnTo>
                <a:lnTo>
                  <a:pt x="5796" y="3346"/>
                </a:lnTo>
                <a:lnTo>
                  <a:pt x="5771" y="3365"/>
                </a:lnTo>
                <a:lnTo>
                  <a:pt x="5745" y="3384"/>
                </a:lnTo>
                <a:lnTo>
                  <a:pt x="5719" y="3402"/>
                </a:lnTo>
                <a:lnTo>
                  <a:pt x="5693" y="3420"/>
                </a:lnTo>
                <a:lnTo>
                  <a:pt x="5668" y="3438"/>
                </a:lnTo>
                <a:lnTo>
                  <a:pt x="5640" y="3454"/>
                </a:lnTo>
                <a:lnTo>
                  <a:pt x="5613" y="3471"/>
                </a:lnTo>
                <a:lnTo>
                  <a:pt x="5585" y="3486"/>
                </a:lnTo>
                <a:lnTo>
                  <a:pt x="5557" y="3501"/>
                </a:lnTo>
                <a:lnTo>
                  <a:pt x="5529" y="3515"/>
                </a:lnTo>
                <a:lnTo>
                  <a:pt x="5499" y="3529"/>
                </a:lnTo>
                <a:lnTo>
                  <a:pt x="5471" y="3542"/>
                </a:lnTo>
                <a:lnTo>
                  <a:pt x="5441" y="3555"/>
                </a:lnTo>
                <a:lnTo>
                  <a:pt x="5411" y="3566"/>
                </a:lnTo>
                <a:lnTo>
                  <a:pt x="5381" y="3577"/>
                </a:lnTo>
                <a:lnTo>
                  <a:pt x="5350" y="3588"/>
                </a:lnTo>
                <a:lnTo>
                  <a:pt x="5320" y="3597"/>
                </a:lnTo>
                <a:lnTo>
                  <a:pt x="5289" y="3606"/>
                </a:lnTo>
                <a:lnTo>
                  <a:pt x="5258" y="3615"/>
                </a:lnTo>
                <a:lnTo>
                  <a:pt x="5226" y="3621"/>
                </a:lnTo>
                <a:lnTo>
                  <a:pt x="5194" y="3628"/>
                </a:lnTo>
                <a:lnTo>
                  <a:pt x="5162" y="3635"/>
                </a:lnTo>
                <a:lnTo>
                  <a:pt x="5130" y="3639"/>
                </a:lnTo>
                <a:lnTo>
                  <a:pt x="5097" y="3644"/>
                </a:lnTo>
                <a:lnTo>
                  <a:pt x="1082" y="3644"/>
                </a:lnTo>
                <a:lnTo>
                  <a:pt x="976" y="3644"/>
                </a:lnTo>
                <a:lnTo>
                  <a:pt x="976" y="3644"/>
                </a:lnTo>
                <a:lnTo>
                  <a:pt x="925" y="3643"/>
                </a:lnTo>
                <a:lnTo>
                  <a:pt x="875" y="3639"/>
                </a:lnTo>
                <a:lnTo>
                  <a:pt x="827" y="3634"/>
                </a:lnTo>
                <a:lnTo>
                  <a:pt x="779" y="3625"/>
                </a:lnTo>
                <a:lnTo>
                  <a:pt x="732" y="3614"/>
                </a:lnTo>
                <a:lnTo>
                  <a:pt x="685" y="3601"/>
                </a:lnTo>
                <a:lnTo>
                  <a:pt x="640" y="3585"/>
                </a:lnTo>
                <a:lnTo>
                  <a:pt x="595" y="3568"/>
                </a:lnTo>
                <a:lnTo>
                  <a:pt x="552" y="3548"/>
                </a:lnTo>
                <a:lnTo>
                  <a:pt x="510" y="3527"/>
                </a:lnTo>
                <a:lnTo>
                  <a:pt x="470" y="3503"/>
                </a:lnTo>
                <a:lnTo>
                  <a:pt x="430" y="3478"/>
                </a:lnTo>
                <a:lnTo>
                  <a:pt x="392" y="3451"/>
                </a:lnTo>
                <a:lnTo>
                  <a:pt x="355" y="3422"/>
                </a:lnTo>
                <a:lnTo>
                  <a:pt x="320" y="3391"/>
                </a:lnTo>
                <a:lnTo>
                  <a:pt x="286" y="3358"/>
                </a:lnTo>
                <a:lnTo>
                  <a:pt x="253" y="3324"/>
                </a:lnTo>
                <a:lnTo>
                  <a:pt x="222" y="3289"/>
                </a:lnTo>
                <a:lnTo>
                  <a:pt x="193" y="3252"/>
                </a:lnTo>
                <a:lnTo>
                  <a:pt x="166" y="3214"/>
                </a:lnTo>
                <a:lnTo>
                  <a:pt x="141" y="3174"/>
                </a:lnTo>
                <a:lnTo>
                  <a:pt x="117" y="3134"/>
                </a:lnTo>
                <a:lnTo>
                  <a:pt x="96" y="3092"/>
                </a:lnTo>
                <a:lnTo>
                  <a:pt x="77" y="3049"/>
                </a:lnTo>
                <a:lnTo>
                  <a:pt x="59" y="3004"/>
                </a:lnTo>
                <a:lnTo>
                  <a:pt x="44" y="2959"/>
                </a:lnTo>
                <a:lnTo>
                  <a:pt x="30" y="2912"/>
                </a:lnTo>
                <a:lnTo>
                  <a:pt x="19" y="2866"/>
                </a:lnTo>
                <a:lnTo>
                  <a:pt x="11" y="2817"/>
                </a:lnTo>
                <a:lnTo>
                  <a:pt x="5" y="2769"/>
                </a:lnTo>
                <a:lnTo>
                  <a:pt x="1" y="2719"/>
                </a:lnTo>
                <a:lnTo>
                  <a:pt x="0" y="2669"/>
                </a:lnTo>
                <a:lnTo>
                  <a:pt x="0" y="2669"/>
                </a:lnTo>
                <a:lnTo>
                  <a:pt x="1" y="2619"/>
                </a:lnTo>
                <a:lnTo>
                  <a:pt x="5" y="2569"/>
                </a:lnTo>
                <a:lnTo>
                  <a:pt x="11" y="2520"/>
                </a:lnTo>
                <a:lnTo>
                  <a:pt x="19" y="2473"/>
                </a:lnTo>
                <a:lnTo>
                  <a:pt x="30" y="2426"/>
                </a:lnTo>
                <a:lnTo>
                  <a:pt x="44" y="2379"/>
                </a:lnTo>
                <a:lnTo>
                  <a:pt x="59" y="2334"/>
                </a:lnTo>
                <a:lnTo>
                  <a:pt x="77" y="2289"/>
                </a:lnTo>
                <a:lnTo>
                  <a:pt x="96" y="2246"/>
                </a:lnTo>
                <a:lnTo>
                  <a:pt x="117" y="2204"/>
                </a:lnTo>
                <a:lnTo>
                  <a:pt x="141" y="2164"/>
                </a:lnTo>
                <a:lnTo>
                  <a:pt x="166" y="2124"/>
                </a:lnTo>
                <a:lnTo>
                  <a:pt x="193" y="2086"/>
                </a:lnTo>
                <a:lnTo>
                  <a:pt x="222" y="2048"/>
                </a:lnTo>
                <a:lnTo>
                  <a:pt x="253" y="2013"/>
                </a:lnTo>
                <a:lnTo>
                  <a:pt x="286" y="1980"/>
                </a:lnTo>
                <a:lnTo>
                  <a:pt x="320" y="1947"/>
                </a:lnTo>
                <a:lnTo>
                  <a:pt x="355" y="1916"/>
                </a:lnTo>
                <a:lnTo>
                  <a:pt x="392" y="1887"/>
                </a:lnTo>
                <a:lnTo>
                  <a:pt x="430" y="1860"/>
                </a:lnTo>
                <a:lnTo>
                  <a:pt x="470" y="1835"/>
                </a:lnTo>
                <a:lnTo>
                  <a:pt x="510" y="1811"/>
                </a:lnTo>
                <a:lnTo>
                  <a:pt x="552" y="1790"/>
                </a:lnTo>
                <a:lnTo>
                  <a:pt x="595" y="1771"/>
                </a:lnTo>
                <a:lnTo>
                  <a:pt x="640" y="1753"/>
                </a:lnTo>
                <a:lnTo>
                  <a:pt x="685" y="1738"/>
                </a:lnTo>
                <a:lnTo>
                  <a:pt x="732" y="1724"/>
                </a:lnTo>
                <a:lnTo>
                  <a:pt x="779" y="1713"/>
                </a:lnTo>
                <a:lnTo>
                  <a:pt x="827" y="1705"/>
                </a:lnTo>
                <a:lnTo>
                  <a:pt x="875" y="1698"/>
                </a:lnTo>
                <a:lnTo>
                  <a:pt x="925" y="1695"/>
                </a:lnTo>
                <a:lnTo>
                  <a:pt x="976" y="1694"/>
                </a:lnTo>
                <a:lnTo>
                  <a:pt x="976" y="1694"/>
                </a:lnTo>
                <a:lnTo>
                  <a:pt x="1021" y="1695"/>
                </a:lnTo>
                <a:lnTo>
                  <a:pt x="1066" y="1698"/>
                </a:lnTo>
                <a:lnTo>
                  <a:pt x="1111" y="1705"/>
                </a:lnTo>
                <a:lnTo>
                  <a:pt x="1155" y="1712"/>
                </a:lnTo>
                <a:lnTo>
                  <a:pt x="1155" y="1712"/>
                </a:lnTo>
                <a:lnTo>
                  <a:pt x="1169" y="1687"/>
                </a:lnTo>
                <a:lnTo>
                  <a:pt x="1183" y="1662"/>
                </a:lnTo>
                <a:lnTo>
                  <a:pt x="1199" y="1637"/>
                </a:lnTo>
                <a:lnTo>
                  <a:pt x="1216" y="1614"/>
                </a:lnTo>
                <a:lnTo>
                  <a:pt x="1233" y="1591"/>
                </a:lnTo>
                <a:lnTo>
                  <a:pt x="1251" y="1568"/>
                </a:lnTo>
                <a:lnTo>
                  <a:pt x="1270" y="1547"/>
                </a:lnTo>
                <a:lnTo>
                  <a:pt x="1290" y="1526"/>
                </a:lnTo>
                <a:lnTo>
                  <a:pt x="1309" y="1504"/>
                </a:lnTo>
                <a:lnTo>
                  <a:pt x="1330" y="1485"/>
                </a:lnTo>
                <a:lnTo>
                  <a:pt x="1352" y="1466"/>
                </a:lnTo>
                <a:lnTo>
                  <a:pt x="1373" y="1447"/>
                </a:lnTo>
                <a:lnTo>
                  <a:pt x="1396" y="1428"/>
                </a:lnTo>
                <a:lnTo>
                  <a:pt x="1418" y="1412"/>
                </a:lnTo>
                <a:lnTo>
                  <a:pt x="1442" y="1396"/>
                </a:lnTo>
                <a:lnTo>
                  <a:pt x="1467" y="1380"/>
                </a:lnTo>
                <a:lnTo>
                  <a:pt x="1492" y="1365"/>
                </a:lnTo>
                <a:lnTo>
                  <a:pt x="1517" y="1352"/>
                </a:lnTo>
                <a:lnTo>
                  <a:pt x="1543" y="1338"/>
                </a:lnTo>
                <a:lnTo>
                  <a:pt x="1568" y="1326"/>
                </a:lnTo>
                <a:lnTo>
                  <a:pt x="1596" y="1314"/>
                </a:lnTo>
                <a:lnTo>
                  <a:pt x="1623" y="1304"/>
                </a:lnTo>
                <a:lnTo>
                  <a:pt x="1651" y="1294"/>
                </a:lnTo>
                <a:lnTo>
                  <a:pt x="1679" y="1286"/>
                </a:lnTo>
                <a:lnTo>
                  <a:pt x="1707" y="1278"/>
                </a:lnTo>
                <a:lnTo>
                  <a:pt x="1736" y="1272"/>
                </a:lnTo>
                <a:lnTo>
                  <a:pt x="1765" y="1266"/>
                </a:lnTo>
                <a:lnTo>
                  <a:pt x="1795" y="1260"/>
                </a:lnTo>
                <a:lnTo>
                  <a:pt x="1825" y="1257"/>
                </a:lnTo>
                <a:lnTo>
                  <a:pt x="1855" y="1255"/>
                </a:lnTo>
                <a:lnTo>
                  <a:pt x="1886" y="1252"/>
                </a:lnTo>
                <a:lnTo>
                  <a:pt x="1917" y="1252"/>
                </a:lnTo>
                <a:lnTo>
                  <a:pt x="1917" y="1252"/>
                </a:lnTo>
                <a:lnTo>
                  <a:pt x="1943" y="1252"/>
                </a:lnTo>
                <a:lnTo>
                  <a:pt x="1969" y="1253"/>
                </a:lnTo>
                <a:lnTo>
                  <a:pt x="1995" y="1256"/>
                </a:lnTo>
                <a:lnTo>
                  <a:pt x="2021" y="1259"/>
                </a:lnTo>
                <a:lnTo>
                  <a:pt x="2046" y="1262"/>
                </a:lnTo>
                <a:lnTo>
                  <a:pt x="2072" y="1267"/>
                </a:lnTo>
                <a:lnTo>
                  <a:pt x="2097" y="1273"/>
                </a:lnTo>
                <a:lnTo>
                  <a:pt x="2121" y="1278"/>
                </a:lnTo>
                <a:lnTo>
                  <a:pt x="2145" y="1285"/>
                </a:lnTo>
                <a:lnTo>
                  <a:pt x="2169" y="1292"/>
                </a:lnTo>
                <a:lnTo>
                  <a:pt x="2193" y="1300"/>
                </a:lnTo>
                <a:lnTo>
                  <a:pt x="2217" y="1309"/>
                </a:lnTo>
                <a:lnTo>
                  <a:pt x="2263" y="1327"/>
                </a:lnTo>
                <a:lnTo>
                  <a:pt x="2307" y="1348"/>
                </a:lnTo>
                <a:lnTo>
                  <a:pt x="2307" y="1348"/>
                </a:lnTo>
                <a:lnTo>
                  <a:pt x="2300" y="1302"/>
                </a:lnTo>
                <a:lnTo>
                  <a:pt x="2295" y="1256"/>
                </a:lnTo>
                <a:lnTo>
                  <a:pt x="2290" y="1209"/>
                </a:lnTo>
                <a:lnTo>
                  <a:pt x="2289" y="1186"/>
                </a:lnTo>
                <a:lnTo>
                  <a:pt x="2289" y="1161"/>
                </a:lnTo>
                <a:lnTo>
                  <a:pt x="2289" y="1161"/>
                </a:lnTo>
                <a:lnTo>
                  <a:pt x="2289" y="1131"/>
                </a:lnTo>
                <a:lnTo>
                  <a:pt x="2290" y="1102"/>
                </a:lnTo>
                <a:lnTo>
                  <a:pt x="2292" y="1072"/>
                </a:lnTo>
                <a:lnTo>
                  <a:pt x="2295" y="1042"/>
                </a:lnTo>
                <a:lnTo>
                  <a:pt x="2298" y="1013"/>
                </a:lnTo>
                <a:lnTo>
                  <a:pt x="2302" y="985"/>
                </a:lnTo>
                <a:lnTo>
                  <a:pt x="2307" y="955"/>
                </a:lnTo>
                <a:lnTo>
                  <a:pt x="2313" y="927"/>
                </a:lnTo>
                <a:lnTo>
                  <a:pt x="2318" y="899"/>
                </a:lnTo>
                <a:lnTo>
                  <a:pt x="2325" y="871"/>
                </a:lnTo>
                <a:lnTo>
                  <a:pt x="2333" y="844"/>
                </a:lnTo>
                <a:lnTo>
                  <a:pt x="2341" y="816"/>
                </a:lnTo>
                <a:lnTo>
                  <a:pt x="2350" y="789"/>
                </a:lnTo>
                <a:lnTo>
                  <a:pt x="2359" y="762"/>
                </a:lnTo>
                <a:lnTo>
                  <a:pt x="2369" y="735"/>
                </a:lnTo>
                <a:lnTo>
                  <a:pt x="2380" y="709"/>
                </a:lnTo>
                <a:lnTo>
                  <a:pt x="2392" y="683"/>
                </a:lnTo>
                <a:lnTo>
                  <a:pt x="2403" y="658"/>
                </a:lnTo>
                <a:lnTo>
                  <a:pt x="2417" y="632"/>
                </a:lnTo>
                <a:lnTo>
                  <a:pt x="2429" y="608"/>
                </a:lnTo>
                <a:lnTo>
                  <a:pt x="2442" y="584"/>
                </a:lnTo>
                <a:lnTo>
                  <a:pt x="2457" y="559"/>
                </a:lnTo>
                <a:lnTo>
                  <a:pt x="2488" y="512"/>
                </a:lnTo>
                <a:lnTo>
                  <a:pt x="2519" y="466"/>
                </a:lnTo>
                <a:lnTo>
                  <a:pt x="2554" y="422"/>
                </a:lnTo>
                <a:lnTo>
                  <a:pt x="2590" y="381"/>
                </a:lnTo>
                <a:lnTo>
                  <a:pt x="2629" y="340"/>
                </a:lnTo>
                <a:lnTo>
                  <a:pt x="2669" y="302"/>
                </a:lnTo>
                <a:lnTo>
                  <a:pt x="2711" y="265"/>
                </a:lnTo>
                <a:lnTo>
                  <a:pt x="2755" y="230"/>
                </a:lnTo>
                <a:lnTo>
                  <a:pt x="2800" y="199"/>
                </a:lnTo>
                <a:lnTo>
                  <a:pt x="2848" y="168"/>
                </a:lnTo>
                <a:lnTo>
                  <a:pt x="2873" y="154"/>
                </a:lnTo>
                <a:lnTo>
                  <a:pt x="2896" y="140"/>
                </a:lnTo>
                <a:lnTo>
                  <a:pt x="2921" y="126"/>
                </a:lnTo>
                <a:lnTo>
                  <a:pt x="2947" y="114"/>
                </a:lnTo>
                <a:lnTo>
                  <a:pt x="2972" y="103"/>
                </a:lnTo>
                <a:lnTo>
                  <a:pt x="2998" y="91"/>
                </a:lnTo>
                <a:lnTo>
                  <a:pt x="3024" y="80"/>
                </a:lnTo>
                <a:lnTo>
                  <a:pt x="3051" y="70"/>
                </a:lnTo>
                <a:lnTo>
                  <a:pt x="3078" y="61"/>
                </a:lnTo>
                <a:lnTo>
                  <a:pt x="3105" y="52"/>
                </a:lnTo>
                <a:lnTo>
                  <a:pt x="3132" y="44"/>
                </a:lnTo>
                <a:lnTo>
                  <a:pt x="3160" y="36"/>
                </a:lnTo>
                <a:lnTo>
                  <a:pt x="3188" y="29"/>
                </a:lnTo>
                <a:lnTo>
                  <a:pt x="3216" y="24"/>
                </a:lnTo>
                <a:lnTo>
                  <a:pt x="3244" y="18"/>
                </a:lnTo>
                <a:lnTo>
                  <a:pt x="3274" y="14"/>
                </a:lnTo>
                <a:lnTo>
                  <a:pt x="3303" y="9"/>
                </a:lnTo>
                <a:lnTo>
                  <a:pt x="3331" y="6"/>
                </a:lnTo>
                <a:lnTo>
                  <a:pt x="3361" y="3"/>
                </a:lnTo>
                <a:lnTo>
                  <a:pt x="3391" y="1"/>
                </a:lnTo>
                <a:lnTo>
                  <a:pt x="3420" y="0"/>
                </a:lnTo>
                <a:lnTo>
                  <a:pt x="3451" y="0"/>
                </a:lnTo>
                <a:lnTo>
                  <a:pt x="3451" y="0"/>
                </a:lnTo>
                <a:lnTo>
                  <a:pt x="3501" y="1"/>
                </a:lnTo>
                <a:lnTo>
                  <a:pt x="3549" y="5"/>
                </a:lnTo>
                <a:lnTo>
                  <a:pt x="3598" y="9"/>
                </a:lnTo>
                <a:lnTo>
                  <a:pt x="3646" y="17"/>
                </a:lnTo>
                <a:lnTo>
                  <a:pt x="3694" y="26"/>
                </a:lnTo>
                <a:lnTo>
                  <a:pt x="3740" y="36"/>
                </a:lnTo>
                <a:lnTo>
                  <a:pt x="3785" y="50"/>
                </a:lnTo>
                <a:lnTo>
                  <a:pt x="3830" y="64"/>
                </a:lnTo>
                <a:lnTo>
                  <a:pt x="3874" y="80"/>
                </a:lnTo>
                <a:lnTo>
                  <a:pt x="3918" y="98"/>
                </a:lnTo>
                <a:lnTo>
                  <a:pt x="3960" y="119"/>
                </a:lnTo>
                <a:lnTo>
                  <a:pt x="4002" y="140"/>
                </a:lnTo>
                <a:lnTo>
                  <a:pt x="4043" y="164"/>
                </a:lnTo>
                <a:lnTo>
                  <a:pt x="4081" y="189"/>
                </a:lnTo>
                <a:lnTo>
                  <a:pt x="4119" y="215"/>
                </a:lnTo>
                <a:lnTo>
                  <a:pt x="4157" y="242"/>
                </a:lnTo>
                <a:lnTo>
                  <a:pt x="4193" y="271"/>
                </a:lnTo>
                <a:lnTo>
                  <a:pt x="4228" y="302"/>
                </a:lnTo>
                <a:lnTo>
                  <a:pt x="4261" y="334"/>
                </a:lnTo>
                <a:lnTo>
                  <a:pt x="4293" y="367"/>
                </a:lnTo>
                <a:lnTo>
                  <a:pt x="4324" y="402"/>
                </a:lnTo>
                <a:lnTo>
                  <a:pt x="4353" y="437"/>
                </a:lnTo>
                <a:lnTo>
                  <a:pt x="4381" y="474"/>
                </a:lnTo>
                <a:lnTo>
                  <a:pt x="4408" y="513"/>
                </a:lnTo>
                <a:lnTo>
                  <a:pt x="4433" y="551"/>
                </a:lnTo>
                <a:lnTo>
                  <a:pt x="4457" y="592"/>
                </a:lnTo>
                <a:lnTo>
                  <a:pt x="4480" y="632"/>
                </a:lnTo>
                <a:lnTo>
                  <a:pt x="4500" y="675"/>
                </a:lnTo>
                <a:lnTo>
                  <a:pt x="4519" y="718"/>
                </a:lnTo>
                <a:lnTo>
                  <a:pt x="4536" y="762"/>
                </a:lnTo>
                <a:lnTo>
                  <a:pt x="4552" y="806"/>
                </a:lnTo>
                <a:lnTo>
                  <a:pt x="4565" y="853"/>
                </a:lnTo>
                <a:lnTo>
                  <a:pt x="4565" y="853"/>
                </a:lnTo>
                <a:lnTo>
                  <a:pt x="4607" y="841"/>
                </a:lnTo>
                <a:lnTo>
                  <a:pt x="4650" y="832"/>
                </a:lnTo>
                <a:lnTo>
                  <a:pt x="4693" y="824"/>
                </a:lnTo>
                <a:lnTo>
                  <a:pt x="4737" y="816"/>
                </a:lnTo>
                <a:lnTo>
                  <a:pt x="4781" y="811"/>
                </a:lnTo>
                <a:lnTo>
                  <a:pt x="4825" y="806"/>
                </a:lnTo>
                <a:lnTo>
                  <a:pt x="4870" y="804"/>
                </a:lnTo>
                <a:lnTo>
                  <a:pt x="4915" y="803"/>
                </a:lnTo>
                <a:lnTo>
                  <a:pt x="4915" y="803"/>
                </a:lnTo>
                <a:lnTo>
                  <a:pt x="4953" y="804"/>
                </a:lnTo>
                <a:lnTo>
                  <a:pt x="4989" y="805"/>
                </a:lnTo>
                <a:lnTo>
                  <a:pt x="5025" y="807"/>
                </a:lnTo>
                <a:lnTo>
                  <a:pt x="5061" y="811"/>
                </a:lnTo>
                <a:lnTo>
                  <a:pt x="5097" y="814"/>
                </a:lnTo>
                <a:lnTo>
                  <a:pt x="5132" y="820"/>
                </a:lnTo>
                <a:lnTo>
                  <a:pt x="5167" y="825"/>
                </a:lnTo>
                <a:lnTo>
                  <a:pt x="5202" y="832"/>
                </a:lnTo>
                <a:lnTo>
                  <a:pt x="5237" y="840"/>
                </a:lnTo>
                <a:lnTo>
                  <a:pt x="5271" y="848"/>
                </a:lnTo>
                <a:lnTo>
                  <a:pt x="5305" y="857"/>
                </a:lnTo>
                <a:lnTo>
                  <a:pt x="5339" y="867"/>
                </a:lnTo>
                <a:lnTo>
                  <a:pt x="5372" y="877"/>
                </a:lnTo>
                <a:lnTo>
                  <a:pt x="5404" y="890"/>
                </a:lnTo>
                <a:lnTo>
                  <a:pt x="5437" y="902"/>
                </a:lnTo>
                <a:lnTo>
                  <a:pt x="5469" y="915"/>
                </a:lnTo>
                <a:lnTo>
                  <a:pt x="5500" y="928"/>
                </a:lnTo>
                <a:lnTo>
                  <a:pt x="5532" y="943"/>
                </a:lnTo>
                <a:lnTo>
                  <a:pt x="5562" y="959"/>
                </a:lnTo>
                <a:lnTo>
                  <a:pt x="5593" y="975"/>
                </a:lnTo>
                <a:lnTo>
                  <a:pt x="5623" y="991"/>
                </a:lnTo>
                <a:lnTo>
                  <a:pt x="5653" y="1010"/>
                </a:lnTo>
                <a:lnTo>
                  <a:pt x="5681" y="1028"/>
                </a:lnTo>
                <a:lnTo>
                  <a:pt x="5710" y="1046"/>
                </a:lnTo>
                <a:lnTo>
                  <a:pt x="5739" y="1065"/>
                </a:lnTo>
                <a:lnTo>
                  <a:pt x="5766" y="1085"/>
                </a:lnTo>
                <a:lnTo>
                  <a:pt x="5793" y="1107"/>
                </a:lnTo>
                <a:lnTo>
                  <a:pt x="5820" y="1128"/>
                </a:lnTo>
                <a:lnTo>
                  <a:pt x="5846" y="1150"/>
                </a:lnTo>
                <a:lnTo>
                  <a:pt x="5871" y="1172"/>
                </a:lnTo>
                <a:lnTo>
                  <a:pt x="5896" y="1196"/>
                </a:lnTo>
                <a:lnTo>
                  <a:pt x="5920" y="1220"/>
                </a:lnTo>
                <a:lnTo>
                  <a:pt x="5944" y="1244"/>
                </a:lnTo>
                <a:lnTo>
                  <a:pt x="5968" y="1269"/>
                </a:lnTo>
                <a:lnTo>
                  <a:pt x="5990" y="1294"/>
                </a:lnTo>
                <a:lnTo>
                  <a:pt x="6012" y="1320"/>
                </a:lnTo>
                <a:lnTo>
                  <a:pt x="6033" y="1347"/>
                </a:lnTo>
                <a:lnTo>
                  <a:pt x="6055" y="1374"/>
                </a:lnTo>
                <a:lnTo>
                  <a:pt x="6074" y="1401"/>
                </a:lnTo>
                <a:lnTo>
                  <a:pt x="6094" y="1430"/>
                </a:lnTo>
                <a:lnTo>
                  <a:pt x="6112" y="1458"/>
                </a:lnTo>
                <a:lnTo>
                  <a:pt x="6130" y="1487"/>
                </a:lnTo>
                <a:lnTo>
                  <a:pt x="6149" y="1517"/>
                </a:lnTo>
                <a:lnTo>
                  <a:pt x="6165" y="1547"/>
                </a:lnTo>
                <a:lnTo>
                  <a:pt x="6181" y="1578"/>
                </a:lnTo>
                <a:lnTo>
                  <a:pt x="6196" y="1608"/>
                </a:lnTo>
                <a:lnTo>
                  <a:pt x="6211" y="1640"/>
                </a:lnTo>
                <a:lnTo>
                  <a:pt x="6225" y="1671"/>
                </a:lnTo>
                <a:lnTo>
                  <a:pt x="6238" y="1703"/>
                </a:lnTo>
                <a:lnTo>
                  <a:pt x="6250" y="1736"/>
                </a:lnTo>
                <a:lnTo>
                  <a:pt x="6261" y="1768"/>
                </a:lnTo>
                <a:lnTo>
                  <a:pt x="6273" y="1802"/>
                </a:lnTo>
                <a:lnTo>
                  <a:pt x="6283" y="1835"/>
                </a:lnTo>
                <a:lnTo>
                  <a:pt x="6292" y="1869"/>
                </a:lnTo>
                <a:lnTo>
                  <a:pt x="6300" y="1904"/>
                </a:lnTo>
                <a:lnTo>
                  <a:pt x="6308" y="1938"/>
                </a:lnTo>
                <a:lnTo>
                  <a:pt x="6315" y="1973"/>
                </a:lnTo>
                <a:lnTo>
                  <a:pt x="6320" y="2008"/>
                </a:lnTo>
                <a:lnTo>
                  <a:pt x="6325" y="2043"/>
                </a:lnTo>
                <a:lnTo>
                  <a:pt x="6329" y="2079"/>
                </a:lnTo>
                <a:lnTo>
                  <a:pt x="6333" y="2115"/>
                </a:lnTo>
                <a:lnTo>
                  <a:pt x="6335" y="2151"/>
                </a:lnTo>
                <a:lnTo>
                  <a:pt x="6336" y="2187"/>
                </a:lnTo>
                <a:lnTo>
                  <a:pt x="6336" y="2225"/>
                </a:lnTo>
                <a:close/>
              </a:path>
            </a:pathLst>
          </a:custGeom>
          <a:noFill/>
          <a:ln w="28575">
            <a:solidFill>
              <a:schemeClr val="accent1"/>
            </a:solid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
        <p:nvSpPr>
          <p:cNvPr id="320" name="Freeform 17">
            <a:extLst>
              <a:ext uri="{FF2B5EF4-FFF2-40B4-BE49-F238E27FC236}">
                <a16:creationId xmlns:a16="http://schemas.microsoft.com/office/drawing/2014/main" id="{A0D5654E-7E2A-4863-9790-35DD9816EAE7}"/>
              </a:ext>
            </a:extLst>
          </p:cNvPr>
          <p:cNvSpPr>
            <a:spLocks noChangeAspect="1"/>
          </p:cNvSpPr>
          <p:nvPr/>
        </p:nvSpPr>
        <p:spPr bwMode="auto">
          <a:xfrm>
            <a:off x="10349611" y="4875148"/>
            <a:ext cx="1027011" cy="590661"/>
          </a:xfrm>
          <a:custGeom>
            <a:avLst/>
            <a:gdLst>
              <a:gd name="T0" fmla="*/ 6330 w 6336"/>
              <a:gd name="T1" fmla="*/ 2358 h 3644"/>
              <a:gd name="T2" fmla="*/ 6299 w 6336"/>
              <a:gd name="T3" fmla="*/ 2553 h 3644"/>
              <a:gd name="T4" fmla="*/ 6241 w 6336"/>
              <a:gd name="T5" fmla="*/ 2738 h 3644"/>
              <a:gd name="T6" fmla="*/ 6160 w 6336"/>
              <a:gd name="T7" fmla="*/ 2912 h 3644"/>
              <a:gd name="T8" fmla="*/ 6058 w 6336"/>
              <a:gd name="T9" fmla="*/ 3073 h 3644"/>
              <a:gd name="T10" fmla="*/ 5936 w 6336"/>
              <a:gd name="T11" fmla="*/ 3218 h 3644"/>
              <a:gd name="T12" fmla="*/ 5796 w 6336"/>
              <a:gd name="T13" fmla="*/ 3346 h 3644"/>
              <a:gd name="T14" fmla="*/ 5640 w 6336"/>
              <a:gd name="T15" fmla="*/ 3454 h 3644"/>
              <a:gd name="T16" fmla="*/ 5471 w 6336"/>
              <a:gd name="T17" fmla="*/ 3542 h 3644"/>
              <a:gd name="T18" fmla="*/ 5289 w 6336"/>
              <a:gd name="T19" fmla="*/ 3606 h 3644"/>
              <a:gd name="T20" fmla="*/ 5097 w 6336"/>
              <a:gd name="T21" fmla="*/ 3644 h 3644"/>
              <a:gd name="T22" fmla="*/ 827 w 6336"/>
              <a:gd name="T23" fmla="*/ 3634 h 3644"/>
              <a:gd name="T24" fmla="*/ 552 w 6336"/>
              <a:gd name="T25" fmla="*/ 3548 h 3644"/>
              <a:gd name="T26" fmla="*/ 320 w 6336"/>
              <a:gd name="T27" fmla="*/ 3391 h 3644"/>
              <a:gd name="T28" fmla="*/ 141 w 6336"/>
              <a:gd name="T29" fmla="*/ 3174 h 3644"/>
              <a:gd name="T30" fmla="*/ 30 w 6336"/>
              <a:gd name="T31" fmla="*/ 2912 h 3644"/>
              <a:gd name="T32" fmla="*/ 0 w 6336"/>
              <a:gd name="T33" fmla="*/ 2669 h 3644"/>
              <a:gd name="T34" fmla="*/ 44 w 6336"/>
              <a:gd name="T35" fmla="*/ 2379 h 3644"/>
              <a:gd name="T36" fmla="*/ 166 w 6336"/>
              <a:gd name="T37" fmla="*/ 2124 h 3644"/>
              <a:gd name="T38" fmla="*/ 355 w 6336"/>
              <a:gd name="T39" fmla="*/ 1916 h 3644"/>
              <a:gd name="T40" fmla="*/ 595 w 6336"/>
              <a:gd name="T41" fmla="*/ 1771 h 3644"/>
              <a:gd name="T42" fmla="*/ 875 w 6336"/>
              <a:gd name="T43" fmla="*/ 1698 h 3644"/>
              <a:gd name="T44" fmla="*/ 1111 w 6336"/>
              <a:gd name="T45" fmla="*/ 1705 h 3644"/>
              <a:gd name="T46" fmla="*/ 1216 w 6336"/>
              <a:gd name="T47" fmla="*/ 1614 h 3644"/>
              <a:gd name="T48" fmla="*/ 1330 w 6336"/>
              <a:gd name="T49" fmla="*/ 1485 h 3644"/>
              <a:gd name="T50" fmla="*/ 1467 w 6336"/>
              <a:gd name="T51" fmla="*/ 1380 h 3644"/>
              <a:gd name="T52" fmla="*/ 1623 w 6336"/>
              <a:gd name="T53" fmla="*/ 1304 h 3644"/>
              <a:gd name="T54" fmla="*/ 1795 w 6336"/>
              <a:gd name="T55" fmla="*/ 1260 h 3644"/>
              <a:gd name="T56" fmla="*/ 1943 w 6336"/>
              <a:gd name="T57" fmla="*/ 1252 h 3644"/>
              <a:gd name="T58" fmla="*/ 2097 w 6336"/>
              <a:gd name="T59" fmla="*/ 1273 h 3644"/>
              <a:gd name="T60" fmla="*/ 2263 w 6336"/>
              <a:gd name="T61" fmla="*/ 1327 h 3644"/>
              <a:gd name="T62" fmla="*/ 2289 w 6336"/>
              <a:gd name="T63" fmla="*/ 1186 h 3644"/>
              <a:gd name="T64" fmla="*/ 2295 w 6336"/>
              <a:gd name="T65" fmla="*/ 1042 h 3644"/>
              <a:gd name="T66" fmla="*/ 2325 w 6336"/>
              <a:gd name="T67" fmla="*/ 871 h 3644"/>
              <a:gd name="T68" fmla="*/ 2380 w 6336"/>
              <a:gd name="T69" fmla="*/ 709 h 3644"/>
              <a:gd name="T70" fmla="*/ 2457 w 6336"/>
              <a:gd name="T71" fmla="*/ 559 h 3644"/>
              <a:gd name="T72" fmla="*/ 2669 w 6336"/>
              <a:gd name="T73" fmla="*/ 302 h 3644"/>
              <a:gd name="T74" fmla="*/ 2896 w 6336"/>
              <a:gd name="T75" fmla="*/ 140 h 3644"/>
              <a:gd name="T76" fmla="*/ 3051 w 6336"/>
              <a:gd name="T77" fmla="*/ 70 h 3644"/>
              <a:gd name="T78" fmla="*/ 3216 w 6336"/>
              <a:gd name="T79" fmla="*/ 24 h 3644"/>
              <a:gd name="T80" fmla="*/ 3391 w 6336"/>
              <a:gd name="T81" fmla="*/ 1 h 3644"/>
              <a:gd name="T82" fmla="*/ 3598 w 6336"/>
              <a:gd name="T83" fmla="*/ 9 h 3644"/>
              <a:gd name="T84" fmla="*/ 3874 w 6336"/>
              <a:gd name="T85" fmla="*/ 80 h 3644"/>
              <a:gd name="T86" fmla="*/ 4119 w 6336"/>
              <a:gd name="T87" fmla="*/ 215 h 3644"/>
              <a:gd name="T88" fmla="*/ 4324 w 6336"/>
              <a:gd name="T89" fmla="*/ 402 h 3644"/>
              <a:gd name="T90" fmla="*/ 4480 w 6336"/>
              <a:gd name="T91" fmla="*/ 632 h 3644"/>
              <a:gd name="T92" fmla="*/ 4565 w 6336"/>
              <a:gd name="T93" fmla="*/ 853 h 3644"/>
              <a:gd name="T94" fmla="*/ 4825 w 6336"/>
              <a:gd name="T95" fmla="*/ 806 h 3644"/>
              <a:gd name="T96" fmla="*/ 5025 w 6336"/>
              <a:gd name="T97" fmla="*/ 807 h 3644"/>
              <a:gd name="T98" fmla="*/ 5237 w 6336"/>
              <a:gd name="T99" fmla="*/ 840 h 3644"/>
              <a:gd name="T100" fmla="*/ 5437 w 6336"/>
              <a:gd name="T101" fmla="*/ 902 h 3644"/>
              <a:gd name="T102" fmla="*/ 5623 w 6336"/>
              <a:gd name="T103" fmla="*/ 991 h 3644"/>
              <a:gd name="T104" fmla="*/ 5793 w 6336"/>
              <a:gd name="T105" fmla="*/ 1107 h 3644"/>
              <a:gd name="T106" fmla="*/ 5944 w 6336"/>
              <a:gd name="T107" fmla="*/ 1244 h 3644"/>
              <a:gd name="T108" fmla="*/ 6074 w 6336"/>
              <a:gd name="T109" fmla="*/ 1401 h 3644"/>
              <a:gd name="T110" fmla="*/ 6181 w 6336"/>
              <a:gd name="T111" fmla="*/ 1578 h 3644"/>
              <a:gd name="T112" fmla="*/ 6261 w 6336"/>
              <a:gd name="T113" fmla="*/ 1768 h 3644"/>
              <a:gd name="T114" fmla="*/ 6315 w 6336"/>
              <a:gd name="T115" fmla="*/ 1973 h 3644"/>
              <a:gd name="T116" fmla="*/ 6336 w 6336"/>
              <a:gd name="T117" fmla="*/ 2187 h 3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336" h="3644">
                <a:moveTo>
                  <a:pt x="6336" y="2225"/>
                </a:moveTo>
                <a:lnTo>
                  <a:pt x="6336" y="2225"/>
                </a:lnTo>
                <a:lnTo>
                  <a:pt x="6336" y="2258"/>
                </a:lnTo>
                <a:lnTo>
                  <a:pt x="6335" y="2291"/>
                </a:lnTo>
                <a:lnTo>
                  <a:pt x="6333" y="2325"/>
                </a:lnTo>
                <a:lnTo>
                  <a:pt x="6330" y="2358"/>
                </a:lnTo>
                <a:lnTo>
                  <a:pt x="6327" y="2392"/>
                </a:lnTo>
                <a:lnTo>
                  <a:pt x="6322" y="2424"/>
                </a:lnTo>
                <a:lnTo>
                  <a:pt x="6318" y="2457"/>
                </a:lnTo>
                <a:lnTo>
                  <a:pt x="6312" y="2489"/>
                </a:lnTo>
                <a:lnTo>
                  <a:pt x="6306" y="2522"/>
                </a:lnTo>
                <a:lnTo>
                  <a:pt x="6299" y="2553"/>
                </a:lnTo>
                <a:lnTo>
                  <a:pt x="6291" y="2585"/>
                </a:lnTo>
                <a:lnTo>
                  <a:pt x="6282" y="2616"/>
                </a:lnTo>
                <a:lnTo>
                  <a:pt x="6273" y="2647"/>
                </a:lnTo>
                <a:lnTo>
                  <a:pt x="6263" y="2677"/>
                </a:lnTo>
                <a:lnTo>
                  <a:pt x="6252" y="2708"/>
                </a:lnTo>
                <a:lnTo>
                  <a:pt x="6241" y="2738"/>
                </a:lnTo>
                <a:lnTo>
                  <a:pt x="6229" y="2768"/>
                </a:lnTo>
                <a:lnTo>
                  <a:pt x="6216" y="2797"/>
                </a:lnTo>
                <a:lnTo>
                  <a:pt x="6204" y="2826"/>
                </a:lnTo>
                <a:lnTo>
                  <a:pt x="6189" y="2856"/>
                </a:lnTo>
                <a:lnTo>
                  <a:pt x="6176" y="2884"/>
                </a:lnTo>
                <a:lnTo>
                  <a:pt x="6160" y="2912"/>
                </a:lnTo>
                <a:lnTo>
                  <a:pt x="6144" y="2940"/>
                </a:lnTo>
                <a:lnTo>
                  <a:pt x="6128" y="2968"/>
                </a:lnTo>
                <a:lnTo>
                  <a:pt x="6111" y="2995"/>
                </a:lnTo>
                <a:lnTo>
                  <a:pt x="6094" y="3021"/>
                </a:lnTo>
                <a:lnTo>
                  <a:pt x="6076" y="3047"/>
                </a:lnTo>
                <a:lnTo>
                  <a:pt x="6058" y="3073"/>
                </a:lnTo>
                <a:lnTo>
                  <a:pt x="6039" y="3099"/>
                </a:lnTo>
                <a:lnTo>
                  <a:pt x="6019" y="3123"/>
                </a:lnTo>
                <a:lnTo>
                  <a:pt x="5999" y="3147"/>
                </a:lnTo>
                <a:lnTo>
                  <a:pt x="5978" y="3172"/>
                </a:lnTo>
                <a:lnTo>
                  <a:pt x="5958" y="3195"/>
                </a:lnTo>
                <a:lnTo>
                  <a:pt x="5936" y="3218"/>
                </a:lnTo>
                <a:lnTo>
                  <a:pt x="5914" y="3241"/>
                </a:lnTo>
                <a:lnTo>
                  <a:pt x="5891" y="3262"/>
                </a:lnTo>
                <a:lnTo>
                  <a:pt x="5867" y="3285"/>
                </a:lnTo>
                <a:lnTo>
                  <a:pt x="5845" y="3305"/>
                </a:lnTo>
                <a:lnTo>
                  <a:pt x="5820" y="3326"/>
                </a:lnTo>
                <a:lnTo>
                  <a:pt x="5796" y="3346"/>
                </a:lnTo>
                <a:lnTo>
                  <a:pt x="5771" y="3365"/>
                </a:lnTo>
                <a:lnTo>
                  <a:pt x="5745" y="3384"/>
                </a:lnTo>
                <a:lnTo>
                  <a:pt x="5719" y="3402"/>
                </a:lnTo>
                <a:lnTo>
                  <a:pt x="5693" y="3420"/>
                </a:lnTo>
                <a:lnTo>
                  <a:pt x="5668" y="3438"/>
                </a:lnTo>
                <a:lnTo>
                  <a:pt x="5640" y="3454"/>
                </a:lnTo>
                <a:lnTo>
                  <a:pt x="5613" y="3471"/>
                </a:lnTo>
                <a:lnTo>
                  <a:pt x="5585" y="3486"/>
                </a:lnTo>
                <a:lnTo>
                  <a:pt x="5557" y="3501"/>
                </a:lnTo>
                <a:lnTo>
                  <a:pt x="5529" y="3515"/>
                </a:lnTo>
                <a:lnTo>
                  <a:pt x="5499" y="3529"/>
                </a:lnTo>
                <a:lnTo>
                  <a:pt x="5471" y="3542"/>
                </a:lnTo>
                <a:lnTo>
                  <a:pt x="5441" y="3555"/>
                </a:lnTo>
                <a:lnTo>
                  <a:pt x="5411" y="3566"/>
                </a:lnTo>
                <a:lnTo>
                  <a:pt x="5381" y="3577"/>
                </a:lnTo>
                <a:lnTo>
                  <a:pt x="5350" y="3588"/>
                </a:lnTo>
                <a:lnTo>
                  <a:pt x="5320" y="3597"/>
                </a:lnTo>
                <a:lnTo>
                  <a:pt x="5289" y="3606"/>
                </a:lnTo>
                <a:lnTo>
                  <a:pt x="5258" y="3615"/>
                </a:lnTo>
                <a:lnTo>
                  <a:pt x="5226" y="3621"/>
                </a:lnTo>
                <a:lnTo>
                  <a:pt x="5194" y="3628"/>
                </a:lnTo>
                <a:lnTo>
                  <a:pt x="5162" y="3635"/>
                </a:lnTo>
                <a:lnTo>
                  <a:pt x="5130" y="3639"/>
                </a:lnTo>
                <a:lnTo>
                  <a:pt x="5097" y="3644"/>
                </a:lnTo>
                <a:lnTo>
                  <a:pt x="1082" y="3644"/>
                </a:lnTo>
                <a:lnTo>
                  <a:pt x="976" y="3644"/>
                </a:lnTo>
                <a:lnTo>
                  <a:pt x="976" y="3644"/>
                </a:lnTo>
                <a:lnTo>
                  <a:pt x="925" y="3643"/>
                </a:lnTo>
                <a:lnTo>
                  <a:pt x="875" y="3639"/>
                </a:lnTo>
                <a:lnTo>
                  <a:pt x="827" y="3634"/>
                </a:lnTo>
                <a:lnTo>
                  <a:pt x="779" y="3625"/>
                </a:lnTo>
                <a:lnTo>
                  <a:pt x="732" y="3614"/>
                </a:lnTo>
                <a:lnTo>
                  <a:pt x="685" y="3601"/>
                </a:lnTo>
                <a:lnTo>
                  <a:pt x="640" y="3585"/>
                </a:lnTo>
                <a:lnTo>
                  <a:pt x="595" y="3568"/>
                </a:lnTo>
                <a:lnTo>
                  <a:pt x="552" y="3548"/>
                </a:lnTo>
                <a:lnTo>
                  <a:pt x="510" y="3527"/>
                </a:lnTo>
                <a:lnTo>
                  <a:pt x="470" y="3503"/>
                </a:lnTo>
                <a:lnTo>
                  <a:pt x="430" y="3478"/>
                </a:lnTo>
                <a:lnTo>
                  <a:pt x="392" y="3451"/>
                </a:lnTo>
                <a:lnTo>
                  <a:pt x="355" y="3422"/>
                </a:lnTo>
                <a:lnTo>
                  <a:pt x="320" y="3391"/>
                </a:lnTo>
                <a:lnTo>
                  <a:pt x="286" y="3358"/>
                </a:lnTo>
                <a:lnTo>
                  <a:pt x="253" y="3324"/>
                </a:lnTo>
                <a:lnTo>
                  <a:pt x="222" y="3289"/>
                </a:lnTo>
                <a:lnTo>
                  <a:pt x="193" y="3252"/>
                </a:lnTo>
                <a:lnTo>
                  <a:pt x="166" y="3214"/>
                </a:lnTo>
                <a:lnTo>
                  <a:pt x="141" y="3174"/>
                </a:lnTo>
                <a:lnTo>
                  <a:pt x="117" y="3134"/>
                </a:lnTo>
                <a:lnTo>
                  <a:pt x="96" y="3092"/>
                </a:lnTo>
                <a:lnTo>
                  <a:pt x="77" y="3049"/>
                </a:lnTo>
                <a:lnTo>
                  <a:pt x="59" y="3004"/>
                </a:lnTo>
                <a:lnTo>
                  <a:pt x="44" y="2959"/>
                </a:lnTo>
                <a:lnTo>
                  <a:pt x="30" y="2912"/>
                </a:lnTo>
                <a:lnTo>
                  <a:pt x="19" y="2866"/>
                </a:lnTo>
                <a:lnTo>
                  <a:pt x="11" y="2817"/>
                </a:lnTo>
                <a:lnTo>
                  <a:pt x="5" y="2769"/>
                </a:lnTo>
                <a:lnTo>
                  <a:pt x="1" y="2719"/>
                </a:lnTo>
                <a:lnTo>
                  <a:pt x="0" y="2669"/>
                </a:lnTo>
                <a:lnTo>
                  <a:pt x="0" y="2669"/>
                </a:lnTo>
                <a:lnTo>
                  <a:pt x="1" y="2619"/>
                </a:lnTo>
                <a:lnTo>
                  <a:pt x="5" y="2569"/>
                </a:lnTo>
                <a:lnTo>
                  <a:pt x="11" y="2520"/>
                </a:lnTo>
                <a:lnTo>
                  <a:pt x="19" y="2473"/>
                </a:lnTo>
                <a:lnTo>
                  <a:pt x="30" y="2426"/>
                </a:lnTo>
                <a:lnTo>
                  <a:pt x="44" y="2379"/>
                </a:lnTo>
                <a:lnTo>
                  <a:pt x="59" y="2334"/>
                </a:lnTo>
                <a:lnTo>
                  <a:pt x="77" y="2289"/>
                </a:lnTo>
                <a:lnTo>
                  <a:pt x="96" y="2246"/>
                </a:lnTo>
                <a:lnTo>
                  <a:pt x="117" y="2204"/>
                </a:lnTo>
                <a:lnTo>
                  <a:pt x="141" y="2164"/>
                </a:lnTo>
                <a:lnTo>
                  <a:pt x="166" y="2124"/>
                </a:lnTo>
                <a:lnTo>
                  <a:pt x="193" y="2086"/>
                </a:lnTo>
                <a:lnTo>
                  <a:pt x="222" y="2048"/>
                </a:lnTo>
                <a:lnTo>
                  <a:pt x="253" y="2013"/>
                </a:lnTo>
                <a:lnTo>
                  <a:pt x="286" y="1980"/>
                </a:lnTo>
                <a:lnTo>
                  <a:pt x="320" y="1947"/>
                </a:lnTo>
                <a:lnTo>
                  <a:pt x="355" y="1916"/>
                </a:lnTo>
                <a:lnTo>
                  <a:pt x="392" y="1887"/>
                </a:lnTo>
                <a:lnTo>
                  <a:pt x="430" y="1860"/>
                </a:lnTo>
                <a:lnTo>
                  <a:pt x="470" y="1835"/>
                </a:lnTo>
                <a:lnTo>
                  <a:pt x="510" y="1811"/>
                </a:lnTo>
                <a:lnTo>
                  <a:pt x="552" y="1790"/>
                </a:lnTo>
                <a:lnTo>
                  <a:pt x="595" y="1771"/>
                </a:lnTo>
                <a:lnTo>
                  <a:pt x="640" y="1753"/>
                </a:lnTo>
                <a:lnTo>
                  <a:pt x="685" y="1738"/>
                </a:lnTo>
                <a:lnTo>
                  <a:pt x="732" y="1724"/>
                </a:lnTo>
                <a:lnTo>
                  <a:pt x="779" y="1713"/>
                </a:lnTo>
                <a:lnTo>
                  <a:pt x="827" y="1705"/>
                </a:lnTo>
                <a:lnTo>
                  <a:pt x="875" y="1698"/>
                </a:lnTo>
                <a:lnTo>
                  <a:pt x="925" y="1695"/>
                </a:lnTo>
                <a:lnTo>
                  <a:pt x="976" y="1694"/>
                </a:lnTo>
                <a:lnTo>
                  <a:pt x="976" y="1694"/>
                </a:lnTo>
                <a:lnTo>
                  <a:pt x="1021" y="1695"/>
                </a:lnTo>
                <a:lnTo>
                  <a:pt x="1066" y="1698"/>
                </a:lnTo>
                <a:lnTo>
                  <a:pt x="1111" y="1705"/>
                </a:lnTo>
                <a:lnTo>
                  <a:pt x="1155" y="1712"/>
                </a:lnTo>
                <a:lnTo>
                  <a:pt x="1155" y="1712"/>
                </a:lnTo>
                <a:lnTo>
                  <a:pt x="1169" y="1687"/>
                </a:lnTo>
                <a:lnTo>
                  <a:pt x="1183" y="1662"/>
                </a:lnTo>
                <a:lnTo>
                  <a:pt x="1199" y="1637"/>
                </a:lnTo>
                <a:lnTo>
                  <a:pt x="1216" y="1614"/>
                </a:lnTo>
                <a:lnTo>
                  <a:pt x="1233" y="1591"/>
                </a:lnTo>
                <a:lnTo>
                  <a:pt x="1251" y="1568"/>
                </a:lnTo>
                <a:lnTo>
                  <a:pt x="1270" y="1547"/>
                </a:lnTo>
                <a:lnTo>
                  <a:pt x="1290" y="1526"/>
                </a:lnTo>
                <a:lnTo>
                  <a:pt x="1309" y="1504"/>
                </a:lnTo>
                <a:lnTo>
                  <a:pt x="1330" y="1485"/>
                </a:lnTo>
                <a:lnTo>
                  <a:pt x="1352" y="1466"/>
                </a:lnTo>
                <a:lnTo>
                  <a:pt x="1373" y="1447"/>
                </a:lnTo>
                <a:lnTo>
                  <a:pt x="1396" y="1428"/>
                </a:lnTo>
                <a:lnTo>
                  <a:pt x="1418" y="1412"/>
                </a:lnTo>
                <a:lnTo>
                  <a:pt x="1442" y="1396"/>
                </a:lnTo>
                <a:lnTo>
                  <a:pt x="1467" y="1380"/>
                </a:lnTo>
                <a:lnTo>
                  <a:pt x="1492" y="1365"/>
                </a:lnTo>
                <a:lnTo>
                  <a:pt x="1517" y="1352"/>
                </a:lnTo>
                <a:lnTo>
                  <a:pt x="1543" y="1338"/>
                </a:lnTo>
                <a:lnTo>
                  <a:pt x="1568" y="1326"/>
                </a:lnTo>
                <a:lnTo>
                  <a:pt x="1596" y="1314"/>
                </a:lnTo>
                <a:lnTo>
                  <a:pt x="1623" y="1304"/>
                </a:lnTo>
                <a:lnTo>
                  <a:pt x="1651" y="1294"/>
                </a:lnTo>
                <a:lnTo>
                  <a:pt x="1679" y="1286"/>
                </a:lnTo>
                <a:lnTo>
                  <a:pt x="1707" y="1278"/>
                </a:lnTo>
                <a:lnTo>
                  <a:pt x="1736" y="1272"/>
                </a:lnTo>
                <a:lnTo>
                  <a:pt x="1765" y="1266"/>
                </a:lnTo>
                <a:lnTo>
                  <a:pt x="1795" y="1260"/>
                </a:lnTo>
                <a:lnTo>
                  <a:pt x="1825" y="1257"/>
                </a:lnTo>
                <a:lnTo>
                  <a:pt x="1855" y="1255"/>
                </a:lnTo>
                <a:lnTo>
                  <a:pt x="1886" y="1252"/>
                </a:lnTo>
                <a:lnTo>
                  <a:pt x="1917" y="1252"/>
                </a:lnTo>
                <a:lnTo>
                  <a:pt x="1917" y="1252"/>
                </a:lnTo>
                <a:lnTo>
                  <a:pt x="1943" y="1252"/>
                </a:lnTo>
                <a:lnTo>
                  <a:pt x="1969" y="1253"/>
                </a:lnTo>
                <a:lnTo>
                  <a:pt x="1995" y="1256"/>
                </a:lnTo>
                <a:lnTo>
                  <a:pt x="2021" y="1259"/>
                </a:lnTo>
                <a:lnTo>
                  <a:pt x="2046" y="1262"/>
                </a:lnTo>
                <a:lnTo>
                  <a:pt x="2072" y="1267"/>
                </a:lnTo>
                <a:lnTo>
                  <a:pt x="2097" y="1273"/>
                </a:lnTo>
                <a:lnTo>
                  <a:pt x="2121" y="1278"/>
                </a:lnTo>
                <a:lnTo>
                  <a:pt x="2145" y="1285"/>
                </a:lnTo>
                <a:lnTo>
                  <a:pt x="2169" y="1292"/>
                </a:lnTo>
                <a:lnTo>
                  <a:pt x="2193" y="1300"/>
                </a:lnTo>
                <a:lnTo>
                  <a:pt x="2217" y="1309"/>
                </a:lnTo>
                <a:lnTo>
                  <a:pt x="2263" y="1327"/>
                </a:lnTo>
                <a:lnTo>
                  <a:pt x="2307" y="1348"/>
                </a:lnTo>
                <a:lnTo>
                  <a:pt x="2307" y="1348"/>
                </a:lnTo>
                <a:lnTo>
                  <a:pt x="2300" y="1302"/>
                </a:lnTo>
                <a:lnTo>
                  <a:pt x="2295" y="1256"/>
                </a:lnTo>
                <a:lnTo>
                  <a:pt x="2290" y="1209"/>
                </a:lnTo>
                <a:lnTo>
                  <a:pt x="2289" y="1186"/>
                </a:lnTo>
                <a:lnTo>
                  <a:pt x="2289" y="1161"/>
                </a:lnTo>
                <a:lnTo>
                  <a:pt x="2289" y="1161"/>
                </a:lnTo>
                <a:lnTo>
                  <a:pt x="2289" y="1131"/>
                </a:lnTo>
                <a:lnTo>
                  <a:pt x="2290" y="1102"/>
                </a:lnTo>
                <a:lnTo>
                  <a:pt x="2292" y="1072"/>
                </a:lnTo>
                <a:lnTo>
                  <a:pt x="2295" y="1042"/>
                </a:lnTo>
                <a:lnTo>
                  <a:pt x="2298" y="1013"/>
                </a:lnTo>
                <a:lnTo>
                  <a:pt x="2302" y="985"/>
                </a:lnTo>
                <a:lnTo>
                  <a:pt x="2307" y="955"/>
                </a:lnTo>
                <a:lnTo>
                  <a:pt x="2313" y="927"/>
                </a:lnTo>
                <a:lnTo>
                  <a:pt x="2318" y="899"/>
                </a:lnTo>
                <a:lnTo>
                  <a:pt x="2325" y="871"/>
                </a:lnTo>
                <a:lnTo>
                  <a:pt x="2333" y="844"/>
                </a:lnTo>
                <a:lnTo>
                  <a:pt x="2341" y="816"/>
                </a:lnTo>
                <a:lnTo>
                  <a:pt x="2350" y="789"/>
                </a:lnTo>
                <a:lnTo>
                  <a:pt x="2359" y="762"/>
                </a:lnTo>
                <a:lnTo>
                  <a:pt x="2369" y="735"/>
                </a:lnTo>
                <a:lnTo>
                  <a:pt x="2380" y="709"/>
                </a:lnTo>
                <a:lnTo>
                  <a:pt x="2392" y="683"/>
                </a:lnTo>
                <a:lnTo>
                  <a:pt x="2403" y="658"/>
                </a:lnTo>
                <a:lnTo>
                  <a:pt x="2417" y="632"/>
                </a:lnTo>
                <a:lnTo>
                  <a:pt x="2429" y="608"/>
                </a:lnTo>
                <a:lnTo>
                  <a:pt x="2442" y="584"/>
                </a:lnTo>
                <a:lnTo>
                  <a:pt x="2457" y="559"/>
                </a:lnTo>
                <a:lnTo>
                  <a:pt x="2488" y="512"/>
                </a:lnTo>
                <a:lnTo>
                  <a:pt x="2519" y="466"/>
                </a:lnTo>
                <a:lnTo>
                  <a:pt x="2554" y="422"/>
                </a:lnTo>
                <a:lnTo>
                  <a:pt x="2590" y="381"/>
                </a:lnTo>
                <a:lnTo>
                  <a:pt x="2629" y="340"/>
                </a:lnTo>
                <a:lnTo>
                  <a:pt x="2669" y="302"/>
                </a:lnTo>
                <a:lnTo>
                  <a:pt x="2711" y="265"/>
                </a:lnTo>
                <a:lnTo>
                  <a:pt x="2755" y="230"/>
                </a:lnTo>
                <a:lnTo>
                  <a:pt x="2800" y="199"/>
                </a:lnTo>
                <a:lnTo>
                  <a:pt x="2848" y="168"/>
                </a:lnTo>
                <a:lnTo>
                  <a:pt x="2873" y="154"/>
                </a:lnTo>
                <a:lnTo>
                  <a:pt x="2896" y="140"/>
                </a:lnTo>
                <a:lnTo>
                  <a:pt x="2921" y="126"/>
                </a:lnTo>
                <a:lnTo>
                  <a:pt x="2947" y="114"/>
                </a:lnTo>
                <a:lnTo>
                  <a:pt x="2972" y="103"/>
                </a:lnTo>
                <a:lnTo>
                  <a:pt x="2998" y="91"/>
                </a:lnTo>
                <a:lnTo>
                  <a:pt x="3024" y="80"/>
                </a:lnTo>
                <a:lnTo>
                  <a:pt x="3051" y="70"/>
                </a:lnTo>
                <a:lnTo>
                  <a:pt x="3078" y="61"/>
                </a:lnTo>
                <a:lnTo>
                  <a:pt x="3105" y="52"/>
                </a:lnTo>
                <a:lnTo>
                  <a:pt x="3132" y="44"/>
                </a:lnTo>
                <a:lnTo>
                  <a:pt x="3160" y="36"/>
                </a:lnTo>
                <a:lnTo>
                  <a:pt x="3188" y="29"/>
                </a:lnTo>
                <a:lnTo>
                  <a:pt x="3216" y="24"/>
                </a:lnTo>
                <a:lnTo>
                  <a:pt x="3244" y="18"/>
                </a:lnTo>
                <a:lnTo>
                  <a:pt x="3274" y="14"/>
                </a:lnTo>
                <a:lnTo>
                  <a:pt x="3303" y="9"/>
                </a:lnTo>
                <a:lnTo>
                  <a:pt x="3331" y="6"/>
                </a:lnTo>
                <a:lnTo>
                  <a:pt x="3361" y="3"/>
                </a:lnTo>
                <a:lnTo>
                  <a:pt x="3391" y="1"/>
                </a:lnTo>
                <a:lnTo>
                  <a:pt x="3420" y="0"/>
                </a:lnTo>
                <a:lnTo>
                  <a:pt x="3451" y="0"/>
                </a:lnTo>
                <a:lnTo>
                  <a:pt x="3451" y="0"/>
                </a:lnTo>
                <a:lnTo>
                  <a:pt x="3501" y="1"/>
                </a:lnTo>
                <a:lnTo>
                  <a:pt x="3549" y="5"/>
                </a:lnTo>
                <a:lnTo>
                  <a:pt x="3598" y="9"/>
                </a:lnTo>
                <a:lnTo>
                  <a:pt x="3646" y="17"/>
                </a:lnTo>
                <a:lnTo>
                  <a:pt x="3694" y="26"/>
                </a:lnTo>
                <a:lnTo>
                  <a:pt x="3740" y="36"/>
                </a:lnTo>
                <a:lnTo>
                  <a:pt x="3785" y="50"/>
                </a:lnTo>
                <a:lnTo>
                  <a:pt x="3830" y="64"/>
                </a:lnTo>
                <a:lnTo>
                  <a:pt x="3874" y="80"/>
                </a:lnTo>
                <a:lnTo>
                  <a:pt x="3918" y="98"/>
                </a:lnTo>
                <a:lnTo>
                  <a:pt x="3960" y="119"/>
                </a:lnTo>
                <a:lnTo>
                  <a:pt x="4002" y="140"/>
                </a:lnTo>
                <a:lnTo>
                  <a:pt x="4043" y="164"/>
                </a:lnTo>
                <a:lnTo>
                  <a:pt x="4081" y="189"/>
                </a:lnTo>
                <a:lnTo>
                  <a:pt x="4119" y="215"/>
                </a:lnTo>
                <a:lnTo>
                  <a:pt x="4157" y="242"/>
                </a:lnTo>
                <a:lnTo>
                  <a:pt x="4193" y="271"/>
                </a:lnTo>
                <a:lnTo>
                  <a:pt x="4228" y="302"/>
                </a:lnTo>
                <a:lnTo>
                  <a:pt x="4261" y="334"/>
                </a:lnTo>
                <a:lnTo>
                  <a:pt x="4293" y="367"/>
                </a:lnTo>
                <a:lnTo>
                  <a:pt x="4324" y="402"/>
                </a:lnTo>
                <a:lnTo>
                  <a:pt x="4353" y="437"/>
                </a:lnTo>
                <a:lnTo>
                  <a:pt x="4381" y="474"/>
                </a:lnTo>
                <a:lnTo>
                  <a:pt x="4408" y="513"/>
                </a:lnTo>
                <a:lnTo>
                  <a:pt x="4433" y="551"/>
                </a:lnTo>
                <a:lnTo>
                  <a:pt x="4457" y="592"/>
                </a:lnTo>
                <a:lnTo>
                  <a:pt x="4480" y="632"/>
                </a:lnTo>
                <a:lnTo>
                  <a:pt x="4500" y="675"/>
                </a:lnTo>
                <a:lnTo>
                  <a:pt x="4519" y="718"/>
                </a:lnTo>
                <a:lnTo>
                  <a:pt x="4536" y="762"/>
                </a:lnTo>
                <a:lnTo>
                  <a:pt x="4552" y="806"/>
                </a:lnTo>
                <a:lnTo>
                  <a:pt x="4565" y="853"/>
                </a:lnTo>
                <a:lnTo>
                  <a:pt x="4565" y="853"/>
                </a:lnTo>
                <a:lnTo>
                  <a:pt x="4607" y="841"/>
                </a:lnTo>
                <a:lnTo>
                  <a:pt x="4650" y="832"/>
                </a:lnTo>
                <a:lnTo>
                  <a:pt x="4693" y="824"/>
                </a:lnTo>
                <a:lnTo>
                  <a:pt x="4737" y="816"/>
                </a:lnTo>
                <a:lnTo>
                  <a:pt x="4781" y="811"/>
                </a:lnTo>
                <a:lnTo>
                  <a:pt x="4825" y="806"/>
                </a:lnTo>
                <a:lnTo>
                  <a:pt x="4870" y="804"/>
                </a:lnTo>
                <a:lnTo>
                  <a:pt x="4915" y="803"/>
                </a:lnTo>
                <a:lnTo>
                  <a:pt x="4915" y="803"/>
                </a:lnTo>
                <a:lnTo>
                  <a:pt x="4953" y="804"/>
                </a:lnTo>
                <a:lnTo>
                  <a:pt x="4989" y="805"/>
                </a:lnTo>
                <a:lnTo>
                  <a:pt x="5025" y="807"/>
                </a:lnTo>
                <a:lnTo>
                  <a:pt x="5061" y="811"/>
                </a:lnTo>
                <a:lnTo>
                  <a:pt x="5097" y="814"/>
                </a:lnTo>
                <a:lnTo>
                  <a:pt x="5132" y="820"/>
                </a:lnTo>
                <a:lnTo>
                  <a:pt x="5167" y="825"/>
                </a:lnTo>
                <a:lnTo>
                  <a:pt x="5202" y="832"/>
                </a:lnTo>
                <a:lnTo>
                  <a:pt x="5237" y="840"/>
                </a:lnTo>
                <a:lnTo>
                  <a:pt x="5271" y="848"/>
                </a:lnTo>
                <a:lnTo>
                  <a:pt x="5305" y="857"/>
                </a:lnTo>
                <a:lnTo>
                  <a:pt x="5339" y="867"/>
                </a:lnTo>
                <a:lnTo>
                  <a:pt x="5372" y="877"/>
                </a:lnTo>
                <a:lnTo>
                  <a:pt x="5404" y="890"/>
                </a:lnTo>
                <a:lnTo>
                  <a:pt x="5437" y="902"/>
                </a:lnTo>
                <a:lnTo>
                  <a:pt x="5469" y="915"/>
                </a:lnTo>
                <a:lnTo>
                  <a:pt x="5500" y="928"/>
                </a:lnTo>
                <a:lnTo>
                  <a:pt x="5532" y="943"/>
                </a:lnTo>
                <a:lnTo>
                  <a:pt x="5562" y="959"/>
                </a:lnTo>
                <a:lnTo>
                  <a:pt x="5593" y="975"/>
                </a:lnTo>
                <a:lnTo>
                  <a:pt x="5623" y="991"/>
                </a:lnTo>
                <a:lnTo>
                  <a:pt x="5653" y="1010"/>
                </a:lnTo>
                <a:lnTo>
                  <a:pt x="5681" y="1028"/>
                </a:lnTo>
                <a:lnTo>
                  <a:pt x="5710" y="1046"/>
                </a:lnTo>
                <a:lnTo>
                  <a:pt x="5739" y="1065"/>
                </a:lnTo>
                <a:lnTo>
                  <a:pt x="5766" y="1085"/>
                </a:lnTo>
                <a:lnTo>
                  <a:pt x="5793" y="1107"/>
                </a:lnTo>
                <a:lnTo>
                  <a:pt x="5820" y="1128"/>
                </a:lnTo>
                <a:lnTo>
                  <a:pt x="5846" y="1150"/>
                </a:lnTo>
                <a:lnTo>
                  <a:pt x="5871" y="1172"/>
                </a:lnTo>
                <a:lnTo>
                  <a:pt x="5896" y="1196"/>
                </a:lnTo>
                <a:lnTo>
                  <a:pt x="5920" y="1220"/>
                </a:lnTo>
                <a:lnTo>
                  <a:pt x="5944" y="1244"/>
                </a:lnTo>
                <a:lnTo>
                  <a:pt x="5968" y="1269"/>
                </a:lnTo>
                <a:lnTo>
                  <a:pt x="5990" y="1294"/>
                </a:lnTo>
                <a:lnTo>
                  <a:pt x="6012" y="1320"/>
                </a:lnTo>
                <a:lnTo>
                  <a:pt x="6033" y="1347"/>
                </a:lnTo>
                <a:lnTo>
                  <a:pt x="6055" y="1374"/>
                </a:lnTo>
                <a:lnTo>
                  <a:pt x="6074" y="1401"/>
                </a:lnTo>
                <a:lnTo>
                  <a:pt x="6094" y="1430"/>
                </a:lnTo>
                <a:lnTo>
                  <a:pt x="6112" y="1458"/>
                </a:lnTo>
                <a:lnTo>
                  <a:pt x="6130" y="1487"/>
                </a:lnTo>
                <a:lnTo>
                  <a:pt x="6149" y="1517"/>
                </a:lnTo>
                <a:lnTo>
                  <a:pt x="6165" y="1547"/>
                </a:lnTo>
                <a:lnTo>
                  <a:pt x="6181" y="1578"/>
                </a:lnTo>
                <a:lnTo>
                  <a:pt x="6196" y="1608"/>
                </a:lnTo>
                <a:lnTo>
                  <a:pt x="6211" y="1640"/>
                </a:lnTo>
                <a:lnTo>
                  <a:pt x="6225" y="1671"/>
                </a:lnTo>
                <a:lnTo>
                  <a:pt x="6238" y="1703"/>
                </a:lnTo>
                <a:lnTo>
                  <a:pt x="6250" y="1736"/>
                </a:lnTo>
                <a:lnTo>
                  <a:pt x="6261" y="1768"/>
                </a:lnTo>
                <a:lnTo>
                  <a:pt x="6273" y="1802"/>
                </a:lnTo>
                <a:lnTo>
                  <a:pt x="6283" y="1835"/>
                </a:lnTo>
                <a:lnTo>
                  <a:pt x="6292" y="1869"/>
                </a:lnTo>
                <a:lnTo>
                  <a:pt x="6300" y="1904"/>
                </a:lnTo>
                <a:lnTo>
                  <a:pt x="6308" y="1938"/>
                </a:lnTo>
                <a:lnTo>
                  <a:pt x="6315" y="1973"/>
                </a:lnTo>
                <a:lnTo>
                  <a:pt x="6320" y="2008"/>
                </a:lnTo>
                <a:lnTo>
                  <a:pt x="6325" y="2043"/>
                </a:lnTo>
                <a:lnTo>
                  <a:pt x="6329" y="2079"/>
                </a:lnTo>
                <a:lnTo>
                  <a:pt x="6333" y="2115"/>
                </a:lnTo>
                <a:lnTo>
                  <a:pt x="6335" y="2151"/>
                </a:lnTo>
                <a:lnTo>
                  <a:pt x="6336" y="2187"/>
                </a:lnTo>
                <a:lnTo>
                  <a:pt x="6336" y="2225"/>
                </a:lnTo>
                <a:close/>
              </a:path>
            </a:pathLst>
          </a:custGeom>
          <a:noFill/>
          <a:ln w="28575">
            <a:solidFill>
              <a:schemeClr val="accent1"/>
            </a:solidFill>
          </a:ln>
        </p:spPr>
        <p:txBody>
          <a:bodyPr vert="horz" wrap="square" lIns="93247" tIns="46623" rIns="93247" bIns="46623" numCol="1" anchor="t" anchorCtr="0" compatLnSpc="1">
            <a:prstTxWarp prst="textNoShape">
              <a:avLst/>
            </a:prstTxWarp>
          </a:bodyPr>
          <a:lstStyle/>
          <a:p>
            <a:pPr defTabSz="932418"/>
            <a:endParaRPr lang="en-US" sz="1836">
              <a:solidFill>
                <a:srgbClr val="505050"/>
              </a:solidFill>
              <a:latin typeface="Segoe UI"/>
            </a:endParaRPr>
          </a:p>
        </p:txBody>
      </p:sp>
    </p:spTree>
    <p:extLst>
      <p:ext uri="{BB962C8B-B14F-4D97-AF65-F5344CB8AC3E}">
        <p14:creationId xmlns:p14="http://schemas.microsoft.com/office/powerpoint/2010/main" val="848022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9" name="Title 2"/>
          <p:cNvSpPr>
            <a:spLocks noGrp="1"/>
          </p:cNvSpPr>
          <p:nvPr>
            <p:ph type="title"/>
          </p:nvPr>
        </p:nvSpPr>
        <p:spPr>
          <a:xfrm>
            <a:off x="187401" y="94068"/>
            <a:ext cx="12162702" cy="932603"/>
          </a:xfrm>
        </p:spPr>
        <p:txBody>
          <a:bodyPr/>
          <a:lstStyle/>
          <a:p>
            <a:r>
              <a:rPr lang="en-US" sz="3808"/>
              <a:t>Next Generation Supply Chain</a:t>
            </a:r>
          </a:p>
        </p:txBody>
      </p:sp>
      <p:sp>
        <p:nvSpPr>
          <p:cNvPr id="343" name="Rectangle 22"/>
          <p:cNvSpPr/>
          <p:nvPr/>
        </p:nvSpPr>
        <p:spPr>
          <a:xfrm>
            <a:off x="3774435" y="5046269"/>
            <a:ext cx="5061050" cy="200884"/>
          </a:xfrm>
          <a:custGeom>
            <a:avLst/>
            <a:gdLst>
              <a:gd name="connsiteX0" fmla="*/ 0 w 1581492"/>
              <a:gd name="connsiteY0" fmla="*/ 0 h 196977"/>
              <a:gd name="connsiteX1" fmla="*/ 1581492 w 1581492"/>
              <a:gd name="connsiteY1" fmla="*/ 0 h 196977"/>
              <a:gd name="connsiteX2" fmla="*/ 1581492 w 1581492"/>
              <a:gd name="connsiteY2" fmla="*/ 196977 h 196977"/>
              <a:gd name="connsiteX3" fmla="*/ 0 w 1581492"/>
              <a:gd name="connsiteY3" fmla="*/ 196977 h 196977"/>
              <a:gd name="connsiteX4" fmla="*/ 0 w 1581492"/>
              <a:gd name="connsiteY4" fmla="*/ 0 h 196977"/>
              <a:gd name="connsiteX0" fmla="*/ 0 w 1581492"/>
              <a:gd name="connsiteY0" fmla="*/ 0 h 196977"/>
              <a:gd name="connsiteX1" fmla="*/ 1581492 w 1581492"/>
              <a:gd name="connsiteY1" fmla="*/ 0 h 196977"/>
              <a:gd name="connsiteX2" fmla="*/ 1581492 w 1581492"/>
              <a:gd name="connsiteY2" fmla="*/ 196977 h 196977"/>
              <a:gd name="connsiteX3" fmla="*/ 230981 w 1581492"/>
              <a:gd name="connsiteY3" fmla="*/ 196977 h 196977"/>
              <a:gd name="connsiteX4" fmla="*/ 0 w 1581492"/>
              <a:gd name="connsiteY4" fmla="*/ 0 h 196977"/>
              <a:gd name="connsiteX0" fmla="*/ 0 w 1581492"/>
              <a:gd name="connsiteY0" fmla="*/ 0 h 196977"/>
              <a:gd name="connsiteX1" fmla="*/ 1581492 w 1581492"/>
              <a:gd name="connsiteY1" fmla="*/ 0 h 196977"/>
              <a:gd name="connsiteX2" fmla="*/ 1581492 w 1581492"/>
              <a:gd name="connsiteY2" fmla="*/ 196977 h 196977"/>
              <a:gd name="connsiteX3" fmla="*/ 230981 w 1581492"/>
              <a:gd name="connsiteY3" fmla="*/ 196977 h 196977"/>
              <a:gd name="connsiteX4" fmla="*/ 0 w 1581492"/>
              <a:gd name="connsiteY4" fmla="*/ 0 h 196977"/>
              <a:gd name="connsiteX0" fmla="*/ 0 w 1581492"/>
              <a:gd name="connsiteY0" fmla="*/ 0 h 196977"/>
              <a:gd name="connsiteX1" fmla="*/ 1581492 w 1581492"/>
              <a:gd name="connsiteY1" fmla="*/ 0 h 196977"/>
              <a:gd name="connsiteX2" fmla="*/ 1581492 w 1581492"/>
              <a:gd name="connsiteY2" fmla="*/ 196977 h 196977"/>
              <a:gd name="connsiteX3" fmla="*/ 230981 w 1581492"/>
              <a:gd name="connsiteY3" fmla="*/ 196977 h 196977"/>
              <a:gd name="connsiteX4" fmla="*/ 0 w 1581492"/>
              <a:gd name="connsiteY4" fmla="*/ 0 h 196977"/>
              <a:gd name="connsiteX0" fmla="*/ 0 w 1581492"/>
              <a:gd name="connsiteY0" fmla="*/ 0 h 196977"/>
              <a:gd name="connsiteX1" fmla="*/ 1581492 w 1581492"/>
              <a:gd name="connsiteY1" fmla="*/ 0 h 196977"/>
              <a:gd name="connsiteX2" fmla="*/ 1331461 w 1581492"/>
              <a:gd name="connsiteY2" fmla="*/ 196977 h 196977"/>
              <a:gd name="connsiteX3" fmla="*/ 230981 w 1581492"/>
              <a:gd name="connsiteY3" fmla="*/ 196977 h 196977"/>
              <a:gd name="connsiteX4" fmla="*/ 0 w 1581492"/>
              <a:gd name="connsiteY4" fmla="*/ 0 h 196977"/>
              <a:gd name="connsiteX0" fmla="*/ 0 w 1581492"/>
              <a:gd name="connsiteY0" fmla="*/ 0 h 196977"/>
              <a:gd name="connsiteX1" fmla="*/ 1581492 w 1581492"/>
              <a:gd name="connsiteY1" fmla="*/ 0 h 196977"/>
              <a:gd name="connsiteX2" fmla="*/ 1331461 w 1581492"/>
              <a:gd name="connsiteY2" fmla="*/ 196977 h 196977"/>
              <a:gd name="connsiteX3" fmla="*/ 230981 w 1581492"/>
              <a:gd name="connsiteY3" fmla="*/ 196977 h 196977"/>
              <a:gd name="connsiteX4" fmla="*/ 0 w 1581492"/>
              <a:gd name="connsiteY4" fmla="*/ 0 h 196977"/>
              <a:gd name="connsiteX0" fmla="*/ 0 w 1581492"/>
              <a:gd name="connsiteY0" fmla="*/ 0 h 196977"/>
              <a:gd name="connsiteX1" fmla="*/ 1581492 w 1581492"/>
              <a:gd name="connsiteY1" fmla="*/ 0 h 196977"/>
              <a:gd name="connsiteX2" fmla="*/ 1331461 w 1581492"/>
              <a:gd name="connsiteY2" fmla="*/ 196977 h 196977"/>
              <a:gd name="connsiteX3" fmla="*/ 230981 w 1581492"/>
              <a:gd name="connsiteY3" fmla="*/ 196977 h 196977"/>
              <a:gd name="connsiteX4" fmla="*/ 0 w 1581492"/>
              <a:gd name="connsiteY4" fmla="*/ 0 h 196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1492" h="196977">
                <a:moveTo>
                  <a:pt x="0" y="0"/>
                </a:moveTo>
                <a:lnTo>
                  <a:pt x="1581492" y="0"/>
                </a:lnTo>
                <a:cubicBezTo>
                  <a:pt x="1557679" y="75184"/>
                  <a:pt x="1514818" y="164656"/>
                  <a:pt x="1331461" y="196977"/>
                </a:cubicBezTo>
                <a:lnTo>
                  <a:pt x="230981" y="196977"/>
                </a:lnTo>
                <a:cubicBezTo>
                  <a:pt x="30162" y="131318"/>
                  <a:pt x="38894" y="70422"/>
                  <a:pt x="0" y="0"/>
                </a:cubicBezTo>
                <a:close/>
              </a:path>
            </a:pathLst>
          </a:custGeom>
          <a:solidFill>
            <a:schemeClr val="bg1">
              <a:lumMod val="95000"/>
            </a:schemeClr>
          </a:solidFill>
          <a:ln>
            <a:noFill/>
          </a:ln>
        </p:spPr>
        <p:txBody>
          <a:bodyPr wrap="square" lIns="0" tIns="37304" rIns="0" bIns="37304" rtlCol="0" anchor="ctr">
            <a:spAutoFit/>
          </a:bodyPr>
          <a:lstStyle/>
          <a:p>
            <a:pPr marL="0" marR="0" lvl="0" indent="0" algn="ctr" defTabSz="932619" rtl="0" eaLnBrk="1" fontAlgn="auto" latinLnBrk="0" hangingPunct="1">
              <a:lnSpc>
                <a:spcPct val="100000"/>
              </a:lnSpc>
              <a:spcBef>
                <a:spcPts val="0"/>
              </a:spcBef>
              <a:spcAft>
                <a:spcPts val="0"/>
              </a:spcAft>
              <a:buClrTx/>
              <a:buSzTx/>
              <a:buFontTx/>
              <a:buNone/>
              <a:tabLst/>
              <a:defRPr/>
            </a:pPr>
            <a:endParaRPr kumimoji="0" lang="en-US" sz="816" b="0" i="0" u="none" strike="noStrike" kern="1200" cap="none" spc="0" normalizeH="0" baseline="0" noProof="0" err="1">
              <a:ln>
                <a:noFill/>
              </a:ln>
              <a:solidFill>
                <a:srgbClr val="373A3C"/>
              </a:solidFill>
              <a:effectLst/>
              <a:uLnTx/>
              <a:uFillTx/>
              <a:latin typeface="Segoe UI"/>
              <a:ea typeface="+mn-ea"/>
              <a:cs typeface="+mn-cs"/>
            </a:endParaRPr>
          </a:p>
        </p:txBody>
      </p:sp>
      <p:grpSp>
        <p:nvGrpSpPr>
          <p:cNvPr id="344" name="Group 343"/>
          <p:cNvGrpSpPr/>
          <p:nvPr/>
        </p:nvGrpSpPr>
        <p:grpSpPr>
          <a:xfrm>
            <a:off x="3736437" y="2500250"/>
            <a:ext cx="5146101" cy="2969906"/>
            <a:chOff x="3201730" y="1723184"/>
            <a:chExt cx="1608069" cy="883175"/>
          </a:xfrm>
        </p:grpSpPr>
        <p:sp>
          <p:nvSpPr>
            <p:cNvPr id="345" name="Freeform 5"/>
            <p:cNvSpPr>
              <a:spLocks noChangeAspect="1"/>
            </p:cNvSpPr>
            <p:nvPr/>
          </p:nvSpPr>
          <p:spPr bwMode="black">
            <a:xfrm>
              <a:off x="3201730" y="1723184"/>
              <a:ext cx="1608069" cy="883175"/>
            </a:xfrm>
            <a:custGeom>
              <a:avLst/>
              <a:gdLst>
                <a:gd name="T0" fmla="*/ 1942 w 2359"/>
                <a:gd name="T1" fmla="*/ 1394 h 1394"/>
                <a:gd name="T2" fmla="*/ 416 w 2359"/>
                <a:gd name="T3" fmla="*/ 1394 h 1394"/>
                <a:gd name="T4" fmla="*/ 0 w 2359"/>
                <a:gd name="T5" fmla="*/ 971 h 1394"/>
                <a:gd name="T6" fmla="*/ 416 w 2359"/>
                <a:gd name="T7" fmla="*/ 552 h 1394"/>
                <a:gd name="T8" fmla="*/ 517 w 2359"/>
                <a:gd name="T9" fmla="*/ 565 h 1394"/>
                <a:gd name="T10" fmla="*/ 925 w 2359"/>
                <a:gd name="T11" fmla="*/ 221 h 1394"/>
                <a:gd name="T12" fmla="*/ 1175 w 2359"/>
                <a:gd name="T13" fmla="*/ 305 h 1394"/>
                <a:gd name="T14" fmla="*/ 1578 w 2359"/>
                <a:gd name="T15" fmla="*/ 0 h 1394"/>
                <a:gd name="T16" fmla="*/ 1982 w 2359"/>
                <a:gd name="T17" fmla="*/ 424 h 1394"/>
                <a:gd name="T18" fmla="*/ 1968 w 2359"/>
                <a:gd name="T19" fmla="*/ 552 h 1394"/>
                <a:gd name="T20" fmla="*/ 2359 w 2359"/>
                <a:gd name="T21" fmla="*/ 971 h 1394"/>
                <a:gd name="T22" fmla="*/ 1942 w 2359"/>
                <a:gd name="T23"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59" h="1394">
                  <a:moveTo>
                    <a:pt x="1942" y="1394"/>
                  </a:moveTo>
                  <a:cubicBezTo>
                    <a:pt x="416" y="1394"/>
                    <a:pt x="416" y="1394"/>
                    <a:pt x="416" y="1394"/>
                  </a:cubicBezTo>
                  <a:cubicBezTo>
                    <a:pt x="193" y="1394"/>
                    <a:pt x="0" y="1200"/>
                    <a:pt x="0" y="971"/>
                  </a:cubicBezTo>
                  <a:cubicBezTo>
                    <a:pt x="0" y="741"/>
                    <a:pt x="193" y="552"/>
                    <a:pt x="416" y="552"/>
                  </a:cubicBezTo>
                  <a:cubicBezTo>
                    <a:pt x="451" y="552"/>
                    <a:pt x="487" y="556"/>
                    <a:pt x="517" y="565"/>
                  </a:cubicBezTo>
                  <a:cubicBezTo>
                    <a:pt x="552" y="362"/>
                    <a:pt x="719" y="221"/>
                    <a:pt x="925" y="221"/>
                  </a:cubicBezTo>
                  <a:cubicBezTo>
                    <a:pt x="1021" y="221"/>
                    <a:pt x="1105" y="247"/>
                    <a:pt x="1175" y="305"/>
                  </a:cubicBezTo>
                  <a:cubicBezTo>
                    <a:pt x="1227" y="128"/>
                    <a:pt x="1394" y="0"/>
                    <a:pt x="1578" y="0"/>
                  </a:cubicBezTo>
                  <a:cubicBezTo>
                    <a:pt x="1802" y="0"/>
                    <a:pt x="1982" y="190"/>
                    <a:pt x="1982" y="424"/>
                  </a:cubicBezTo>
                  <a:cubicBezTo>
                    <a:pt x="1982" y="468"/>
                    <a:pt x="1977" y="512"/>
                    <a:pt x="1968" y="552"/>
                  </a:cubicBezTo>
                  <a:cubicBezTo>
                    <a:pt x="2188" y="565"/>
                    <a:pt x="2359" y="750"/>
                    <a:pt x="2359" y="971"/>
                  </a:cubicBezTo>
                  <a:cubicBezTo>
                    <a:pt x="2359" y="1205"/>
                    <a:pt x="2170" y="1394"/>
                    <a:pt x="1942" y="1394"/>
                  </a:cubicBezTo>
                  <a:close/>
                </a:path>
              </a:pathLst>
            </a:custGeom>
            <a:noFill/>
            <a:ln>
              <a:solidFill>
                <a:schemeClr val="bg1">
                  <a:lumMod val="75000"/>
                </a:schemeClr>
              </a:solidFill>
            </a:ln>
          </p:spPr>
          <p:txBody>
            <a:bodyPr vert="horz" wrap="square" lIns="91414" tIns="45707" rIns="91414" bIns="45707" numCol="1" anchor="t" anchorCtr="0" compatLnSpc="1">
              <a:prstTxWarp prst="textNoShape">
                <a:avLst/>
              </a:prstTxWarp>
            </a:bodyPr>
            <a:lstStyle/>
            <a:p>
              <a:pPr marL="0" marR="0" lvl="0" indent="0" algn="l" defTabSz="932619" rtl="0" eaLnBrk="1" fontAlgn="auto" latinLnBrk="0" hangingPunct="1">
                <a:lnSpc>
                  <a:spcPct val="100000"/>
                </a:lnSpc>
                <a:spcBef>
                  <a:spcPts val="0"/>
                </a:spcBef>
                <a:spcAft>
                  <a:spcPts val="0"/>
                </a:spcAft>
                <a:buClrTx/>
                <a:buSzTx/>
                <a:buFontTx/>
                <a:buNone/>
                <a:tabLst/>
                <a:defRPr/>
              </a:pPr>
              <a:endParaRPr kumimoji="0" lang="en-US" sz="1428" b="0" i="0" u="none" strike="noStrike" kern="1200" cap="none" spc="0" normalizeH="0" baseline="0" noProof="0">
                <a:ln>
                  <a:noFill/>
                </a:ln>
                <a:solidFill>
                  <a:srgbClr val="373A3C"/>
                </a:solidFill>
                <a:effectLst/>
                <a:uLnTx/>
                <a:uFillTx/>
                <a:latin typeface="Segoe UI"/>
                <a:ea typeface="+mn-ea"/>
                <a:cs typeface="+mn-cs"/>
              </a:endParaRPr>
            </a:p>
          </p:txBody>
        </p:sp>
        <p:sp>
          <p:nvSpPr>
            <p:cNvPr id="346" name="TextBox 345"/>
            <p:cNvSpPr txBox="1"/>
            <p:nvPr/>
          </p:nvSpPr>
          <p:spPr>
            <a:xfrm>
              <a:off x="3311197" y="2436393"/>
              <a:ext cx="1423642" cy="134426"/>
            </a:xfrm>
            <a:prstGeom prst="rect">
              <a:avLst/>
            </a:prstGeom>
            <a:noFill/>
            <a:ln>
              <a:noFill/>
            </a:ln>
          </p:spPr>
          <p:txBody>
            <a:bodyPr wrap="square" lIns="0" tIns="37304" rIns="0" bIns="37304" rtlCol="0" anchor="ctr">
              <a:spAutoFit/>
            </a:bodyPr>
            <a:lstStyle/>
            <a:p>
              <a:pPr marL="0" marR="0" lvl="0" indent="0" algn="ctr" defTabSz="932619"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373A3C"/>
                  </a:solidFill>
                  <a:effectLst/>
                  <a:uLnTx/>
                  <a:uFillTx/>
                  <a:latin typeface="Segoe UI"/>
                  <a:ea typeface="+mn-ea"/>
                  <a:cs typeface="+mn-cs"/>
                </a:rPr>
                <a:t>Intelligent Digital Supply Chain</a:t>
              </a:r>
            </a:p>
          </p:txBody>
        </p:sp>
      </p:grpSp>
      <p:pic>
        <p:nvPicPr>
          <p:cNvPr id="25" name="Graphic 24" descr="Network"/>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87741" y="3144509"/>
            <a:ext cx="494837" cy="494837"/>
          </a:xfrm>
          <a:prstGeom prst="rect">
            <a:avLst/>
          </a:prstGeom>
        </p:spPr>
      </p:pic>
      <p:sp>
        <p:nvSpPr>
          <p:cNvPr id="937" name="TextBox 936"/>
          <p:cNvSpPr txBox="1"/>
          <p:nvPr/>
        </p:nvSpPr>
        <p:spPr>
          <a:xfrm>
            <a:off x="5502528" y="3247835"/>
            <a:ext cx="2697409" cy="312073"/>
          </a:xfrm>
          <a:prstGeom prst="rect">
            <a:avLst/>
          </a:prstGeom>
          <a:noFill/>
        </p:spPr>
        <p:txBody>
          <a:bodyPr wrap="square" rtlCol="0">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373A3C"/>
                </a:solidFill>
                <a:effectLst/>
                <a:uLnTx/>
                <a:uFillTx/>
                <a:latin typeface="Segoe UI"/>
                <a:ea typeface="+mn-ea"/>
                <a:cs typeface="+mn-cs"/>
              </a:rPr>
              <a:t>Digitized Infrastructure</a:t>
            </a:r>
          </a:p>
        </p:txBody>
      </p:sp>
      <p:pic>
        <p:nvPicPr>
          <p:cNvPr id="958" name="Graphic 957" descr="Head with Gears"/>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943973" y="3732406"/>
            <a:ext cx="538321" cy="538321"/>
          </a:xfrm>
          <a:prstGeom prst="rect">
            <a:avLst/>
          </a:prstGeom>
        </p:spPr>
      </p:pic>
      <p:sp>
        <p:nvSpPr>
          <p:cNvPr id="350" name="TextBox 349"/>
          <p:cNvSpPr txBox="1"/>
          <p:nvPr/>
        </p:nvSpPr>
        <p:spPr>
          <a:xfrm>
            <a:off x="5482294" y="3709268"/>
            <a:ext cx="2697409" cy="531812"/>
          </a:xfrm>
          <a:prstGeom prst="rect">
            <a:avLst/>
          </a:prstGeom>
          <a:noFill/>
        </p:spPr>
        <p:txBody>
          <a:bodyPr wrap="square" rtlCol="0">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373A3C"/>
                </a:solidFill>
                <a:effectLst/>
                <a:uLnTx/>
                <a:uFillTx/>
                <a:latin typeface="Segoe UI"/>
                <a:ea typeface="+mn-ea"/>
                <a:cs typeface="+mn-cs"/>
              </a:rPr>
              <a:t>Visibility through advanced analytics</a:t>
            </a:r>
          </a:p>
        </p:txBody>
      </p:sp>
      <p:pic>
        <p:nvPicPr>
          <p:cNvPr id="33" name="Graphic 32" descr="Gauge"/>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54268" y="4285848"/>
            <a:ext cx="485793" cy="485793"/>
          </a:xfrm>
          <a:prstGeom prst="rect">
            <a:avLst/>
          </a:prstGeom>
        </p:spPr>
      </p:pic>
      <p:sp>
        <p:nvSpPr>
          <p:cNvPr id="353" name="TextBox 352"/>
          <p:cNvSpPr txBox="1"/>
          <p:nvPr/>
        </p:nvSpPr>
        <p:spPr>
          <a:xfrm>
            <a:off x="5502528" y="4330653"/>
            <a:ext cx="2697409" cy="531812"/>
          </a:xfrm>
          <a:prstGeom prst="rect">
            <a:avLst/>
          </a:prstGeom>
          <a:noFill/>
        </p:spPr>
        <p:txBody>
          <a:bodyPr wrap="square" rtlCol="0">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373A3C"/>
                </a:solidFill>
                <a:effectLst/>
                <a:uLnTx/>
                <a:uFillTx/>
                <a:latin typeface="Segoe UI"/>
                <a:ea typeface="+mn-ea"/>
                <a:cs typeface="+mn-cs"/>
              </a:rPr>
              <a:t>Algorithmic decisions through machine learning</a:t>
            </a:r>
          </a:p>
        </p:txBody>
      </p:sp>
      <p:pic>
        <p:nvPicPr>
          <p:cNvPr id="44" name="Graphic 43" descr="Line Arrow: Slight curve"/>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767780" y="3700210"/>
            <a:ext cx="932603" cy="932603"/>
          </a:xfrm>
          <a:prstGeom prst="rect">
            <a:avLst/>
          </a:prstGeom>
        </p:spPr>
      </p:pic>
      <p:sp>
        <p:nvSpPr>
          <p:cNvPr id="45" name="Rectangle: Rounded Corners 44"/>
          <p:cNvSpPr/>
          <p:nvPr/>
        </p:nvSpPr>
        <p:spPr>
          <a:xfrm>
            <a:off x="644299" y="5636465"/>
            <a:ext cx="11111020" cy="876693"/>
          </a:xfrm>
          <a:prstGeom prst="roundRect">
            <a:avLst/>
          </a:prstGeom>
          <a:solidFill>
            <a:srgbClr val="00B0F0">
              <a:alpha val="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9891" tIns="111912" rIns="139891" bIns="111912" rtlCol="0" anchor="ctr" anchorCtr="0"/>
          <a:lstStyle/>
          <a:p>
            <a:pPr marL="0" marR="0" lvl="0" indent="0" algn="ctr" defTabSz="932619" rtl="0" eaLnBrk="1" fontAlgn="auto" latinLnBrk="0" hangingPunct="1">
              <a:lnSpc>
                <a:spcPct val="90000"/>
              </a:lnSpc>
              <a:spcBef>
                <a:spcPts val="612"/>
              </a:spcBef>
              <a:spcAft>
                <a:spcPts val="0"/>
              </a:spcAft>
              <a:buClrTx/>
              <a:buSzTx/>
              <a:buFontTx/>
              <a:buNone/>
              <a:tabLst/>
              <a:defRPr/>
            </a:pPr>
            <a:r>
              <a:rPr kumimoji="0" lang="en-US" sz="2040" b="1" i="0" u="none" strike="noStrike" kern="1200" cap="none" spc="0" normalizeH="0" baseline="0" noProof="0">
                <a:ln>
                  <a:noFill/>
                </a:ln>
                <a:solidFill>
                  <a:srgbClr val="373A3C"/>
                </a:solidFill>
                <a:effectLst/>
                <a:uLnTx/>
                <a:uFillTx/>
                <a:latin typeface="Segoe UI"/>
                <a:ea typeface="+mn-ea"/>
                <a:cs typeface="+mn-cs"/>
              </a:rPr>
              <a:t>Data Driven Organization</a:t>
            </a:r>
          </a:p>
        </p:txBody>
      </p:sp>
      <p:pic>
        <p:nvPicPr>
          <p:cNvPr id="47" name="Graphic 46" descr="Bar chart"/>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57929" y="5636464"/>
            <a:ext cx="932603" cy="932603"/>
          </a:xfrm>
          <a:prstGeom prst="rect">
            <a:avLst/>
          </a:prstGeom>
        </p:spPr>
      </p:pic>
      <p:pic>
        <p:nvPicPr>
          <p:cNvPr id="49" name="Graphic 48" descr="Man and Woman"/>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773269" y="5608509"/>
            <a:ext cx="932603" cy="932603"/>
          </a:xfrm>
          <a:prstGeom prst="rect">
            <a:avLst/>
          </a:prstGeom>
        </p:spPr>
      </p:pic>
      <p:pic>
        <p:nvPicPr>
          <p:cNvPr id="57" name="Graphic 56" descr="Plant"/>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152307" y="3768683"/>
            <a:ext cx="564326" cy="564326"/>
          </a:xfrm>
          <a:prstGeom prst="rect">
            <a:avLst/>
          </a:prstGeom>
        </p:spPr>
      </p:pic>
      <p:pic>
        <p:nvPicPr>
          <p:cNvPr id="59" name="Graphic 58" descr="World"/>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939958" y="3745340"/>
            <a:ext cx="587668" cy="587668"/>
          </a:xfrm>
          <a:prstGeom prst="rect">
            <a:avLst/>
          </a:prstGeom>
        </p:spPr>
      </p:pic>
      <p:sp>
        <p:nvSpPr>
          <p:cNvPr id="60" name="Rectangle: Rounded Corners 59"/>
          <p:cNvSpPr/>
          <p:nvPr/>
        </p:nvSpPr>
        <p:spPr>
          <a:xfrm>
            <a:off x="420411" y="3631480"/>
            <a:ext cx="2248049" cy="924594"/>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39891" tIns="111912" rIns="139891" bIns="111912" rtlCol="0" anchor="t" anchorCtr="0"/>
          <a:lstStyle/>
          <a:p>
            <a:pPr marL="0" marR="0" lvl="0" indent="0" algn="ctr" defTabSz="932619" rtl="0" eaLnBrk="1" fontAlgn="auto" latinLnBrk="0" hangingPunct="1">
              <a:lnSpc>
                <a:spcPct val="90000"/>
              </a:lnSpc>
              <a:spcBef>
                <a:spcPts val="612"/>
              </a:spcBef>
              <a:spcAft>
                <a:spcPts val="0"/>
              </a:spcAft>
              <a:buClrTx/>
              <a:buSzTx/>
              <a:buFontTx/>
              <a:buNone/>
              <a:tabLst/>
              <a:defRPr/>
            </a:pPr>
            <a:endParaRPr kumimoji="0" lang="en-US" sz="2040" b="0" i="0" u="none" strike="noStrike" kern="1200" cap="none" spc="0" normalizeH="0" baseline="0" noProof="0" err="1">
              <a:ln>
                <a:noFill/>
              </a:ln>
              <a:solidFill>
                <a:prstClr val="white"/>
              </a:solidFill>
              <a:effectLst/>
              <a:uLnTx/>
              <a:uFillTx/>
              <a:latin typeface="Segoe UI"/>
              <a:ea typeface="+mn-ea"/>
              <a:cs typeface="+mn-cs"/>
            </a:endParaRPr>
          </a:p>
        </p:txBody>
      </p:sp>
      <p:pic>
        <p:nvPicPr>
          <p:cNvPr id="62" name="Graphic 61" descr="Smiling Face with No Fill"/>
          <p:cNvPicPr>
            <a:picLocks noChangeAspect="1"/>
          </p:cNvPicPr>
          <p:nvPr/>
        </p:nvPicPr>
        <p:blipFill>
          <a:blip r:embed="rId19" cstate="print">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10220" y="3745828"/>
            <a:ext cx="589415" cy="589415"/>
          </a:xfrm>
          <a:prstGeom prst="rect">
            <a:avLst/>
          </a:prstGeom>
        </p:spPr>
      </p:pic>
      <p:sp>
        <p:nvSpPr>
          <p:cNvPr id="63" name="TextBox 62"/>
          <p:cNvSpPr txBox="1"/>
          <p:nvPr/>
        </p:nvSpPr>
        <p:spPr>
          <a:xfrm>
            <a:off x="712257" y="3168175"/>
            <a:ext cx="1813467" cy="312073"/>
          </a:xfrm>
          <a:prstGeom prst="rect">
            <a:avLst/>
          </a:prstGeom>
          <a:noFill/>
        </p:spPr>
        <p:txBody>
          <a:bodyPr wrap="square" rtlCol="0">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373A3C"/>
                </a:solidFill>
                <a:effectLst/>
                <a:uLnTx/>
                <a:uFillTx/>
                <a:latin typeface="Segoe UI"/>
                <a:ea typeface="+mn-ea"/>
                <a:cs typeface="+mn-cs"/>
              </a:rPr>
              <a:t>External data</a:t>
            </a:r>
          </a:p>
        </p:txBody>
      </p:sp>
      <p:sp>
        <p:nvSpPr>
          <p:cNvPr id="64" name="TextBox 63"/>
          <p:cNvSpPr txBox="1"/>
          <p:nvPr/>
        </p:nvSpPr>
        <p:spPr>
          <a:xfrm>
            <a:off x="510219" y="4261116"/>
            <a:ext cx="557476" cy="249299"/>
          </a:xfrm>
          <a:prstGeom prst="rect">
            <a:avLst/>
          </a:prstGeom>
          <a:noFill/>
        </p:spPr>
        <p:txBody>
          <a:bodyPr wrap="square" rtlCol="0">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373A3C"/>
                </a:solidFill>
                <a:effectLst/>
                <a:uLnTx/>
                <a:uFillTx/>
                <a:latin typeface="Segoe UI"/>
                <a:ea typeface="+mn-ea"/>
                <a:cs typeface="+mn-cs"/>
              </a:rPr>
              <a:t>Social</a:t>
            </a:r>
            <a:endParaRPr kumimoji="0" lang="en-US" sz="1428" b="0" i="0" u="none" strike="noStrike" kern="1200" cap="none" spc="0" normalizeH="0" baseline="0" noProof="0">
              <a:ln>
                <a:noFill/>
              </a:ln>
              <a:solidFill>
                <a:srgbClr val="373A3C"/>
              </a:solidFill>
              <a:effectLst/>
              <a:uLnTx/>
              <a:uFillTx/>
              <a:latin typeface="Segoe UI"/>
              <a:ea typeface="+mn-ea"/>
              <a:cs typeface="+mn-cs"/>
            </a:endParaRPr>
          </a:p>
        </p:txBody>
      </p:sp>
      <p:sp>
        <p:nvSpPr>
          <p:cNvPr id="382" name="TextBox 381"/>
          <p:cNvSpPr txBox="1"/>
          <p:nvPr/>
        </p:nvSpPr>
        <p:spPr>
          <a:xfrm>
            <a:off x="995765" y="4267890"/>
            <a:ext cx="1042918" cy="249299"/>
          </a:xfrm>
          <a:prstGeom prst="rect">
            <a:avLst/>
          </a:prstGeom>
          <a:noFill/>
        </p:spPr>
        <p:txBody>
          <a:bodyPr wrap="square" rtlCol="0">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373A3C"/>
                </a:solidFill>
                <a:effectLst/>
                <a:uLnTx/>
                <a:uFillTx/>
                <a:latin typeface="Segoe UI"/>
                <a:ea typeface="+mn-ea"/>
                <a:cs typeface="+mn-cs"/>
              </a:rPr>
              <a:t>Environmental</a:t>
            </a:r>
            <a:endParaRPr kumimoji="0" lang="en-US" sz="1428" b="0" i="0" u="none" strike="noStrike" kern="1200" cap="none" spc="0" normalizeH="0" baseline="0" noProof="0">
              <a:ln>
                <a:noFill/>
              </a:ln>
              <a:solidFill>
                <a:srgbClr val="373A3C"/>
              </a:solidFill>
              <a:effectLst/>
              <a:uLnTx/>
              <a:uFillTx/>
              <a:latin typeface="Segoe UI"/>
              <a:ea typeface="+mn-ea"/>
              <a:cs typeface="+mn-cs"/>
            </a:endParaRPr>
          </a:p>
        </p:txBody>
      </p:sp>
      <p:sp>
        <p:nvSpPr>
          <p:cNvPr id="383" name="TextBox 382"/>
          <p:cNvSpPr txBox="1"/>
          <p:nvPr/>
        </p:nvSpPr>
        <p:spPr>
          <a:xfrm>
            <a:off x="1891546" y="4260627"/>
            <a:ext cx="1042918" cy="249299"/>
          </a:xfrm>
          <a:prstGeom prst="rect">
            <a:avLst/>
          </a:prstGeom>
          <a:noFill/>
        </p:spPr>
        <p:txBody>
          <a:bodyPr wrap="square" rtlCol="0">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020" b="0" i="0" u="none" strike="noStrike" kern="1200" cap="none" spc="0" normalizeH="0" baseline="0" noProof="0">
                <a:ln>
                  <a:noFill/>
                </a:ln>
                <a:solidFill>
                  <a:srgbClr val="373A3C"/>
                </a:solidFill>
                <a:effectLst/>
                <a:uLnTx/>
                <a:uFillTx/>
                <a:latin typeface="Segoe UI"/>
                <a:ea typeface="+mn-ea"/>
                <a:cs typeface="+mn-cs"/>
              </a:rPr>
              <a:t>Economic</a:t>
            </a:r>
            <a:endParaRPr kumimoji="0" lang="en-US" sz="1428" b="0" i="0" u="none" strike="noStrike" kern="1200" cap="none" spc="0" normalizeH="0" baseline="0" noProof="0">
              <a:ln>
                <a:noFill/>
              </a:ln>
              <a:solidFill>
                <a:srgbClr val="373A3C"/>
              </a:solidFill>
              <a:effectLst/>
              <a:uLnTx/>
              <a:uFillTx/>
              <a:latin typeface="Segoe UI"/>
              <a:ea typeface="+mn-ea"/>
              <a:cs typeface="+mn-cs"/>
            </a:endParaRPr>
          </a:p>
        </p:txBody>
      </p:sp>
      <p:sp>
        <p:nvSpPr>
          <p:cNvPr id="384" name="TextBox 383"/>
          <p:cNvSpPr txBox="1"/>
          <p:nvPr/>
        </p:nvSpPr>
        <p:spPr>
          <a:xfrm>
            <a:off x="3851252" y="2553454"/>
            <a:ext cx="2185445" cy="312073"/>
          </a:xfrm>
          <a:prstGeom prst="rect">
            <a:avLst/>
          </a:prstGeom>
          <a:noFill/>
        </p:spPr>
        <p:txBody>
          <a:bodyPr wrap="square" rtlCol="0">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373A3C"/>
                </a:solidFill>
                <a:effectLst/>
                <a:uLnTx/>
                <a:uFillTx/>
                <a:latin typeface="Segoe UI"/>
                <a:ea typeface="+mn-ea"/>
                <a:cs typeface="+mn-cs"/>
              </a:rPr>
              <a:t>Supply Chain Data</a:t>
            </a:r>
          </a:p>
        </p:txBody>
      </p:sp>
      <p:pic>
        <p:nvPicPr>
          <p:cNvPr id="4" name="Graphic 3" descr="Line Arrow: Counterclockwise curve"/>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2590784">
            <a:off x="8634963" y="2888173"/>
            <a:ext cx="1242079" cy="1242079"/>
          </a:xfrm>
          <a:prstGeom prst="rect">
            <a:avLst/>
          </a:prstGeom>
        </p:spPr>
      </p:pic>
      <p:sp>
        <p:nvSpPr>
          <p:cNvPr id="90" name="TextBox 89"/>
          <p:cNvSpPr txBox="1"/>
          <p:nvPr/>
        </p:nvSpPr>
        <p:spPr>
          <a:xfrm>
            <a:off x="9687602" y="3561739"/>
            <a:ext cx="2662501" cy="531812"/>
          </a:xfrm>
          <a:prstGeom prst="rect">
            <a:avLst/>
          </a:prstGeom>
          <a:noFill/>
        </p:spPr>
        <p:txBody>
          <a:bodyPr wrap="square" rtlCol="0">
            <a:spAutoFit/>
          </a:bodyPr>
          <a:lstStyle/>
          <a:p>
            <a:pPr marL="0" marR="0" lvl="0" indent="0" algn="l" defTabSz="932619" rtl="0" eaLnBrk="1" fontAlgn="auto" latinLnBrk="0" hangingPunct="1">
              <a:lnSpc>
                <a:spcPct val="100000"/>
              </a:lnSpc>
              <a:spcBef>
                <a:spcPts val="0"/>
              </a:spcBef>
              <a:spcAft>
                <a:spcPts val="0"/>
              </a:spcAft>
              <a:buClrTx/>
              <a:buSzTx/>
              <a:buFontTx/>
              <a:buNone/>
              <a:tabLst/>
              <a:defRPr/>
            </a:pPr>
            <a:r>
              <a:rPr kumimoji="0" lang="en-US" sz="1428" b="0" i="0" u="none" strike="noStrike" kern="1200" cap="none" spc="0" normalizeH="0" baseline="0" noProof="0">
                <a:ln>
                  <a:noFill/>
                </a:ln>
                <a:solidFill>
                  <a:srgbClr val="373A3C"/>
                </a:solidFill>
                <a:effectLst/>
                <a:uLnTx/>
                <a:uFillTx/>
                <a:latin typeface="Segoe UI"/>
                <a:ea typeface="+mn-ea"/>
                <a:cs typeface="+mn-cs"/>
              </a:rPr>
              <a:t>Transforming Supply Chain performance</a:t>
            </a:r>
          </a:p>
        </p:txBody>
      </p:sp>
      <p:sp>
        <p:nvSpPr>
          <p:cNvPr id="89" name="Rounded Rectangle 88"/>
          <p:cNvSpPr/>
          <p:nvPr/>
        </p:nvSpPr>
        <p:spPr>
          <a:xfrm>
            <a:off x="187401" y="851666"/>
            <a:ext cx="11933447" cy="1592406"/>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39891" tIns="111912" rIns="139891" bIns="111912" rtlCol="0" anchor="t" anchorCtr="0"/>
          <a:lstStyle/>
          <a:p>
            <a:pPr marL="0" marR="0" lvl="0" indent="0" algn="ctr" defTabSz="932619" rtl="0" eaLnBrk="1" fontAlgn="auto" latinLnBrk="0" hangingPunct="1">
              <a:lnSpc>
                <a:spcPct val="90000"/>
              </a:lnSpc>
              <a:spcBef>
                <a:spcPts val="612"/>
              </a:spcBef>
              <a:spcAft>
                <a:spcPts val="0"/>
              </a:spcAft>
              <a:buClrTx/>
              <a:buSzTx/>
              <a:buFontTx/>
              <a:buNone/>
              <a:tabLst/>
              <a:defRPr/>
            </a:pPr>
            <a:endParaRPr kumimoji="0" lang="en-US" sz="2040" b="0" i="0" u="none" strike="noStrike" kern="1200" cap="none" spc="0" normalizeH="0" baseline="0" noProof="0" err="1">
              <a:ln>
                <a:noFill/>
              </a:ln>
              <a:solidFill>
                <a:prstClr val="white"/>
              </a:solidFill>
              <a:effectLst/>
              <a:uLnTx/>
              <a:uFillTx/>
              <a:latin typeface="Segoe UI"/>
              <a:ea typeface="+mn-ea"/>
              <a:cs typeface="+mn-cs"/>
            </a:endParaRPr>
          </a:p>
        </p:txBody>
      </p:sp>
      <p:pic>
        <p:nvPicPr>
          <p:cNvPr id="91" name="Graphic 41" descr="Line Arrow: Counterclockwise curve"/>
          <p:cNvPicPr>
            <a:picLocks noChangeAspect="1"/>
          </p:cNvPicPr>
          <p:nvPr/>
        </p:nvPicPr>
        <p:blipFill>
          <a:blip r:embed="rId21" cstate="print">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0800000">
            <a:off x="5665439" y="2500250"/>
            <a:ext cx="1005092" cy="526875"/>
          </a:xfrm>
          <a:prstGeom prst="rect">
            <a:avLst/>
          </a:prstGeom>
        </p:spPr>
      </p:pic>
      <p:cxnSp>
        <p:nvCxnSpPr>
          <p:cNvPr id="5" name="Straight Connector 4"/>
          <p:cNvCxnSpPr/>
          <p:nvPr/>
        </p:nvCxnSpPr>
        <p:spPr>
          <a:xfrm>
            <a:off x="420410" y="1648541"/>
            <a:ext cx="11515911"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95" name="Group 94"/>
          <p:cNvGrpSpPr/>
          <p:nvPr/>
        </p:nvGrpSpPr>
        <p:grpSpPr>
          <a:xfrm>
            <a:off x="305689" y="1591136"/>
            <a:ext cx="775304" cy="586423"/>
            <a:chOff x="919944" y="891562"/>
            <a:chExt cx="570128" cy="431231"/>
          </a:xfrm>
        </p:grpSpPr>
        <p:sp>
          <p:nvSpPr>
            <p:cNvPr id="96" name="TextBox 95"/>
            <p:cNvSpPr txBox="1"/>
            <p:nvPr/>
          </p:nvSpPr>
          <p:spPr>
            <a:xfrm>
              <a:off x="919944" y="1076569"/>
              <a:ext cx="570128" cy="246224"/>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002050"/>
                  </a:solidFill>
                  <a:effectLst/>
                  <a:uLnTx/>
                  <a:uFillTx/>
                  <a:latin typeface="Segoe UI"/>
                  <a:ea typeface="+mn-ea"/>
                  <a:cs typeface="+mn-cs"/>
                </a:rPr>
                <a:t>Engineering</a:t>
              </a:r>
            </a:p>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002050"/>
                  </a:solidFill>
                  <a:effectLst/>
                  <a:uLnTx/>
                  <a:uFillTx/>
                  <a:latin typeface="Segoe UI"/>
                  <a:ea typeface="+mn-ea"/>
                  <a:cs typeface="+mn-cs"/>
                </a:rPr>
                <a:t>R &amp; D</a:t>
              </a:r>
            </a:p>
          </p:txBody>
        </p:sp>
        <p:sp>
          <p:nvSpPr>
            <p:cNvPr id="97" name="Oval 96"/>
            <p:cNvSpPr/>
            <p:nvPr/>
          </p:nvSpPr>
          <p:spPr>
            <a:xfrm>
              <a:off x="1145674" y="891562"/>
              <a:ext cx="88440" cy="88440"/>
            </a:xfrm>
            <a:prstGeom prst="ellipse">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pic>
        <p:nvPicPr>
          <p:cNvPr id="98" name="Picture 97"/>
          <p:cNvPicPr>
            <a:picLocks noChangeAspect="1"/>
          </p:cNvPicPr>
          <p:nvPr/>
        </p:nvPicPr>
        <p:blipFill>
          <a:blip r:embed="rId23"/>
          <a:stretch>
            <a:fillRect/>
          </a:stretch>
        </p:blipFill>
        <p:spPr>
          <a:xfrm>
            <a:off x="506302" y="1287183"/>
            <a:ext cx="275994" cy="275994"/>
          </a:xfrm>
          <a:prstGeom prst="rect">
            <a:avLst/>
          </a:prstGeom>
        </p:spPr>
      </p:pic>
      <p:grpSp>
        <p:nvGrpSpPr>
          <p:cNvPr id="99" name="Group 98"/>
          <p:cNvGrpSpPr/>
          <p:nvPr/>
        </p:nvGrpSpPr>
        <p:grpSpPr>
          <a:xfrm>
            <a:off x="1469473" y="1591358"/>
            <a:ext cx="775304" cy="746126"/>
            <a:chOff x="1512068" y="1040650"/>
            <a:chExt cx="570128" cy="548672"/>
          </a:xfrm>
        </p:grpSpPr>
        <p:sp>
          <p:nvSpPr>
            <p:cNvPr id="100" name="TextBox 99"/>
            <p:cNvSpPr txBox="1"/>
            <p:nvPr/>
          </p:nvSpPr>
          <p:spPr>
            <a:xfrm>
              <a:off x="1512068" y="1219985"/>
              <a:ext cx="570128" cy="369337"/>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Plan Product,</a:t>
              </a:r>
            </a:p>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Source parts</a:t>
              </a:r>
            </a:p>
          </p:txBody>
        </p:sp>
        <p:sp>
          <p:nvSpPr>
            <p:cNvPr id="101" name="Oval 100"/>
            <p:cNvSpPr/>
            <p:nvPr/>
          </p:nvSpPr>
          <p:spPr>
            <a:xfrm>
              <a:off x="1751342" y="1040650"/>
              <a:ext cx="88440" cy="8844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pic>
        <p:nvPicPr>
          <p:cNvPr id="102" name="Picture 101"/>
          <p:cNvPicPr>
            <a:picLocks noChangeAspect="1"/>
          </p:cNvPicPr>
          <p:nvPr/>
        </p:nvPicPr>
        <p:blipFill>
          <a:blip r:embed="rId24"/>
          <a:stretch>
            <a:fillRect/>
          </a:stretch>
        </p:blipFill>
        <p:spPr>
          <a:xfrm>
            <a:off x="1713857" y="1256498"/>
            <a:ext cx="268649" cy="268649"/>
          </a:xfrm>
          <a:prstGeom prst="rect">
            <a:avLst/>
          </a:prstGeom>
        </p:spPr>
      </p:pic>
      <p:grpSp>
        <p:nvGrpSpPr>
          <p:cNvPr id="103" name="Group 102"/>
          <p:cNvGrpSpPr/>
          <p:nvPr/>
        </p:nvGrpSpPr>
        <p:grpSpPr>
          <a:xfrm>
            <a:off x="2902405" y="1593411"/>
            <a:ext cx="813989" cy="422362"/>
            <a:chOff x="2142823" y="1138743"/>
            <a:chExt cx="598576" cy="310589"/>
          </a:xfrm>
        </p:grpSpPr>
        <p:sp>
          <p:nvSpPr>
            <p:cNvPr id="104" name="TextBox 103"/>
            <p:cNvSpPr txBox="1"/>
            <p:nvPr/>
          </p:nvSpPr>
          <p:spPr>
            <a:xfrm>
              <a:off x="2142823" y="1326219"/>
              <a:ext cx="598576" cy="123113"/>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Manufacture</a:t>
              </a:r>
            </a:p>
          </p:txBody>
        </p:sp>
        <p:sp>
          <p:nvSpPr>
            <p:cNvPr id="105" name="Oval 104"/>
            <p:cNvSpPr/>
            <p:nvPr/>
          </p:nvSpPr>
          <p:spPr>
            <a:xfrm>
              <a:off x="2361668" y="1138743"/>
              <a:ext cx="88440" cy="8844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pic>
        <p:nvPicPr>
          <p:cNvPr id="106" name="Picture 105"/>
          <p:cNvPicPr>
            <a:picLocks noChangeAspect="1"/>
          </p:cNvPicPr>
          <p:nvPr/>
        </p:nvPicPr>
        <p:blipFill>
          <a:blip r:embed="rId25"/>
          <a:stretch>
            <a:fillRect/>
          </a:stretch>
        </p:blipFill>
        <p:spPr>
          <a:xfrm>
            <a:off x="3118146" y="1238058"/>
            <a:ext cx="268649" cy="268649"/>
          </a:xfrm>
          <a:prstGeom prst="rect">
            <a:avLst/>
          </a:prstGeom>
        </p:spPr>
      </p:pic>
      <p:grpSp>
        <p:nvGrpSpPr>
          <p:cNvPr id="107" name="Group 106"/>
          <p:cNvGrpSpPr/>
          <p:nvPr/>
        </p:nvGrpSpPr>
        <p:grpSpPr>
          <a:xfrm>
            <a:off x="4101052" y="1579913"/>
            <a:ext cx="775304" cy="740253"/>
            <a:chOff x="2773578" y="1054627"/>
            <a:chExt cx="570128" cy="544353"/>
          </a:xfrm>
        </p:grpSpPr>
        <p:sp>
          <p:nvSpPr>
            <p:cNvPr id="108" name="TextBox 107"/>
            <p:cNvSpPr txBox="1"/>
            <p:nvPr/>
          </p:nvSpPr>
          <p:spPr>
            <a:xfrm>
              <a:off x="2773578" y="1229643"/>
              <a:ext cx="570128" cy="369337"/>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Deliver</a:t>
              </a:r>
            </a:p>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Product to</a:t>
              </a:r>
            </a:p>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Channel</a:t>
              </a:r>
            </a:p>
          </p:txBody>
        </p:sp>
        <p:sp>
          <p:nvSpPr>
            <p:cNvPr id="109" name="Oval 108"/>
            <p:cNvSpPr/>
            <p:nvPr/>
          </p:nvSpPr>
          <p:spPr>
            <a:xfrm>
              <a:off x="3013925" y="1054627"/>
              <a:ext cx="88440" cy="8844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pic>
        <p:nvPicPr>
          <p:cNvPr id="110" name="Picture 109" descr="Automatically generated description: text, sign, vector graphics"/>
          <p:cNvPicPr>
            <a:picLocks noChangeAspect="1"/>
          </p:cNvPicPr>
          <p:nvPr/>
        </p:nvPicPr>
        <p:blipFill>
          <a:blip r:embed="rId26"/>
          <a:stretch>
            <a:fillRect/>
          </a:stretch>
        </p:blipFill>
        <p:spPr>
          <a:xfrm>
            <a:off x="4328662" y="1225170"/>
            <a:ext cx="324370" cy="324370"/>
          </a:xfrm>
          <a:prstGeom prst="rect">
            <a:avLst/>
          </a:prstGeom>
        </p:spPr>
      </p:pic>
      <p:grpSp>
        <p:nvGrpSpPr>
          <p:cNvPr id="111" name="Group 110"/>
          <p:cNvGrpSpPr/>
          <p:nvPr/>
        </p:nvGrpSpPr>
        <p:grpSpPr>
          <a:xfrm>
            <a:off x="5300641" y="1577953"/>
            <a:ext cx="775304" cy="600017"/>
            <a:chOff x="3365703" y="900880"/>
            <a:chExt cx="570128" cy="441229"/>
          </a:xfrm>
        </p:grpSpPr>
        <p:sp>
          <p:nvSpPr>
            <p:cNvPr id="112" name="TextBox 111"/>
            <p:cNvSpPr txBox="1"/>
            <p:nvPr/>
          </p:nvSpPr>
          <p:spPr>
            <a:xfrm>
              <a:off x="3365703" y="1095884"/>
              <a:ext cx="570128" cy="246225"/>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Customer</a:t>
              </a:r>
            </a:p>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 Purchase</a:t>
              </a:r>
            </a:p>
          </p:txBody>
        </p:sp>
        <p:sp>
          <p:nvSpPr>
            <p:cNvPr id="113" name="Oval 112"/>
            <p:cNvSpPr/>
            <p:nvPr/>
          </p:nvSpPr>
          <p:spPr>
            <a:xfrm>
              <a:off x="3610275" y="900880"/>
              <a:ext cx="88440" cy="8844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sp>
        <p:nvSpPr>
          <p:cNvPr id="114" name="Freeform 90"/>
          <p:cNvSpPr>
            <a:spLocks noEditPoints="1"/>
          </p:cNvSpPr>
          <p:nvPr/>
        </p:nvSpPr>
        <p:spPr bwMode="black">
          <a:xfrm>
            <a:off x="5570939" y="1272478"/>
            <a:ext cx="205492" cy="225451"/>
          </a:xfrm>
          <a:custGeom>
            <a:avLst/>
            <a:gdLst>
              <a:gd name="T0" fmla="*/ 278 w 278"/>
              <a:gd name="T1" fmla="*/ 57 h 305"/>
              <a:gd name="T2" fmla="*/ 277 w 278"/>
              <a:gd name="T3" fmla="*/ 54 h 305"/>
              <a:gd name="T4" fmla="*/ 276 w 278"/>
              <a:gd name="T5" fmla="*/ 52 h 305"/>
              <a:gd name="T6" fmla="*/ 274 w 278"/>
              <a:gd name="T7" fmla="*/ 49 h 305"/>
              <a:gd name="T8" fmla="*/ 272 w 278"/>
              <a:gd name="T9" fmla="*/ 47 h 305"/>
              <a:gd name="T10" fmla="*/ 270 w 278"/>
              <a:gd name="T11" fmla="*/ 46 h 305"/>
              <a:gd name="T12" fmla="*/ 267 w 278"/>
              <a:gd name="T13" fmla="*/ 45 h 305"/>
              <a:gd name="T14" fmla="*/ 265 w 278"/>
              <a:gd name="T15" fmla="*/ 44 h 305"/>
              <a:gd name="T16" fmla="*/ 263 w 278"/>
              <a:gd name="T17" fmla="*/ 44 h 305"/>
              <a:gd name="T18" fmla="*/ 32 w 278"/>
              <a:gd name="T19" fmla="*/ 13 h 305"/>
              <a:gd name="T20" fmla="*/ 2 w 278"/>
              <a:gd name="T21" fmla="*/ 21 h 305"/>
              <a:gd name="T22" fmla="*/ 63 w 278"/>
              <a:gd name="T23" fmla="*/ 256 h 305"/>
              <a:gd name="T24" fmla="*/ 65 w 278"/>
              <a:gd name="T25" fmla="*/ 259 h 305"/>
              <a:gd name="T26" fmla="*/ 66 w 278"/>
              <a:gd name="T27" fmla="*/ 261 h 305"/>
              <a:gd name="T28" fmla="*/ 68 w 278"/>
              <a:gd name="T29" fmla="*/ 263 h 305"/>
              <a:gd name="T30" fmla="*/ 71 w 278"/>
              <a:gd name="T31" fmla="*/ 265 h 305"/>
              <a:gd name="T32" fmla="*/ 72 w 278"/>
              <a:gd name="T33" fmla="*/ 265 h 305"/>
              <a:gd name="T34" fmla="*/ 119 w 278"/>
              <a:gd name="T35" fmla="*/ 266 h 305"/>
              <a:gd name="T36" fmla="*/ 211 w 278"/>
              <a:gd name="T37" fmla="*/ 254 h 305"/>
              <a:gd name="T38" fmla="*/ 248 w 278"/>
              <a:gd name="T39" fmla="*/ 251 h 305"/>
              <a:gd name="T40" fmla="*/ 89 w 278"/>
              <a:gd name="T41" fmla="*/ 236 h 305"/>
              <a:gd name="T42" fmla="*/ 248 w 278"/>
              <a:gd name="T43" fmla="*/ 179 h 305"/>
              <a:gd name="T44" fmla="*/ 251 w 278"/>
              <a:gd name="T45" fmla="*/ 179 h 305"/>
              <a:gd name="T46" fmla="*/ 254 w 278"/>
              <a:gd name="T47" fmla="*/ 178 h 305"/>
              <a:gd name="T48" fmla="*/ 256 w 278"/>
              <a:gd name="T49" fmla="*/ 177 h 305"/>
              <a:gd name="T50" fmla="*/ 258 w 278"/>
              <a:gd name="T51" fmla="*/ 175 h 305"/>
              <a:gd name="T52" fmla="*/ 260 w 278"/>
              <a:gd name="T53" fmla="*/ 173 h 305"/>
              <a:gd name="T54" fmla="*/ 261 w 278"/>
              <a:gd name="T55" fmla="*/ 170 h 305"/>
              <a:gd name="T56" fmla="*/ 262 w 278"/>
              <a:gd name="T57" fmla="*/ 168 h 305"/>
              <a:gd name="T58" fmla="*/ 263 w 278"/>
              <a:gd name="T59" fmla="*/ 166 h 305"/>
              <a:gd name="T60" fmla="*/ 278 w 278"/>
              <a:gd name="T61" fmla="*/ 60 h 305"/>
              <a:gd name="T62" fmla="*/ 278 w 278"/>
              <a:gd name="T63" fmla="*/ 59 h 305"/>
              <a:gd name="T64" fmla="*/ 66 w 278"/>
              <a:gd name="T65" fmla="*/ 149 h 305"/>
              <a:gd name="T66" fmla="*/ 238 w 278"/>
              <a:gd name="T67" fmla="*/ 126 h 305"/>
              <a:gd name="T68" fmla="*/ 242 w 278"/>
              <a:gd name="T69" fmla="*/ 96 h 305"/>
              <a:gd name="T70" fmla="*/ 47 w 278"/>
              <a:gd name="T71" fmla="*/ 74 h 305"/>
              <a:gd name="T72" fmla="*/ 242 w 278"/>
              <a:gd name="T73" fmla="*/ 96 h 305"/>
              <a:gd name="T74" fmla="*/ 95 w 278"/>
              <a:gd name="T75" fmla="*/ 305 h 305"/>
              <a:gd name="T76" fmla="*/ 95 w 278"/>
              <a:gd name="T77" fmla="*/ 263 h 305"/>
              <a:gd name="T78" fmla="*/ 232 w 278"/>
              <a:gd name="T79" fmla="*/ 284 h 305"/>
              <a:gd name="T80" fmla="*/ 190 w 278"/>
              <a:gd name="T81" fmla="*/ 284 h 305"/>
              <a:gd name="T82" fmla="*/ 232 w 278"/>
              <a:gd name="T83" fmla="*/ 28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 h="305">
                <a:moveTo>
                  <a:pt x="278" y="59"/>
                </a:moveTo>
                <a:cubicBezTo>
                  <a:pt x="278" y="58"/>
                  <a:pt x="278" y="57"/>
                  <a:pt x="278" y="57"/>
                </a:cubicBezTo>
                <a:cubicBezTo>
                  <a:pt x="278" y="56"/>
                  <a:pt x="278" y="56"/>
                  <a:pt x="278" y="56"/>
                </a:cubicBezTo>
                <a:cubicBezTo>
                  <a:pt x="277" y="55"/>
                  <a:pt x="277" y="55"/>
                  <a:pt x="277" y="54"/>
                </a:cubicBezTo>
                <a:cubicBezTo>
                  <a:pt x="277" y="54"/>
                  <a:pt x="277" y="53"/>
                  <a:pt x="277" y="53"/>
                </a:cubicBezTo>
                <a:cubicBezTo>
                  <a:pt x="276" y="52"/>
                  <a:pt x="276" y="52"/>
                  <a:pt x="276" y="52"/>
                </a:cubicBezTo>
                <a:cubicBezTo>
                  <a:pt x="276" y="51"/>
                  <a:pt x="275" y="51"/>
                  <a:pt x="275" y="50"/>
                </a:cubicBezTo>
                <a:cubicBezTo>
                  <a:pt x="275" y="50"/>
                  <a:pt x="275" y="50"/>
                  <a:pt x="274" y="49"/>
                </a:cubicBezTo>
                <a:cubicBezTo>
                  <a:pt x="274" y="49"/>
                  <a:pt x="274" y="48"/>
                  <a:pt x="273" y="48"/>
                </a:cubicBezTo>
                <a:cubicBezTo>
                  <a:pt x="273" y="48"/>
                  <a:pt x="273" y="48"/>
                  <a:pt x="272" y="47"/>
                </a:cubicBezTo>
                <a:cubicBezTo>
                  <a:pt x="272" y="47"/>
                  <a:pt x="271" y="47"/>
                  <a:pt x="271" y="46"/>
                </a:cubicBezTo>
                <a:cubicBezTo>
                  <a:pt x="271" y="46"/>
                  <a:pt x="270" y="46"/>
                  <a:pt x="270" y="46"/>
                </a:cubicBezTo>
                <a:cubicBezTo>
                  <a:pt x="269" y="45"/>
                  <a:pt x="269" y="45"/>
                  <a:pt x="268" y="45"/>
                </a:cubicBezTo>
                <a:cubicBezTo>
                  <a:pt x="268" y="45"/>
                  <a:pt x="268" y="45"/>
                  <a:pt x="267" y="45"/>
                </a:cubicBezTo>
                <a:cubicBezTo>
                  <a:pt x="267" y="44"/>
                  <a:pt x="266" y="44"/>
                  <a:pt x="266" y="44"/>
                </a:cubicBezTo>
                <a:cubicBezTo>
                  <a:pt x="265" y="44"/>
                  <a:pt x="265" y="44"/>
                  <a:pt x="265" y="44"/>
                </a:cubicBezTo>
                <a:cubicBezTo>
                  <a:pt x="265" y="44"/>
                  <a:pt x="264" y="44"/>
                  <a:pt x="264" y="44"/>
                </a:cubicBezTo>
                <a:cubicBezTo>
                  <a:pt x="264" y="44"/>
                  <a:pt x="263" y="44"/>
                  <a:pt x="263" y="44"/>
                </a:cubicBezTo>
                <a:cubicBezTo>
                  <a:pt x="39" y="44"/>
                  <a:pt x="39" y="44"/>
                  <a:pt x="39" y="44"/>
                </a:cubicBezTo>
                <a:cubicBezTo>
                  <a:pt x="32" y="13"/>
                  <a:pt x="32" y="13"/>
                  <a:pt x="32" y="13"/>
                </a:cubicBezTo>
                <a:cubicBezTo>
                  <a:pt x="29" y="5"/>
                  <a:pt x="21" y="0"/>
                  <a:pt x="13" y="2"/>
                </a:cubicBezTo>
                <a:cubicBezTo>
                  <a:pt x="5" y="5"/>
                  <a:pt x="0" y="13"/>
                  <a:pt x="2" y="21"/>
                </a:cubicBezTo>
                <a:cubicBezTo>
                  <a:pt x="62" y="255"/>
                  <a:pt x="62" y="255"/>
                  <a:pt x="62" y="255"/>
                </a:cubicBezTo>
                <a:cubicBezTo>
                  <a:pt x="63" y="255"/>
                  <a:pt x="63" y="256"/>
                  <a:pt x="63" y="256"/>
                </a:cubicBezTo>
                <a:cubicBezTo>
                  <a:pt x="63" y="256"/>
                  <a:pt x="63" y="257"/>
                  <a:pt x="63" y="257"/>
                </a:cubicBezTo>
                <a:cubicBezTo>
                  <a:pt x="64" y="258"/>
                  <a:pt x="64" y="259"/>
                  <a:pt x="65" y="259"/>
                </a:cubicBezTo>
                <a:cubicBezTo>
                  <a:pt x="65" y="259"/>
                  <a:pt x="65" y="259"/>
                  <a:pt x="65" y="259"/>
                </a:cubicBezTo>
                <a:cubicBezTo>
                  <a:pt x="65" y="260"/>
                  <a:pt x="66" y="261"/>
                  <a:pt x="66" y="261"/>
                </a:cubicBezTo>
                <a:cubicBezTo>
                  <a:pt x="66" y="262"/>
                  <a:pt x="67" y="262"/>
                  <a:pt x="67" y="262"/>
                </a:cubicBezTo>
                <a:cubicBezTo>
                  <a:pt x="67" y="262"/>
                  <a:pt x="68" y="263"/>
                  <a:pt x="68" y="263"/>
                </a:cubicBezTo>
                <a:cubicBezTo>
                  <a:pt x="69" y="263"/>
                  <a:pt x="69" y="264"/>
                  <a:pt x="69" y="264"/>
                </a:cubicBezTo>
                <a:cubicBezTo>
                  <a:pt x="70" y="264"/>
                  <a:pt x="70" y="264"/>
                  <a:pt x="71" y="265"/>
                </a:cubicBezTo>
                <a:cubicBezTo>
                  <a:pt x="71" y="265"/>
                  <a:pt x="71" y="265"/>
                  <a:pt x="72" y="265"/>
                </a:cubicBezTo>
                <a:cubicBezTo>
                  <a:pt x="72" y="265"/>
                  <a:pt x="72" y="265"/>
                  <a:pt x="72" y="265"/>
                </a:cubicBezTo>
                <a:cubicBezTo>
                  <a:pt x="77" y="258"/>
                  <a:pt x="86" y="254"/>
                  <a:pt x="95" y="254"/>
                </a:cubicBezTo>
                <a:cubicBezTo>
                  <a:pt x="105" y="254"/>
                  <a:pt x="113" y="259"/>
                  <a:pt x="119" y="266"/>
                </a:cubicBezTo>
                <a:cubicBezTo>
                  <a:pt x="187" y="266"/>
                  <a:pt x="187" y="266"/>
                  <a:pt x="187" y="266"/>
                </a:cubicBezTo>
                <a:cubicBezTo>
                  <a:pt x="193" y="259"/>
                  <a:pt x="201" y="254"/>
                  <a:pt x="211" y="254"/>
                </a:cubicBezTo>
                <a:cubicBezTo>
                  <a:pt x="221" y="254"/>
                  <a:pt x="229" y="259"/>
                  <a:pt x="235" y="266"/>
                </a:cubicBezTo>
                <a:cubicBezTo>
                  <a:pt x="242" y="265"/>
                  <a:pt x="248" y="259"/>
                  <a:pt x="248" y="251"/>
                </a:cubicBezTo>
                <a:cubicBezTo>
                  <a:pt x="248" y="243"/>
                  <a:pt x="241" y="236"/>
                  <a:pt x="233" y="236"/>
                </a:cubicBezTo>
                <a:cubicBezTo>
                  <a:pt x="89" y="236"/>
                  <a:pt x="89" y="236"/>
                  <a:pt x="89" y="236"/>
                </a:cubicBezTo>
                <a:cubicBezTo>
                  <a:pt x="74" y="179"/>
                  <a:pt x="74" y="179"/>
                  <a:pt x="74" y="179"/>
                </a:cubicBezTo>
                <a:cubicBezTo>
                  <a:pt x="248" y="179"/>
                  <a:pt x="248" y="179"/>
                  <a:pt x="248" y="179"/>
                </a:cubicBezTo>
                <a:cubicBezTo>
                  <a:pt x="248" y="179"/>
                  <a:pt x="248" y="179"/>
                  <a:pt x="248" y="179"/>
                </a:cubicBezTo>
                <a:cubicBezTo>
                  <a:pt x="249" y="179"/>
                  <a:pt x="250" y="179"/>
                  <a:pt x="251" y="179"/>
                </a:cubicBezTo>
                <a:cubicBezTo>
                  <a:pt x="251" y="179"/>
                  <a:pt x="251" y="179"/>
                  <a:pt x="252" y="178"/>
                </a:cubicBezTo>
                <a:cubicBezTo>
                  <a:pt x="252" y="178"/>
                  <a:pt x="253" y="178"/>
                  <a:pt x="254" y="178"/>
                </a:cubicBezTo>
                <a:cubicBezTo>
                  <a:pt x="254" y="178"/>
                  <a:pt x="254" y="178"/>
                  <a:pt x="255" y="177"/>
                </a:cubicBezTo>
                <a:cubicBezTo>
                  <a:pt x="255" y="177"/>
                  <a:pt x="256" y="177"/>
                  <a:pt x="256" y="177"/>
                </a:cubicBezTo>
                <a:cubicBezTo>
                  <a:pt x="256" y="176"/>
                  <a:pt x="257" y="176"/>
                  <a:pt x="257" y="176"/>
                </a:cubicBezTo>
                <a:cubicBezTo>
                  <a:pt x="257" y="176"/>
                  <a:pt x="258" y="175"/>
                  <a:pt x="258" y="175"/>
                </a:cubicBezTo>
                <a:cubicBezTo>
                  <a:pt x="259" y="175"/>
                  <a:pt x="259" y="174"/>
                  <a:pt x="259" y="174"/>
                </a:cubicBezTo>
                <a:cubicBezTo>
                  <a:pt x="259" y="174"/>
                  <a:pt x="260" y="173"/>
                  <a:pt x="260" y="173"/>
                </a:cubicBezTo>
                <a:cubicBezTo>
                  <a:pt x="260" y="173"/>
                  <a:pt x="261" y="172"/>
                  <a:pt x="261" y="172"/>
                </a:cubicBezTo>
                <a:cubicBezTo>
                  <a:pt x="261" y="171"/>
                  <a:pt x="261" y="171"/>
                  <a:pt x="261" y="170"/>
                </a:cubicBezTo>
                <a:cubicBezTo>
                  <a:pt x="262" y="170"/>
                  <a:pt x="262" y="170"/>
                  <a:pt x="262" y="169"/>
                </a:cubicBezTo>
                <a:cubicBezTo>
                  <a:pt x="262" y="169"/>
                  <a:pt x="262" y="168"/>
                  <a:pt x="262" y="168"/>
                </a:cubicBezTo>
                <a:cubicBezTo>
                  <a:pt x="263" y="167"/>
                  <a:pt x="263" y="167"/>
                  <a:pt x="263" y="167"/>
                </a:cubicBezTo>
                <a:cubicBezTo>
                  <a:pt x="263" y="166"/>
                  <a:pt x="263" y="166"/>
                  <a:pt x="263" y="166"/>
                </a:cubicBezTo>
                <a:cubicBezTo>
                  <a:pt x="278" y="61"/>
                  <a:pt x="278" y="61"/>
                  <a:pt x="278" y="61"/>
                </a:cubicBezTo>
                <a:cubicBezTo>
                  <a:pt x="278" y="61"/>
                  <a:pt x="278" y="60"/>
                  <a:pt x="278" y="60"/>
                </a:cubicBezTo>
                <a:cubicBezTo>
                  <a:pt x="278" y="60"/>
                  <a:pt x="278" y="59"/>
                  <a:pt x="278" y="59"/>
                </a:cubicBezTo>
                <a:cubicBezTo>
                  <a:pt x="278" y="59"/>
                  <a:pt x="278" y="59"/>
                  <a:pt x="278" y="59"/>
                </a:cubicBezTo>
                <a:close/>
                <a:moveTo>
                  <a:pt x="235" y="149"/>
                </a:moveTo>
                <a:cubicBezTo>
                  <a:pt x="66" y="149"/>
                  <a:pt x="66" y="149"/>
                  <a:pt x="66" y="149"/>
                </a:cubicBezTo>
                <a:cubicBezTo>
                  <a:pt x="61" y="126"/>
                  <a:pt x="61" y="126"/>
                  <a:pt x="61" y="126"/>
                </a:cubicBezTo>
                <a:cubicBezTo>
                  <a:pt x="238" y="126"/>
                  <a:pt x="238" y="126"/>
                  <a:pt x="238" y="126"/>
                </a:cubicBezTo>
                <a:lnTo>
                  <a:pt x="235" y="149"/>
                </a:lnTo>
                <a:close/>
                <a:moveTo>
                  <a:pt x="242" y="96"/>
                </a:moveTo>
                <a:cubicBezTo>
                  <a:pt x="53" y="96"/>
                  <a:pt x="53" y="96"/>
                  <a:pt x="53" y="96"/>
                </a:cubicBezTo>
                <a:cubicBezTo>
                  <a:pt x="47" y="74"/>
                  <a:pt x="47" y="74"/>
                  <a:pt x="47" y="74"/>
                </a:cubicBezTo>
                <a:cubicBezTo>
                  <a:pt x="246" y="74"/>
                  <a:pt x="246" y="74"/>
                  <a:pt x="246" y="74"/>
                </a:cubicBezTo>
                <a:lnTo>
                  <a:pt x="242" y="96"/>
                </a:lnTo>
                <a:close/>
                <a:moveTo>
                  <a:pt x="116" y="284"/>
                </a:moveTo>
                <a:cubicBezTo>
                  <a:pt x="116" y="296"/>
                  <a:pt x="107" y="305"/>
                  <a:pt x="95" y="305"/>
                </a:cubicBezTo>
                <a:cubicBezTo>
                  <a:pt x="83" y="305"/>
                  <a:pt x="74" y="296"/>
                  <a:pt x="74" y="284"/>
                </a:cubicBezTo>
                <a:cubicBezTo>
                  <a:pt x="74" y="272"/>
                  <a:pt x="83" y="263"/>
                  <a:pt x="95" y="263"/>
                </a:cubicBezTo>
                <a:cubicBezTo>
                  <a:pt x="107" y="263"/>
                  <a:pt x="116" y="272"/>
                  <a:pt x="116" y="284"/>
                </a:cubicBezTo>
                <a:close/>
                <a:moveTo>
                  <a:pt x="232" y="284"/>
                </a:moveTo>
                <a:cubicBezTo>
                  <a:pt x="232" y="296"/>
                  <a:pt x="223" y="305"/>
                  <a:pt x="211" y="305"/>
                </a:cubicBezTo>
                <a:cubicBezTo>
                  <a:pt x="200" y="305"/>
                  <a:pt x="190" y="296"/>
                  <a:pt x="190" y="284"/>
                </a:cubicBezTo>
                <a:cubicBezTo>
                  <a:pt x="190" y="272"/>
                  <a:pt x="200" y="263"/>
                  <a:pt x="211" y="263"/>
                </a:cubicBezTo>
                <a:cubicBezTo>
                  <a:pt x="223" y="263"/>
                  <a:pt x="232" y="272"/>
                  <a:pt x="232" y="284"/>
                </a:cubicBezTo>
                <a:close/>
              </a:path>
            </a:pathLst>
          </a:custGeom>
          <a:solidFill>
            <a:schemeClr val="accent4"/>
          </a:solidFill>
          <a:ln>
            <a:noFill/>
          </a:ln>
          <a:extLst/>
        </p:spPr>
        <p:txBody>
          <a:bodyPr vert="horz" wrap="square" lIns="111925" tIns="55963" rIns="111925" bIns="55963" numCol="1" anchor="t" anchorCtr="0" compatLnSpc="1">
            <a:prstTxWarp prst="textNoShape">
              <a:avLst/>
            </a:prstTxWarp>
          </a:bodyPr>
          <a:lstStyle/>
          <a:p>
            <a:pPr marL="0" marR="0" lvl="0" indent="0" algn="l" defTabSz="932596" rtl="0" eaLnBrk="1" fontAlgn="auto" latinLnBrk="0" hangingPunct="1">
              <a:lnSpc>
                <a:spcPct val="100000"/>
              </a:lnSpc>
              <a:spcBef>
                <a:spcPts val="0"/>
              </a:spcBef>
              <a:spcAft>
                <a:spcPts val="0"/>
              </a:spcAft>
              <a:buClrTx/>
              <a:buSzTx/>
              <a:buFontTx/>
              <a:buNone/>
              <a:tabLst/>
              <a:defRPr/>
            </a:pPr>
            <a:endParaRPr kumimoji="0" lang="en-US" sz="2176" b="0" i="0" u="none" strike="noStrike" kern="1200" cap="none" spc="0" normalizeH="0" baseline="0" noProof="0">
              <a:ln>
                <a:noFill/>
              </a:ln>
              <a:solidFill>
                <a:srgbClr val="373A3C"/>
              </a:solidFill>
              <a:effectLst/>
              <a:uLnTx/>
              <a:uFillTx/>
              <a:latin typeface="Segoe UI"/>
              <a:ea typeface="+mn-ea"/>
              <a:cs typeface="+mn-cs"/>
            </a:endParaRPr>
          </a:p>
        </p:txBody>
      </p:sp>
      <p:grpSp>
        <p:nvGrpSpPr>
          <p:cNvPr id="115" name="Group 114"/>
          <p:cNvGrpSpPr/>
          <p:nvPr/>
        </p:nvGrpSpPr>
        <p:grpSpPr>
          <a:xfrm>
            <a:off x="6351509" y="1605997"/>
            <a:ext cx="775304" cy="448719"/>
            <a:chOff x="3979757" y="928753"/>
            <a:chExt cx="570128" cy="329969"/>
          </a:xfrm>
        </p:grpSpPr>
        <p:sp>
          <p:nvSpPr>
            <p:cNvPr id="116" name="TextBox 115"/>
            <p:cNvSpPr txBox="1"/>
            <p:nvPr/>
          </p:nvSpPr>
          <p:spPr>
            <a:xfrm>
              <a:off x="3979757" y="1135610"/>
              <a:ext cx="570128" cy="123112"/>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Activation</a:t>
              </a:r>
            </a:p>
          </p:txBody>
        </p:sp>
        <p:sp>
          <p:nvSpPr>
            <p:cNvPr id="117" name="Oval 116"/>
            <p:cNvSpPr/>
            <p:nvPr/>
          </p:nvSpPr>
          <p:spPr>
            <a:xfrm>
              <a:off x="4220602" y="928753"/>
              <a:ext cx="88440" cy="8844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sp>
        <p:nvSpPr>
          <p:cNvPr id="118" name="Freeform 61"/>
          <p:cNvSpPr>
            <a:spLocks noEditPoints="1"/>
          </p:cNvSpPr>
          <p:nvPr/>
        </p:nvSpPr>
        <p:spPr bwMode="black">
          <a:xfrm>
            <a:off x="6636586" y="1240120"/>
            <a:ext cx="218052" cy="273205"/>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solidFill>
            <a:schemeClr val="accent4"/>
          </a:solidFill>
          <a:ln>
            <a:noFill/>
          </a:ln>
        </p:spPr>
        <p:txBody>
          <a:bodyPr vert="horz" wrap="square" lIns="111925" tIns="55963" rIns="111925" bIns="55963" numCol="1" anchor="t" anchorCtr="0" compatLnSpc="1">
            <a:prstTxWarp prst="textNoShape">
              <a:avLst/>
            </a:prstTxWarp>
          </a:bodyPr>
          <a:lstStyle/>
          <a:p>
            <a:pPr marL="0" marR="0" lvl="0" indent="0" algn="l" defTabSz="932596" rtl="0" eaLnBrk="1" fontAlgn="auto" latinLnBrk="0" hangingPunct="1">
              <a:lnSpc>
                <a:spcPct val="100000"/>
              </a:lnSpc>
              <a:spcBef>
                <a:spcPts val="0"/>
              </a:spcBef>
              <a:spcAft>
                <a:spcPts val="0"/>
              </a:spcAft>
              <a:buClrTx/>
              <a:buSzTx/>
              <a:buFontTx/>
              <a:buNone/>
              <a:tabLst/>
              <a:defRPr/>
            </a:pPr>
            <a:endParaRPr kumimoji="0" lang="en-US" sz="2176" b="0" i="0" u="none" strike="noStrike" kern="1200" cap="none" spc="0" normalizeH="0" baseline="0" noProof="0">
              <a:ln>
                <a:noFill/>
              </a:ln>
              <a:solidFill>
                <a:srgbClr val="373A3C"/>
              </a:solidFill>
              <a:effectLst/>
              <a:uLnTx/>
              <a:uFillTx/>
              <a:latin typeface="Segoe UI"/>
              <a:ea typeface="+mn-ea"/>
              <a:cs typeface="+mn-cs"/>
            </a:endParaRPr>
          </a:p>
        </p:txBody>
      </p:sp>
      <p:grpSp>
        <p:nvGrpSpPr>
          <p:cNvPr id="119" name="Group 118"/>
          <p:cNvGrpSpPr/>
          <p:nvPr/>
        </p:nvGrpSpPr>
        <p:grpSpPr>
          <a:xfrm>
            <a:off x="7477487" y="1594311"/>
            <a:ext cx="775304" cy="717084"/>
            <a:chOff x="3977143" y="928753"/>
            <a:chExt cx="570128" cy="527314"/>
          </a:xfrm>
        </p:grpSpPr>
        <p:sp>
          <p:nvSpPr>
            <p:cNvPr id="120" name="TextBox 119"/>
            <p:cNvSpPr txBox="1"/>
            <p:nvPr/>
          </p:nvSpPr>
          <p:spPr>
            <a:xfrm>
              <a:off x="3977143" y="1086731"/>
              <a:ext cx="570128" cy="369336"/>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Usage </a:t>
              </a:r>
            </a:p>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amp;</a:t>
              </a:r>
            </a:p>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68217A"/>
                  </a:solidFill>
                  <a:effectLst/>
                  <a:uLnTx/>
                  <a:uFillTx/>
                  <a:latin typeface="Segoe UI"/>
                  <a:ea typeface="+mn-ea"/>
                  <a:cs typeface="+mn-cs"/>
                </a:rPr>
                <a:t>Telemetry</a:t>
              </a:r>
            </a:p>
          </p:txBody>
        </p:sp>
        <p:sp>
          <p:nvSpPr>
            <p:cNvPr id="121" name="Oval 120"/>
            <p:cNvSpPr/>
            <p:nvPr/>
          </p:nvSpPr>
          <p:spPr>
            <a:xfrm>
              <a:off x="4220602" y="928753"/>
              <a:ext cx="88440" cy="88440"/>
            </a:xfrm>
            <a:prstGeom prst="ellipse">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sp>
        <p:nvSpPr>
          <p:cNvPr id="122" name="Freeform 73"/>
          <p:cNvSpPr>
            <a:spLocks noChangeAspect="1" noEditPoints="1"/>
          </p:cNvSpPr>
          <p:nvPr/>
        </p:nvSpPr>
        <p:spPr bwMode="black">
          <a:xfrm>
            <a:off x="7708342" y="1238059"/>
            <a:ext cx="269193" cy="259871"/>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chemeClr val="accent4"/>
          </a:solidFill>
          <a:ln>
            <a:noFill/>
          </a:ln>
        </p:spPr>
        <p:txBody>
          <a:bodyPr vert="horz" wrap="square" lIns="83944" tIns="41973" rIns="83944" bIns="41973" numCol="1" anchor="t" anchorCtr="0" compatLnSpc="1">
            <a:prstTxWarp prst="textNoShape">
              <a:avLst/>
            </a:prstTxWarp>
          </a:bodyPr>
          <a:lstStyle/>
          <a:p>
            <a:pPr marL="0" marR="0" lvl="0" indent="0" algn="l" defTabSz="932458"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505050"/>
              </a:solidFill>
              <a:effectLst/>
              <a:uLnTx/>
              <a:uFillTx/>
              <a:latin typeface="Segoe UI"/>
              <a:ea typeface="+mn-ea"/>
              <a:cs typeface="+mn-cs"/>
            </a:endParaRPr>
          </a:p>
        </p:txBody>
      </p:sp>
      <p:grpSp>
        <p:nvGrpSpPr>
          <p:cNvPr id="123" name="Group 122"/>
          <p:cNvGrpSpPr/>
          <p:nvPr/>
        </p:nvGrpSpPr>
        <p:grpSpPr>
          <a:xfrm>
            <a:off x="8683980" y="1602460"/>
            <a:ext cx="775304" cy="717238"/>
            <a:chOff x="5200023" y="1131713"/>
            <a:chExt cx="570128" cy="527429"/>
          </a:xfrm>
        </p:grpSpPr>
        <p:sp>
          <p:nvSpPr>
            <p:cNvPr id="124" name="TextBox 123"/>
            <p:cNvSpPr txBox="1"/>
            <p:nvPr/>
          </p:nvSpPr>
          <p:spPr>
            <a:xfrm>
              <a:off x="5200023" y="1289805"/>
              <a:ext cx="570128" cy="369337"/>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0072C6"/>
                  </a:solidFill>
                  <a:effectLst/>
                  <a:uLnTx/>
                  <a:uFillTx/>
                  <a:latin typeface="Segoe UI"/>
                  <a:ea typeface="+mn-ea"/>
                  <a:cs typeface="+mn-cs"/>
                </a:rPr>
                <a:t>Contact support to</a:t>
              </a:r>
            </a:p>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0072C6"/>
                  </a:solidFill>
                  <a:effectLst/>
                  <a:uLnTx/>
                  <a:uFillTx/>
                  <a:latin typeface="Segoe UI"/>
                  <a:ea typeface="+mn-ea"/>
                  <a:cs typeface="+mn-cs"/>
                </a:rPr>
                <a:t>resolve</a:t>
              </a:r>
            </a:p>
          </p:txBody>
        </p:sp>
        <p:sp>
          <p:nvSpPr>
            <p:cNvPr id="125" name="Oval 124"/>
            <p:cNvSpPr/>
            <p:nvPr/>
          </p:nvSpPr>
          <p:spPr>
            <a:xfrm>
              <a:off x="5436596" y="1131713"/>
              <a:ext cx="88440" cy="8844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pic>
        <p:nvPicPr>
          <p:cNvPr id="126" name="Picture 125"/>
          <p:cNvPicPr>
            <a:picLocks noChangeAspect="1"/>
          </p:cNvPicPr>
          <p:nvPr/>
        </p:nvPicPr>
        <p:blipFill>
          <a:blip r:embed="rId27"/>
          <a:stretch>
            <a:fillRect/>
          </a:stretch>
        </p:blipFill>
        <p:spPr>
          <a:xfrm>
            <a:off x="8931804" y="1262359"/>
            <a:ext cx="244349" cy="244349"/>
          </a:xfrm>
          <a:prstGeom prst="rect">
            <a:avLst/>
          </a:prstGeom>
        </p:spPr>
      </p:pic>
      <p:sp>
        <p:nvSpPr>
          <p:cNvPr id="127" name="Freeform 124"/>
          <p:cNvSpPr>
            <a:spLocks noChangeAspect="1" noEditPoints="1"/>
          </p:cNvSpPr>
          <p:nvPr/>
        </p:nvSpPr>
        <p:spPr bwMode="black">
          <a:xfrm>
            <a:off x="8849796" y="1288532"/>
            <a:ext cx="71523" cy="281271"/>
          </a:xfrm>
          <a:custGeom>
            <a:avLst/>
            <a:gdLst>
              <a:gd name="T0" fmla="*/ 16 w 17"/>
              <a:gd name="T1" fmla="*/ 0 h 69"/>
              <a:gd name="T2" fmla="*/ 14 w 17"/>
              <a:gd name="T3" fmla="*/ 47 h 69"/>
              <a:gd name="T4" fmla="*/ 2 w 17"/>
              <a:gd name="T5" fmla="*/ 47 h 69"/>
              <a:gd name="T6" fmla="*/ 0 w 17"/>
              <a:gd name="T7" fmla="*/ 0 h 69"/>
              <a:gd name="T8" fmla="*/ 16 w 17"/>
              <a:gd name="T9" fmla="*/ 0 h 69"/>
              <a:gd name="T10" fmla="*/ 17 w 17"/>
              <a:gd name="T11" fmla="*/ 61 h 69"/>
              <a:gd name="T12" fmla="*/ 15 w 17"/>
              <a:gd name="T13" fmla="*/ 67 h 69"/>
              <a:gd name="T14" fmla="*/ 8 w 17"/>
              <a:gd name="T15" fmla="*/ 69 h 69"/>
              <a:gd name="T16" fmla="*/ 2 w 17"/>
              <a:gd name="T17" fmla="*/ 67 h 69"/>
              <a:gd name="T18" fmla="*/ 0 w 17"/>
              <a:gd name="T19" fmla="*/ 61 h 69"/>
              <a:gd name="T20" fmla="*/ 2 w 17"/>
              <a:gd name="T21" fmla="*/ 56 h 69"/>
              <a:gd name="T22" fmla="*/ 8 w 17"/>
              <a:gd name="T23" fmla="*/ 54 h 69"/>
              <a:gd name="T24" fmla="*/ 14 w 17"/>
              <a:gd name="T25" fmla="*/ 56 h 69"/>
              <a:gd name="T26" fmla="*/ 17 w 17"/>
              <a:gd name="T27" fmla="*/ 61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69">
                <a:moveTo>
                  <a:pt x="16" y="0"/>
                </a:moveTo>
                <a:cubicBezTo>
                  <a:pt x="14" y="47"/>
                  <a:pt x="14" y="47"/>
                  <a:pt x="14" y="47"/>
                </a:cubicBezTo>
                <a:cubicBezTo>
                  <a:pt x="2" y="47"/>
                  <a:pt x="2" y="47"/>
                  <a:pt x="2" y="47"/>
                </a:cubicBezTo>
                <a:cubicBezTo>
                  <a:pt x="0" y="0"/>
                  <a:pt x="0" y="0"/>
                  <a:pt x="0" y="0"/>
                </a:cubicBezTo>
                <a:lnTo>
                  <a:pt x="16" y="0"/>
                </a:lnTo>
                <a:close/>
                <a:moveTo>
                  <a:pt x="17" y="61"/>
                </a:moveTo>
                <a:cubicBezTo>
                  <a:pt x="17" y="64"/>
                  <a:pt x="16" y="66"/>
                  <a:pt x="15" y="67"/>
                </a:cubicBezTo>
                <a:cubicBezTo>
                  <a:pt x="13" y="69"/>
                  <a:pt x="11" y="69"/>
                  <a:pt x="8" y="69"/>
                </a:cubicBezTo>
                <a:cubicBezTo>
                  <a:pt x="6" y="69"/>
                  <a:pt x="4" y="69"/>
                  <a:pt x="2" y="67"/>
                </a:cubicBezTo>
                <a:cubicBezTo>
                  <a:pt x="0" y="65"/>
                  <a:pt x="0" y="64"/>
                  <a:pt x="0" y="61"/>
                </a:cubicBezTo>
                <a:cubicBezTo>
                  <a:pt x="0" y="59"/>
                  <a:pt x="0" y="57"/>
                  <a:pt x="2" y="56"/>
                </a:cubicBezTo>
                <a:cubicBezTo>
                  <a:pt x="4" y="54"/>
                  <a:pt x="6" y="54"/>
                  <a:pt x="8" y="54"/>
                </a:cubicBezTo>
                <a:cubicBezTo>
                  <a:pt x="11" y="54"/>
                  <a:pt x="13" y="54"/>
                  <a:pt x="14" y="56"/>
                </a:cubicBezTo>
                <a:cubicBezTo>
                  <a:pt x="16" y="57"/>
                  <a:pt x="17" y="59"/>
                  <a:pt x="17" y="61"/>
                </a:cubicBezTo>
              </a:path>
            </a:pathLst>
          </a:custGeom>
          <a:solidFill>
            <a:schemeClr val="accent1"/>
          </a:solidFill>
          <a:ln>
            <a:noFill/>
          </a:ln>
          <a:extLst/>
        </p:spPr>
        <p:txBody>
          <a:bodyPr vert="horz" wrap="square" lIns="124335" tIns="62168" rIns="124335" bIns="62168" numCol="1" anchor="t" anchorCtr="0" compatLnSpc="1">
            <a:prstTxWarp prst="textNoShape">
              <a:avLst/>
            </a:prstTxWarp>
          </a:bodyPr>
          <a:lstStyle/>
          <a:p>
            <a:pPr marL="0" marR="0" lvl="0" indent="0" algn="l" defTabSz="932596" rtl="0" eaLnBrk="1" fontAlgn="auto" latinLnBrk="0" hangingPunct="1">
              <a:lnSpc>
                <a:spcPct val="100000"/>
              </a:lnSpc>
              <a:spcBef>
                <a:spcPts val="0"/>
              </a:spcBef>
              <a:spcAft>
                <a:spcPts val="0"/>
              </a:spcAft>
              <a:buClrTx/>
              <a:buSzTx/>
              <a:buFontTx/>
              <a:buNone/>
              <a:tabLst/>
              <a:defRPr/>
            </a:pPr>
            <a:endParaRPr kumimoji="0" lang="en-US" sz="1904" b="0" i="0" u="none" strike="noStrike" kern="1200" cap="none" spc="0" normalizeH="0" baseline="0" noProof="0">
              <a:ln>
                <a:noFill/>
              </a:ln>
              <a:solidFill>
                <a:srgbClr val="000000"/>
              </a:solidFill>
              <a:effectLst/>
              <a:uLnTx/>
              <a:uFillTx/>
              <a:latin typeface="Segoe UI"/>
              <a:ea typeface="+mn-ea"/>
              <a:cs typeface="+mn-cs"/>
            </a:endParaRPr>
          </a:p>
        </p:txBody>
      </p:sp>
      <p:grpSp>
        <p:nvGrpSpPr>
          <p:cNvPr id="128" name="Group 127"/>
          <p:cNvGrpSpPr/>
          <p:nvPr/>
        </p:nvGrpSpPr>
        <p:grpSpPr>
          <a:xfrm>
            <a:off x="10038214" y="1604328"/>
            <a:ext cx="775304" cy="424356"/>
            <a:chOff x="6422902" y="887627"/>
            <a:chExt cx="570128" cy="312054"/>
          </a:xfrm>
        </p:grpSpPr>
        <p:sp>
          <p:nvSpPr>
            <p:cNvPr id="129" name="TextBox 128"/>
            <p:cNvSpPr txBox="1"/>
            <p:nvPr/>
          </p:nvSpPr>
          <p:spPr>
            <a:xfrm>
              <a:off x="6422902" y="1076569"/>
              <a:ext cx="570128" cy="123112"/>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0072C6"/>
                  </a:solidFill>
                  <a:effectLst/>
                  <a:uLnTx/>
                  <a:uFillTx/>
                  <a:latin typeface="Segoe UI"/>
                  <a:ea typeface="+mn-ea"/>
                  <a:cs typeface="+mn-cs"/>
                </a:rPr>
                <a:t>Repair units</a:t>
              </a:r>
            </a:p>
          </p:txBody>
        </p:sp>
        <p:sp>
          <p:nvSpPr>
            <p:cNvPr id="130" name="Oval 129"/>
            <p:cNvSpPr/>
            <p:nvPr/>
          </p:nvSpPr>
          <p:spPr>
            <a:xfrm>
              <a:off x="6661909" y="887627"/>
              <a:ext cx="88440" cy="8844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pic>
        <p:nvPicPr>
          <p:cNvPr id="131" name="Picture 130"/>
          <p:cNvPicPr>
            <a:picLocks noChangeAspect="1"/>
          </p:cNvPicPr>
          <p:nvPr/>
        </p:nvPicPr>
        <p:blipFill>
          <a:blip r:embed="rId28"/>
          <a:stretch>
            <a:fillRect/>
          </a:stretch>
        </p:blipFill>
        <p:spPr>
          <a:xfrm>
            <a:off x="10292108" y="1322644"/>
            <a:ext cx="240532" cy="240532"/>
          </a:xfrm>
          <a:prstGeom prst="rect">
            <a:avLst/>
          </a:prstGeom>
        </p:spPr>
      </p:pic>
      <p:grpSp>
        <p:nvGrpSpPr>
          <p:cNvPr id="132" name="Group 131"/>
          <p:cNvGrpSpPr/>
          <p:nvPr/>
        </p:nvGrpSpPr>
        <p:grpSpPr>
          <a:xfrm>
            <a:off x="11264793" y="1600659"/>
            <a:ext cx="775304" cy="530732"/>
            <a:chOff x="7645782" y="1143534"/>
            <a:chExt cx="570128" cy="390280"/>
          </a:xfrm>
        </p:grpSpPr>
        <p:sp>
          <p:nvSpPr>
            <p:cNvPr id="133" name="TextBox 132"/>
            <p:cNvSpPr txBox="1"/>
            <p:nvPr/>
          </p:nvSpPr>
          <p:spPr>
            <a:xfrm>
              <a:off x="7645782" y="1287589"/>
              <a:ext cx="570128" cy="246225"/>
            </a:xfrm>
            <a:prstGeom prst="rect">
              <a:avLst/>
            </a:prstGeom>
            <a:noFill/>
            <a:ln>
              <a:noFill/>
            </a:ln>
          </p:spPr>
          <p:txBody>
            <a:bodyPr wrap="square" lIns="0" tIns="0" rIns="0" bIns="0" rtlCol="0">
              <a:spAutoFit/>
            </a:bodyPr>
            <a:lstStyle/>
            <a:p>
              <a:pPr marL="0" marR="0" lvl="0" indent="0" algn="ctr" defTabSz="932596" rtl="0" eaLnBrk="1" fontAlgn="auto" latinLnBrk="0" hangingPunct="1">
                <a:lnSpc>
                  <a:spcPct val="100000"/>
                </a:lnSpc>
                <a:spcBef>
                  <a:spcPts val="0"/>
                </a:spcBef>
                <a:spcAft>
                  <a:spcPts val="0"/>
                </a:spcAft>
                <a:buClrTx/>
                <a:buSzTx/>
                <a:buFontTx/>
                <a:buNone/>
                <a:tabLst/>
                <a:defRPr/>
              </a:pPr>
              <a:r>
                <a:rPr kumimoji="0" lang="en-US" sz="1088" b="0" i="0" u="none" strike="noStrike" kern="1200" cap="none" spc="0" normalizeH="0" baseline="0" noProof="0">
                  <a:ln>
                    <a:noFill/>
                  </a:ln>
                  <a:solidFill>
                    <a:srgbClr val="0072C6"/>
                  </a:solidFill>
                  <a:effectLst/>
                  <a:uLnTx/>
                  <a:uFillTx/>
                  <a:latin typeface="Segoe UI"/>
                  <a:ea typeface="+mn-ea"/>
                  <a:cs typeface="+mn-cs"/>
                </a:rPr>
                <a:t>Capture feedback</a:t>
              </a:r>
            </a:p>
          </p:txBody>
        </p:sp>
        <p:sp>
          <p:nvSpPr>
            <p:cNvPr id="134" name="Oval 133"/>
            <p:cNvSpPr/>
            <p:nvPr/>
          </p:nvSpPr>
          <p:spPr>
            <a:xfrm>
              <a:off x="7882561" y="1143534"/>
              <a:ext cx="88440" cy="88440"/>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grpSp>
      <p:sp>
        <p:nvSpPr>
          <p:cNvPr id="135" name="Speech Bubble: Rectangle 8"/>
          <p:cNvSpPr/>
          <p:nvPr/>
        </p:nvSpPr>
        <p:spPr>
          <a:xfrm>
            <a:off x="11520367" y="1256498"/>
            <a:ext cx="223082" cy="144008"/>
          </a:xfrm>
          <a:prstGeom prst="wedgeRectCallout">
            <a:avLst>
              <a:gd name="adj1" fmla="val -4831"/>
              <a:gd name="adj2" fmla="val 99682"/>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86521" tIns="149217" rIns="186521" bIns="149217" rtlCol="0" anchor="t" anchorCtr="0"/>
          <a:lstStyle/>
          <a:p>
            <a:pPr marL="0" marR="0" lvl="0" indent="0" algn="ctr" defTabSz="932596" rtl="0" eaLnBrk="1" fontAlgn="auto" latinLnBrk="0" hangingPunct="1">
              <a:lnSpc>
                <a:spcPct val="90000"/>
              </a:lnSpc>
              <a:spcBef>
                <a:spcPts val="816"/>
              </a:spcBef>
              <a:spcAft>
                <a:spcPts val="0"/>
              </a:spcAft>
              <a:buClrTx/>
              <a:buSzTx/>
              <a:buFontTx/>
              <a:buNone/>
              <a:tabLst/>
              <a:defRPr/>
            </a:pPr>
            <a:endParaRPr kumimoji="0" lang="en-US" sz="2720" b="0" i="0" u="none" strike="noStrike" kern="1200" cap="none" spc="0" normalizeH="0" baseline="0" noProof="0" err="1">
              <a:ln>
                <a:noFill/>
              </a:ln>
              <a:solidFill>
                <a:prstClr val="white"/>
              </a:solidFill>
              <a:effectLst/>
              <a:uLnTx/>
              <a:uFillTx/>
              <a:latin typeface="Segoe UI"/>
              <a:ea typeface="+mn-ea"/>
              <a:cs typeface="+mn-cs"/>
            </a:endParaRPr>
          </a:p>
        </p:txBody>
      </p:sp>
      <p:sp>
        <p:nvSpPr>
          <p:cNvPr id="136" name="Rectangle 135"/>
          <p:cNvSpPr/>
          <p:nvPr/>
        </p:nvSpPr>
        <p:spPr>
          <a:xfrm rot="5400000">
            <a:off x="5670677" y="234479"/>
            <a:ext cx="165638" cy="15118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186521" tIns="149217" rIns="186521" bIns="149217" rtlCol="0" anchor="ctr" anchorCtr="0"/>
          <a:lstStyle/>
          <a:p>
            <a:pPr marL="0" marR="0" lvl="0" indent="0" algn="ctr" defTabSz="932596" rtl="0" eaLnBrk="1" fontAlgn="auto" latinLnBrk="0" hangingPunct="1">
              <a:lnSpc>
                <a:spcPct val="90000"/>
              </a:lnSpc>
              <a:spcBef>
                <a:spcPts val="0"/>
              </a:spcBef>
              <a:spcAft>
                <a:spcPts val="0"/>
              </a:spcAft>
              <a:buClrTx/>
              <a:buSzTx/>
              <a:buFontTx/>
              <a:buNone/>
              <a:tabLst/>
              <a:defRPr/>
            </a:pPr>
            <a:r>
              <a:rPr kumimoji="0" lang="en-US" sz="1292" b="0" i="0" u="none" strike="noStrike" kern="1200" cap="all" spc="136" normalizeH="0" baseline="0" noProof="0">
                <a:ln>
                  <a:noFill/>
                </a:ln>
                <a:solidFill>
                  <a:srgbClr val="373A3C"/>
                </a:solidFill>
                <a:effectLst/>
                <a:uLnTx/>
                <a:uFillTx/>
                <a:latin typeface="Segoe UI"/>
                <a:ea typeface="+mn-ea"/>
                <a:cs typeface="+mn-cs"/>
              </a:rPr>
              <a:t>Lifecycle</a:t>
            </a:r>
          </a:p>
        </p:txBody>
      </p:sp>
    </p:spTree>
    <p:extLst>
      <p:ext uri="{BB962C8B-B14F-4D97-AF65-F5344CB8AC3E}">
        <p14:creationId xmlns:p14="http://schemas.microsoft.com/office/powerpoint/2010/main" val="226020346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5" name="Text Placeholder 21">
            <a:extLst>
              <a:ext uri="{FF2B5EF4-FFF2-40B4-BE49-F238E27FC236}">
                <a16:creationId xmlns:a16="http://schemas.microsoft.com/office/drawing/2014/main" id="{0F31D0C9-09D4-4FE1-ACCE-72F0184183AE}"/>
              </a:ext>
            </a:extLst>
          </p:cNvPr>
          <p:cNvSpPr>
            <a:spLocks noGrp="1"/>
          </p:cNvSpPr>
          <p:nvPr>
            <p:ph type="body" sz="quarter" idx="10"/>
          </p:nvPr>
        </p:nvSpPr>
        <p:spPr>
          <a:xfrm>
            <a:off x="3245564" y="1853874"/>
            <a:ext cx="3210682" cy="1255793"/>
          </a:xfrm>
        </p:spPr>
        <p:txBody>
          <a:bodyPr vert="horz" wrap="square" lIns="0" tIns="0" rIns="0" bIns="0" rtlCol="0">
            <a:spAutoFit/>
          </a:bodyPr>
          <a:lstStyle/>
          <a:p>
            <a:pPr marL="291436" indent="-291436">
              <a:buFont typeface="Arial" pitchFamily="34" charset="0"/>
              <a:buChar char="•"/>
              <a:defRPr/>
            </a:pPr>
            <a:r>
              <a:rPr lang="en-US" sz="1632" dirty="0">
                <a:solidFill>
                  <a:schemeClr val="tx1"/>
                </a:solidFill>
                <a:latin typeface="+mn-lt"/>
              </a:rPr>
              <a:t>Complex problem solving</a:t>
            </a:r>
          </a:p>
          <a:p>
            <a:pPr marL="291436" indent="-291436">
              <a:buFont typeface="Arial" pitchFamily="34" charset="0"/>
              <a:buChar char="•"/>
              <a:defRPr/>
            </a:pPr>
            <a:r>
              <a:rPr lang="en-US" sz="1632" dirty="0">
                <a:solidFill>
                  <a:schemeClr val="tx1"/>
                </a:solidFill>
                <a:latin typeface="+mn-lt"/>
              </a:rPr>
              <a:t>Critical thinking, system analytics</a:t>
            </a:r>
          </a:p>
          <a:p>
            <a:pPr marL="291436" indent="-291436">
              <a:buFont typeface="Arial" pitchFamily="34" charset="0"/>
              <a:buChar char="•"/>
              <a:defRPr/>
            </a:pPr>
            <a:r>
              <a:rPr lang="en-US" sz="1632" dirty="0">
                <a:solidFill>
                  <a:schemeClr val="tx1"/>
                </a:solidFill>
                <a:latin typeface="+mn-lt"/>
              </a:rPr>
              <a:t>Creativity, active learning</a:t>
            </a:r>
          </a:p>
          <a:p>
            <a:pPr marL="291436" indent="-291436">
              <a:buFont typeface="Arial" pitchFamily="34" charset="0"/>
              <a:buChar char="•"/>
              <a:defRPr/>
            </a:pPr>
            <a:r>
              <a:rPr lang="en-US" sz="1632" dirty="0">
                <a:solidFill>
                  <a:schemeClr val="tx1"/>
                </a:solidFill>
                <a:latin typeface="+mn-lt"/>
              </a:rPr>
              <a:t>People &amp; communication skills, cultural agility</a:t>
            </a:r>
          </a:p>
        </p:txBody>
      </p:sp>
      <p:sp>
        <p:nvSpPr>
          <p:cNvPr id="6" name="Title 5">
            <a:extLst>
              <a:ext uri="{FF2B5EF4-FFF2-40B4-BE49-F238E27FC236}">
                <a16:creationId xmlns:a16="http://schemas.microsoft.com/office/drawing/2014/main" id="{56F854AF-EDEB-AC49-B209-517E1A1C0DBC}"/>
              </a:ext>
            </a:extLst>
          </p:cNvPr>
          <p:cNvSpPr>
            <a:spLocks noGrp="1"/>
          </p:cNvSpPr>
          <p:nvPr>
            <p:ph type="title"/>
          </p:nvPr>
        </p:nvSpPr>
        <p:spPr/>
        <p:txBody>
          <a:bodyPr/>
          <a:lstStyle/>
          <a:p>
            <a:pPr defTabSz="932563">
              <a:defRPr/>
            </a:pPr>
            <a:r>
              <a:rPr dirty="0"/>
              <a:t>Addressing </a:t>
            </a:r>
            <a:r>
              <a:rPr b="1" dirty="0">
                <a:solidFill>
                  <a:schemeClr val="accent6"/>
                </a:solidFill>
                <a:latin typeface="Segoe UI Semibold" panose="020B0702040204020203" pitchFamily="34" charset="0"/>
                <a:cs typeface="Segoe UI Semibold" panose="020B0702040204020203" pitchFamily="34" charset="0"/>
              </a:rPr>
              <a:t>Skills Needed </a:t>
            </a:r>
            <a:r>
              <a:rPr dirty="0"/>
              <a:t>for Digital Transformation</a:t>
            </a:r>
          </a:p>
        </p:txBody>
      </p:sp>
      <p:sp>
        <p:nvSpPr>
          <p:cNvPr id="113668" name="TextBox 2">
            <a:extLst>
              <a:ext uri="{FF2B5EF4-FFF2-40B4-BE49-F238E27FC236}">
                <a16:creationId xmlns:a16="http://schemas.microsoft.com/office/drawing/2014/main" id="{817F61B9-597C-4FFB-A731-E02C86BA206E}"/>
              </a:ext>
            </a:extLst>
          </p:cNvPr>
          <p:cNvSpPr txBox="1">
            <a:spLocks noChangeArrowheads="1"/>
          </p:cNvSpPr>
          <p:nvPr/>
        </p:nvSpPr>
        <p:spPr bwMode="auto">
          <a:xfrm>
            <a:off x="1173113" y="3008293"/>
            <a:ext cx="1389190" cy="256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32" b="1">
                <a:solidFill>
                  <a:schemeClr val="bg2"/>
                </a:solidFill>
              </a:rPr>
              <a:t>INDIVIDUAL</a:t>
            </a:r>
          </a:p>
        </p:txBody>
      </p:sp>
      <p:sp>
        <p:nvSpPr>
          <p:cNvPr id="113669" name="TextBox 3">
            <a:extLst>
              <a:ext uri="{FF2B5EF4-FFF2-40B4-BE49-F238E27FC236}">
                <a16:creationId xmlns:a16="http://schemas.microsoft.com/office/drawing/2014/main" id="{B5B701B4-4CC6-4691-BF72-48F8EFB60145}"/>
              </a:ext>
            </a:extLst>
          </p:cNvPr>
          <p:cNvSpPr txBox="1">
            <a:spLocks noChangeArrowheads="1"/>
          </p:cNvSpPr>
          <p:nvPr/>
        </p:nvSpPr>
        <p:spPr bwMode="auto">
          <a:xfrm>
            <a:off x="659857" y="5380280"/>
            <a:ext cx="2446464" cy="2561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algn="ctr" eaLnBrk="1" hangingPunct="1"/>
            <a:r>
              <a:rPr lang="en-US" altLang="en-US" sz="1632" b="1">
                <a:solidFill>
                  <a:schemeClr val="bg2"/>
                </a:solidFill>
              </a:rPr>
              <a:t>ORGANIZATION</a:t>
            </a:r>
          </a:p>
        </p:txBody>
      </p:sp>
      <p:sp>
        <p:nvSpPr>
          <p:cNvPr id="113670" name="Text Placeholder 21">
            <a:extLst>
              <a:ext uri="{FF2B5EF4-FFF2-40B4-BE49-F238E27FC236}">
                <a16:creationId xmlns:a16="http://schemas.microsoft.com/office/drawing/2014/main" id="{A5DA8957-C795-471E-95D8-37C11ABFCA19}"/>
              </a:ext>
            </a:extLst>
          </p:cNvPr>
          <p:cNvSpPr txBox="1">
            <a:spLocks noChangeArrowheads="1"/>
          </p:cNvSpPr>
          <p:nvPr/>
        </p:nvSpPr>
        <p:spPr bwMode="auto">
          <a:xfrm>
            <a:off x="3245564" y="3999185"/>
            <a:ext cx="7273011" cy="1152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85750" indent="-285750" defTabSz="912813">
              <a:lnSpc>
                <a:spcPct val="90000"/>
              </a:lnSpc>
              <a:spcBef>
                <a:spcPct val="20000"/>
              </a:spcBef>
              <a:buSzPct val="90000"/>
              <a:buFont typeface="Arial" panose="020B0604020202020204" pitchFamily="34" charset="0"/>
              <a:buChar char="•"/>
              <a:defRPr sz="3900">
                <a:solidFill>
                  <a:schemeClr val="tx1"/>
                </a:solidFill>
                <a:latin typeface="Segoe UI Light" panose="020B0502040204020203" pitchFamily="34" charset="0"/>
              </a:defRPr>
            </a:lvl1pPr>
            <a:lvl2pPr marL="571500" indent="-236538" defTabSz="912813">
              <a:lnSpc>
                <a:spcPct val="90000"/>
              </a:lnSpc>
              <a:spcBef>
                <a:spcPct val="20000"/>
              </a:spcBef>
              <a:buSzPct val="90000"/>
              <a:buFont typeface="Arial" panose="020B0604020202020204" pitchFamily="34" charset="0"/>
              <a:buChar char="•"/>
              <a:defRPr sz="2300">
                <a:solidFill>
                  <a:schemeClr val="tx1"/>
                </a:solidFill>
                <a:latin typeface="Segoe UI" panose="020B0502040204020203" pitchFamily="34" charset="0"/>
              </a:defRPr>
            </a:lvl2pPr>
            <a:lvl3pPr marL="223838" indent="-223838" defTabSz="912813">
              <a:lnSpc>
                <a:spcPct val="90000"/>
              </a:lnSpc>
              <a:spcBef>
                <a:spcPct val="20000"/>
              </a:spcBef>
              <a:buSzPct val="90000"/>
              <a:buFont typeface="Arial" panose="020B0604020202020204" pitchFamily="34" charset="0"/>
              <a:buChar char="•"/>
              <a:defRPr sz="1900">
                <a:solidFill>
                  <a:schemeClr val="tx1"/>
                </a:solidFill>
                <a:latin typeface="Segoe UI" panose="020B0502040204020203" pitchFamily="34" charset="0"/>
              </a:defRPr>
            </a:lvl3pPr>
            <a:lvl4pPr marL="447675" indent="-223838" defTabSz="912813">
              <a:lnSpc>
                <a:spcPct val="90000"/>
              </a:lnSpc>
              <a:spcBef>
                <a:spcPct val="20000"/>
              </a:spcBef>
              <a:buSzPct val="90000"/>
              <a:buFont typeface="Arial" panose="020B0604020202020204" pitchFamily="34" charset="0"/>
              <a:buChar char="•"/>
              <a:defRPr sz="1700">
                <a:solidFill>
                  <a:schemeClr val="tx1"/>
                </a:solidFill>
                <a:latin typeface="Segoe UI" panose="020B0502040204020203" pitchFamily="34" charset="0"/>
              </a:defRPr>
            </a:lvl4pPr>
            <a:lvl5pPr marL="671513" indent="-223838" defTabSz="912813">
              <a:lnSpc>
                <a:spcPct val="90000"/>
              </a:lnSpc>
              <a:spcBef>
                <a:spcPct val="20000"/>
              </a:spcBef>
              <a:buSzPct val="90000"/>
              <a:buFont typeface="Arial" panose="020B0604020202020204" pitchFamily="34" charset="0"/>
              <a:buChar char="•"/>
              <a:defRPr sz="1700">
                <a:solidFill>
                  <a:schemeClr val="tx1"/>
                </a:solidFill>
                <a:latin typeface="Segoe UI" panose="020B0502040204020203" pitchFamily="34" charset="0"/>
              </a:defRPr>
            </a:lvl5pPr>
            <a:lvl6pPr marL="1128713" indent="-223838" defTabSz="912813" eaLnBrk="0" fontAlgn="base" hangingPunct="0">
              <a:lnSpc>
                <a:spcPct val="90000"/>
              </a:lnSpc>
              <a:spcBef>
                <a:spcPct val="20000"/>
              </a:spcBef>
              <a:spcAft>
                <a:spcPct val="0"/>
              </a:spcAft>
              <a:buSzPct val="90000"/>
              <a:buFont typeface="Arial" panose="020B0604020202020204" pitchFamily="34" charset="0"/>
              <a:buChar char="•"/>
              <a:defRPr sz="1700">
                <a:solidFill>
                  <a:schemeClr val="tx1"/>
                </a:solidFill>
                <a:latin typeface="Segoe UI" panose="020B0502040204020203" pitchFamily="34" charset="0"/>
              </a:defRPr>
            </a:lvl6pPr>
            <a:lvl7pPr marL="1585913" indent="-223838" defTabSz="912813" eaLnBrk="0" fontAlgn="base" hangingPunct="0">
              <a:lnSpc>
                <a:spcPct val="90000"/>
              </a:lnSpc>
              <a:spcBef>
                <a:spcPct val="20000"/>
              </a:spcBef>
              <a:spcAft>
                <a:spcPct val="0"/>
              </a:spcAft>
              <a:buSzPct val="90000"/>
              <a:buFont typeface="Arial" panose="020B0604020202020204" pitchFamily="34" charset="0"/>
              <a:buChar char="•"/>
              <a:defRPr sz="1700">
                <a:solidFill>
                  <a:schemeClr val="tx1"/>
                </a:solidFill>
                <a:latin typeface="Segoe UI" panose="020B0502040204020203" pitchFamily="34" charset="0"/>
              </a:defRPr>
            </a:lvl7pPr>
            <a:lvl8pPr marL="2043113" indent="-223838" defTabSz="912813" eaLnBrk="0" fontAlgn="base" hangingPunct="0">
              <a:lnSpc>
                <a:spcPct val="90000"/>
              </a:lnSpc>
              <a:spcBef>
                <a:spcPct val="20000"/>
              </a:spcBef>
              <a:spcAft>
                <a:spcPct val="0"/>
              </a:spcAft>
              <a:buSzPct val="90000"/>
              <a:buFont typeface="Arial" panose="020B0604020202020204" pitchFamily="34" charset="0"/>
              <a:buChar char="•"/>
              <a:defRPr sz="1700">
                <a:solidFill>
                  <a:schemeClr val="tx1"/>
                </a:solidFill>
                <a:latin typeface="Segoe UI" panose="020B0502040204020203" pitchFamily="34" charset="0"/>
              </a:defRPr>
            </a:lvl8pPr>
            <a:lvl9pPr marL="2500313" indent="-223838" defTabSz="912813" eaLnBrk="0" fontAlgn="base" hangingPunct="0">
              <a:lnSpc>
                <a:spcPct val="90000"/>
              </a:lnSpc>
              <a:spcBef>
                <a:spcPct val="20000"/>
              </a:spcBef>
              <a:spcAft>
                <a:spcPct val="0"/>
              </a:spcAft>
              <a:buSzPct val="90000"/>
              <a:buFont typeface="Arial" panose="020B0604020202020204" pitchFamily="34" charset="0"/>
              <a:buChar char="•"/>
              <a:defRPr sz="1700">
                <a:solidFill>
                  <a:schemeClr val="tx1"/>
                </a:solidFill>
                <a:latin typeface="Segoe UI" panose="020B0502040204020203" pitchFamily="34" charset="0"/>
              </a:defRPr>
            </a:lvl9pPr>
          </a:lstStyle>
          <a:p>
            <a:pPr eaLnBrk="1" hangingPunct="1">
              <a:lnSpc>
                <a:spcPct val="100000"/>
              </a:lnSpc>
              <a:spcBef>
                <a:spcPct val="0"/>
              </a:spcBef>
            </a:pPr>
            <a:r>
              <a:rPr lang="en-US" altLang="en-US" sz="1836">
                <a:latin typeface="Segoe UI" panose="020B0502040204020203" pitchFamily="34" charset="0"/>
              </a:rPr>
              <a:t>Focus on </a:t>
            </a:r>
            <a:r>
              <a:rPr lang="en-US" altLang="en-US" sz="1836" b="1">
                <a:latin typeface="Segoe UI" panose="020B0502040204020203" pitchFamily="34" charset="0"/>
              </a:rPr>
              <a:t>rebalancing the workforce </a:t>
            </a:r>
            <a:r>
              <a:rPr lang="en-US" altLang="en-US" sz="1836">
                <a:latin typeface="Segoe UI" panose="020B0502040204020203" pitchFamily="34" charset="0"/>
              </a:rPr>
              <a:t>to attain key digital talent. </a:t>
            </a:r>
          </a:p>
          <a:p>
            <a:pPr eaLnBrk="1" hangingPunct="1">
              <a:lnSpc>
                <a:spcPct val="100000"/>
              </a:lnSpc>
              <a:spcBef>
                <a:spcPct val="0"/>
              </a:spcBef>
            </a:pPr>
            <a:r>
              <a:rPr lang="en-US" altLang="en-US" sz="1836">
                <a:latin typeface="Segoe UI" panose="020B0502040204020203" pitchFamily="34" charset="0"/>
              </a:rPr>
              <a:t>Place </a:t>
            </a:r>
            <a:r>
              <a:rPr lang="en-US" altLang="en-US" sz="1836" b="1">
                <a:latin typeface="Segoe UI" panose="020B0502040204020203" pitchFamily="34" charset="0"/>
              </a:rPr>
              <a:t>higher emphasis on attracting and retaining the best talent</a:t>
            </a:r>
            <a:r>
              <a:rPr lang="en-US" altLang="en-US" sz="1836">
                <a:latin typeface="Segoe UI" panose="020B0502040204020203" pitchFamily="34" charset="0"/>
              </a:rPr>
              <a:t>, and </a:t>
            </a:r>
            <a:r>
              <a:rPr lang="en-US" altLang="en-US" sz="1836" b="1">
                <a:latin typeface="Segoe UI" panose="020B0502040204020203" pitchFamily="34" charset="0"/>
              </a:rPr>
              <a:t>retraining and outsourcing</a:t>
            </a:r>
            <a:r>
              <a:rPr lang="en-US" altLang="en-US" sz="1836">
                <a:latin typeface="Segoe UI" panose="020B0502040204020203" pitchFamily="34" charset="0"/>
              </a:rPr>
              <a:t> others in the workforce. </a:t>
            </a:r>
          </a:p>
          <a:p>
            <a:pPr eaLnBrk="1" hangingPunct="1">
              <a:lnSpc>
                <a:spcPct val="100000"/>
              </a:lnSpc>
              <a:spcBef>
                <a:spcPct val="0"/>
              </a:spcBef>
            </a:pPr>
            <a:r>
              <a:rPr lang="en-US" altLang="en-US" sz="1836">
                <a:latin typeface="Segoe UI" panose="020B0502040204020203" pitchFamily="34" charset="0"/>
              </a:rPr>
              <a:t>Focus on </a:t>
            </a:r>
            <a:r>
              <a:rPr lang="en-US" altLang="en-US" sz="1836" b="1">
                <a:latin typeface="Segoe UI" panose="020B0502040204020203" pitchFamily="34" charset="0"/>
              </a:rPr>
              <a:t>creating a flexible work source model</a:t>
            </a:r>
          </a:p>
        </p:txBody>
      </p:sp>
      <p:pic>
        <p:nvPicPr>
          <p:cNvPr id="113671" name="Picture 11">
            <a:extLst>
              <a:ext uri="{FF2B5EF4-FFF2-40B4-BE49-F238E27FC236}">
                <a16:creationId xmlns:a16="http://schemas.microsoft.com/office/drawing/2014/main" id="{2D37D671-0C20-49B7-9B3D-33BB384CA399}"/>
              </a:ext>
            </a:extLst>
          </p:cNvPr>
          <p:cNvPicPr>
            <a:picLocks noChangeAspect="1" noChangeArrowheads="1"/>
          </p:cNvPicPr>
          <p:nvPr/>
        </p:nvPicPr>
        <p:blipFill>
          <a:blip r:embed="rId3">
            <a:lum bright="-40000" contrast="-40000"/>
            <a:extLst>
              <a:ext uri="{28A0092B-C50C-407E-A947-70E740481C1C}">
                <a14:useLocalDpi xmlns:a14="http://schemas.microsoft.com/office/drawing/2010/main" val="0"/>
              </a:ext>
            </a:extLst>
          </a:blip>
          <a:srcRect/>
          <a:stretch>
            <a:fillRect/>
          </a:stretch>
        </p:blipFill>
        <p:spPr bwMode="auto">
          <a:xfrm>
            <a:off x="1187684" y="3999184"/>
            <a:ext cx="1390809" cy="1282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672" name="Picture 12">
            <a:extLst>
              <a:ext uri="{FF2B5EF4-FFF2-40B4-BE49-F238E27FC236}">
                <a16:creationId xmlns:a16="http://schemas.microsoft.com/office/drawing/2014/main" id="{087FB580-1236-4859-87FD-2AEE41EE3BCA}"/>
              </a:ext>
            </a:extLst>
          </p:cNvPr>
          <p:cNvPicPr>
            <a:picLocks noChangeAspect="1" noChangeArrowheads="1"/>
          </p:cNvPicPr>
          <p:nvPr/>
        </p:nvPicPr>
        <p:blipFill>
          <a:blip r:embed="rId4">
            <a:lum bright="-40000" contrast="-40000"/>
            <a:extLst>
              <a:ext uri="{28A0092B-C50C-407E-A947-70E740481C1C}">
                <a14:useLocalDpi xmlns:a14="http://schemas.microsoft.com/office/drawing/2010/main" val="0"/>
              </a:ext>
            </a:extLst>
          </a:blip>
          <a:srcRect/>
          <a:stretch>
            <a:fillRect/>
          </a:stretch>
        </p:blipFill>
        <p:spPr bwMode="auto">
          <a:xfrm>
            <a:off x="1347976" y="1577006"/>
            <a:ext cx="1039464" cy="1282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673" name="TextBox 13">
            <a:extLst>
              <a:ext uri="{FF2B5EF4-FFF2-40B4-BE49-F238E27FC236}">
                <a16:creationId xmlns:a16="http://schemas.microsoft.com/office/drawing/2014/main" id="{D7F0167A-2419-418F-A555-FF24D154F88F}"/>
              </a:ext>
            </a:extLst>
          </p:cNvPr>
          <p:cNvSpPr txBox="1">
            <a:spLocks noChangeArrowheads="1"/>
          </p:cNvSpPr>
          <p:nvPr/>
        </p:nvSpPr>
        <p:spPr bwMode="auto">
          <a:xfrm>
            <a:off x="3245565" y="1525195"/>
            <a:ext cx="1679776" cy="28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eaLnBrk="1" hangingPunct="1"/>
            <a:r>
              <a:rPr lang="en-US" altLang="en-US" sz="1836" b="1">
                <a:solidFill>
                  <a:schemeClr val="bg2"/>
                </a:solidFill>
              </a:rPr>
              <a:t>Future skillsets</a:t>
            </a:r>
          </a:p>
        </p:txBody>
      </p:sp>
      <p:sp>
        <p:nvSpPr>
          <p:cNvPr id="113674" name="TextBox 15">
            <a:extLst>
              <a:ext uri="{FF2B5EF4-FFF2-40B4-BE49-F238E27FC236}">
                <a16:creationId xmlns:a16="http://schemas.microsoft.com/office/drawing/2014/main" id="{63029F28-EEF5-4154-AEC0-985B029CF044}"/>
              </a:ext>
            </a:extLst>
          </p:cNvPr>
          <p:cNvSpPr txBox="1">
            <a:spLocks noChangeArrowheads="1"/>
          </p:cNvSpPr>
          <p:nvPr/>
        </p:nvSpPr>
        <p:spPr bwMode="auto">
          <a:xfrm>
            <a:off x="7795244" y="1525195"/>
            <a:ext cx="2458519" cy="28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eaLnBrk="1" hangingPunct="1"/>
            <a:r>
              <a:rPr lang="en-US" altLang="en-US" sz="1836" b="1">
                <a:solidFill>
                  <a:schemeClr val="bg2"/>
                </a:solidFill>
              </a:rPr>
              <a:t>ABCs of Digital Skills*</a:t>
            </a:r>
          </a:p>
        </p:txBody>
      </p:sp>
      <p:sp>
        <p:nvSpPr>
          <p:cNvPr id="113675" name="Text Placeholder 21">
            <a:extLst>
              <a:ext uri="{FF2B5EF4-FFF2-40B4-BE49-F238E27FC236}">
                <a16:creationId xmlns:a16="http://schemas.microsoft.com/office/drawing/2014/main" id="{B34A4D44-15BE-4762-81F4-1B48892EFD4A}"/>
              </a:ext>
            </a:extLst>
          </p:cNvPr>
          <p:cNvSpPr txBox="1">
            <a:spLocks noChangeArrowheads="1"/>
          </p:cNvSpPr>
          <p:nvPr/>
        </p:nvSpPr>
        <p:spPr bwMode="auto">
          <a:xfrm>
            <a:off x="7795243" y="1894350"/>
            <a:ext cx="3103821" cy="864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85750" indent="-285750" defTabSz="912813">
              <a:lnSpc>
                <a:spcPct val="90000"/>
              </a:lnSpc>
              <a:spcBef>
                <a:spcPct val="20000"/>
              </a:spcBef>
              <a:buSzPct val="90000"/>
              <a:buFont typeface="Arial" panose="020B0604020202020204" pitchFamily="34" charset="0"/>
              <a:buChar char="•"/>
              <a:defRPr sz="3900">
                <a:solidFill>
                  <a:schemeClr val="tx1"/>
                </a:solidFill>
                <a:latin typeface="Segoe UI Light" panose="020B0502040204020203" pitchFamily="34" charset="0"/>
              </a:defRPr>
            </a:lvl1pPr>
            <a:lvl2pPr marL="571500" indent="-236538" defTabSz="912813">
              <a:lnSpc>
                <a:spcPct val="90000"/>
              </a:lnSpc>
              <a:spcBef>
                <a:spcPct val="20000"/>
              </a:spcBef>
              <a:buSzPct val="90000"/>
              <a:buFont typeface="Arial" panose="020B0604020202020204" pitchFamily="34" charset="0"/>
              <a:buChar char="•"/>
              <a:defRPr sz="2300">
                <a:solidFill>
                  <a:schemeClr val="tx1"/>
                </a:solidFill>
                <a:latin typeface="Segoe UI" panose="020B0502040204020203" pitchFamily="34" charset="0"/>
              </a:defRPr>
            </a:lvl2pPr>
            <a:lvl3pPr marL="223838" indent="-223838" defTabSz="912813">
              <a:lnSpc>
                <a:spcPct val="90000"/>
              </a:lnSpc>
              <a:spcBef>
                <a:spcPct val="20000"/>
              </a:spcBef>
              <a:buSzPct val="90000"/>
              <a:buFont typeface="Arial" panose="020B0604020202020204" pitchFamily="34" charset="0"/>
              <a:buChar char="•"/>
              <a:defRPr sz="1900">
                <a:solidFill>
                  <a:schemeClr val="tx1"/>
                </a:solidFill>
                <a:latin typeface="Segoe UI" panose="020B0502040204020203" pitchFamily="34" charset="0"/>
              </a:defRPr>
            </a:lvl3pPr>
            <a:lvl4pPr marL="447675" indent="-223838" defTabSz="912813">
              <a:lnSpc>
                <a:spcPct val="90000"/>
              </a:lnSpc>
              <a:spcBef>
                <a:spcPct val="20000"/>
              </a:spcBef>
              <a:buSzPct val="90000"/>
              <a:buFont typeface="Arial" panose="020B0604020202020204" pitchFamily="34" charset="0"/>
              <a:buChar char="•"/>
              <a:defRPr sz="1700">
                <a:solidFill>
                  <a:schemeClr val="tx1"/>
                </a:solidFill>
                <a:latin typeface="Segoe UI" panose="020B0502040204020203" pitchFamily="34" charset="0"/>
              </a:defRPr>
            </a:lvl4pPr>
            <a:lvl5pPr marL="671513" indent="-223838" defTabSz="912813">
              <a:lnSpc>
                <a:spcPct val="90000"/>
              </a:lnSpc>
              <a:spcBef>
                <a:spcPct val="20000"/>
              </a:spcBef>
              <a:buSzPct val="90000"/>
              <a:buFont typeface="Arial" panose="020B0604020202020204" pitchFamily="34" charset="0"/>
              <a:buChar char="•"/>
              <a:defRPr sz="1700">
                <a:solidFill>
                  <a:schemeClr val="tx1"/>
                </a:solidFill>
                <a:latin typeface="Segoe UI" panose="020B0502040204020203" pitchFamily="34" charset="0"/>
              </a:defRPr>
            </a:lvl5pPr>
            <a:lvl6pPr marL="1128713" indent="-223838" defTabSz="912813" eaLnBrk="0" fontAlgn="base" hangingPunct="0">
              <a:lnSpc>
                <a:spcPct val="90000"/>
              </a:lnSpc>
              <a:spcBef>
                <a:spcPct val="20000"/>
              </a:spcBef>
              <a:spcAft>
                <a:spcPct val="0"/>
              </a:spcAft>
              <a:buSzPct val="90000"/>
              <a:buFont typeface="Arial" panose="020B0604020202020204" pitchFamily="34" charset="0"/>
              <a:buChar char="•"/>
              <a:defRPr sz="1700">
                <a:solidFill>
                  <a:schemeClr val="tx1"/>
                </a:solidFill>
                <a:latin typeface="Segoe UI" panose="020B0502040204020203" pitchFamily="34" charset="0"/>
              </a:defRPr>
            </a:lvl6pPr>
            <a:lvl7pPr marL="1585913" indent="-223838" defTabSz="912813" eaLnBrk="0" fontAlgn="base" hangingPunct="0">
              <a:lnSpc>
                <a:spcPct val="90000"/>
              </a:lnSpc>
              <a:spcBef>
                <a:spcPct val="20000"/>
              </a:spcBef>
              <a:spcAft>
                <a:spcPct val="0"/>
              </a:spcAft>
              <a:buSzPct val="90000"/>
              <a:buFont typeface="Arial" panose="020B0604020202020204" pitchFamily="34" charset="0"/>
              <a:buChar char="•"/>
              <a:defRPr sz="1700">
                <a:solidFill>
                  <a:schemeClr val="tx1"/>
                </a:solidFill>
                <a:latin typeface="Segoe UI" panose="020B0502040204020203" pitchFamily="34" charset="0"/>
              </a:defRPr>
            </a:lvl7pPr>
            <a:lvl8pPr marL="2043113" indent="-223838" defTabSz="912813" eaLnBrk="0" fontAlgn="base" hangingPunct="0">
              <a:lnSpc>
                <a:spcPct val="90000"/>
              </a:lnSpc>
              <a:spcBef>
                <a:spcPct val="20000"/>
              </a:spcBef>
              <a:spcAft>
                <a:spcPct val="0"/>
              </a:spcAft>
              <a:buSzPct val="90000"/>
              <a:buFont typeface="Arial" panose="020B0604020202020204" pitchFamily="34" charset="0"/>
              <a:buChar char="•"/>
              <a:defRPr sz="1700">
                <a:solidFill>
                  <a:schemeClr val="tx1"/>
                </a:solidFill>
                <a:latin typeface="Segoe UI" panose="020B0502040204020203" pitchFamily="34" charset="0"/>
              </a:defRPr>
            </a:lvl8pPr>
            <a:lvl9pPr marL="2500313" indent="-223838" defTabSz="912813" eaLnBrk="0" fontAlgn="base" hangingPunct="0">
              <a:lnSpc>
                <a:spcPct val="90000"/>
              </a:lnSpc>
              <a:spcBef>
                <a:spcPct val="20000"/>
              </a:spcBef>
              <a:spcAft>
                <a:spcPct val="0"/>
              </a:spcAft>
              <a:buSzPct val="90000"/>
              <a:buFont typeface="Arial" panose="020B0604020202020204" pitchFamily="34" charset="0"/>
              <a:buChar char="•"/>
              <a:defRPr sz="1700">
                <a:solidFill>
                  <a:schemeClr val="tx1"/>
                </a:solidFill>
                <a:latin typeface="Segoe UI" panose="020B0502040204020203" pitchFamily="34" charset="0"/>
              </a:defRPr>
            </a:lvl9pPr>
          </a:lstStyle>
          <a:p>
            <a:pPr eaLnBrk="1" hangingPunct="1">
              <a:lnSpc>
                <a:spcPct val="100000"/>
              </a:lnSpc>
              <a:spcBef>
                <a:spcPct val="0"/>
              </a:spcBef>
            </a:pPr>
            <a:r>
              <a:rPr lang="en-US" altLang="en-US" sz="1836" u="sng">
                <a:latin typeface="Segoe UI" panose="020B0502040204020203" pitchFamily="34" charset="0"/>
              </a:rPr>
              <a:t>A</a:t>
            </a:r>
            <a:r>
              <a:rPr lang="en-US" altLang="en-US" sz="1836">
                <a:latin typeface="Segoe UI" panose="020B0502040204020203" pitchFamily="34" charset="0"/>
              </a:rPr>
              <a:t>rtificial Intelligence</a:t>
            </a:r>
          </a:p>
          <a:p>
            <a:pPr eaLnBrk="1" hangingPunct="1">
              <a:lnSpc>
                <a:spcPct val="100000"/>
              </a:lnSpc>
              <a:spcBef>
                <a:spcPct val="0"/>
              </a:spcBef>
            </a:pPr>
            <a:r>
              <a:rPr lang="en-US" altLang="en-US" sz="1836" u="sng">
                <a:latin typeface="Segoe UI" panose="020B0502040204020203" pitchFamily="34" charset="0"/>
              </a:rPr>
              <a:t>B</a:t>
            </a:r>
            <a:r>
              <a:rPr lang="en-US" altLang="en-US" sz="1836">
                <a:latin typeface="Segoe UI" panose="020B0502040204020203" pitchFamily="34" charset="0"/>
              </a:rPr>
              <a:t>ig Data</a:t>
            </a:r>
          </a:p>
          <a:p>
            <a:pPr eaLnBrk="1" hangingPunct="1">
              <a:lnSpc>
                <a:spcPct val="100000"/>
              </a:lnSpc>
              <a:spcBef>
                <a:spcPct val="0"/>
              </a:spcBef>
            </a:pPr>
            <a:r>
              <a:rPr lang="en-US" altLang="en-US" sz="1836" u="sng">
                <a:latin typeface="Segoe UI" panose="020B0502040204020203" pitchFamily="34" charset="0"/>
              </a:rPr>
              <a:t>C</a:t>
            </a:r>
            <a:r>
              <a:rPr lang="en-US" altLang="en-US" sz="1836">
                <a:latin typeface="Segoe UI" panose="020B0502040204020203" pitchFamily="34" charset="0"/>
              </a:rPr>
              <a:t>loud computing</a:t>
            </a:r>
          </a:p>
        </p:txBody>
      </p:sp>
      <p:sp>
        <p:nvSpPr>
          <p:cNvPr id="113676" name="Rectangle 9">
            <a:extLst>
              <a:ext uri="{FF2B5EF4-FFF2-40B4-BE49-F238E27FC236}">
                <a16:creationId xmlns:a16="http://schemas.microsoft.com/office/drawing/2014/main" id="{B41131AE-2F9C-42A3-9787-ADF4C59E88D6}"/>
              </a:ext>
            </a:extLst>
          </p:cNvPr>
          <p:cNvSpPr>
            <a:spLocks noChangeArrowheads="1"/>
          </p:cNvSpPr>
          <p:nvPr/>
        </p:nvSpPr>
        <p:spPr bwMode="auto">
          <a:xfrm>
            <a:off x="1867708" y="6371171"/>
            <a:ext cx="6217356" cy="254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Segoe UI" panose="020B0502040204020203" pitchFamily="34" charset="0"/>
              </a:defRPr>
            </a:lvl1pPr>
            <a:lvl2pPr marL="742950" indent="-285750">
              <a:defRPr>
                <a:solidFill>
                  <a:schemeClr val="tx1"/>
                </a:solidFill>
                <a:latin typeface="Segoe UI" panose="020B0502040204020203" pitchFamily="34" charset="0"/>
              </a:defRPr>
            </a:lvl2pPr>
            <a:lvl3pPr marL="1143000" indent="-228600">
              <a:defRPr>
                <a:solidFill>
                  <a:schemeClr val="tx1"/>
                </a:solidFill>
                <a:latin typeface="Segoe UI" panose="020B0502040204020203" pitchFamily="34" charset="0"/>
              </a:defRPr>
            </a:lvl3pPr>
            <a:lvl4pPr marL="1600200" indent="-228600">
              <a:defRPr>
                <a:solidFill>
                  <a:schemeClr val="tx1"/>
                </a:solidFill>
                <a:latin typeface="Segoe UI" panose="020B0502040204020203" pitchFamily="34" charset="0"/>
              </a:defRPr>
            </a:lvl4pPr>
            <a:lvl5pPr marL="2057400" indent="-228600">
              <a:defRPr>
                <a:solidFill>
                  <a:schemeClr val="tx1"/>
                </a:solidFill>
                <a:latin typeface="Segoe UI" panose="020B0502040204020203" pitchFamily="34" charset="0"/>
              </a:defRPr>
            </a:lvl5pPr>
            <a:lvl6pPr marL="2514600" indent="-228600" eaLnBrk="0" fontAlgn="base" hangingPunct="0">
              <a:spcBef>
                <a:spcPct val="0"/>
              </a:spcBef>
              <a:spcAft>
                <a:spcPct val="0"/>
              </a:spcAft>
              <a:defRPr>
                <a:solidFill>
                  <a:schemeClr val="tx1"/>
                </a:solidFill>
                <a:latin typeface="Segoe UI" panose="020B0502040204020203" pitchFamily="34" charset="0"/>
              </a:defRPr>
            </a:lvl6pPr>
            <a:lvl7pPr marL="2971800" indent="-228600" eaLnBrk="0" fontAlgn="base" hangingPunct="0">
              <a:spcBef>
                <a:spcPct val="0"/>
              </a:spcBef>
              <a:spcAft>
                <a:spcPct val="0"/>
              </a:spcAft>
              <a:defRPr>
                <a:solidFill>
                  <a:schemeClr val="tx1"/>
                </a:solidFill>
                <a:latin typeface="Segoe UI" panose="020B0502040204020203" pitchFamily="34" charset="0"/>
              </a:defRPr>
            </a:lvl7pPr>
            <a:lvl8pPr marL="3429000" indent="-228600" eaLnBrk="0" fontAlgn="base" hangingPunct="0">
              <a:spcBef>
                <a:spcPct val="0"/>
              </a:spcBef>
              <a:spcAft>
                <a:spcPct val="0"/>
              </a:spcAft>
              <a:defRPr>
                <a:solidFill>
                  <a:schemeClr val="tx1"/>
                </a:solidFill>
                <a:latin typeface="Segoe UI" panose="020B0502040204020203" pitchFamily="34" charset="0"/>
              </a:defRPr>
            </a:lvl8pPr>
            <a:lvl9pPr marL="3886200" indent="-228600" eaLnBrk="0" fontAlgn="base" hangingPunct="0">
              <a:spcBef>
                <a:spcPct val="0"/>
              </a:spcBef>
              <a:spcAft>
                <a:spcPct val="0"/>
              </a:spcAft>
              <a:defRPr>
                <a:solidFill>
                  <a:schemeClr val="tx1"/>
                </a:solidFill>
                <a:latin typeface="Segoe UI" panose="020B0502040204020203" pitchFamily="34" charset="0"/>
              </a:defRPr>
            </a:lvl9pPr>
          </a:lstStyle>
          <a:p>
            <a:pPr eaLnBrk="1" hangingPunct="1"/>
            <a:r>
              <a:rPr lang="en-SG" altLang="en-US" sz="1020">
                <a:ea typeface="DengXian" panose="02010600030101010101" pitchFamily="2" charset="-122"/>
              </a:rPr>
              <a:t>*Source: LinkedIn, </a:t>
            </a:r>
            <a:r>
              <a:rPr lang="en-SG" altLang="en-US" sz="1020" u="sng">
                <a:ea typeface="DengXian" panose="02010600030101010101" pitchFamily="2" charset="-122"/>
                <a:cs typeface="Cordia New" panose="020B0304020202020204" pitchFamily="34" charset="-34"/>
                <a:hlinkClick r:id="rId5"/>
              </a:rPr>
              <a:t>The Digital Workforce of the Future</a:t>
            </a:r>
            <a:r>
              <a:rPr lang="en-SG" altLang="en-US" sz="1020">
                <a:ea typeface="DengXian" panose="02010600030101010101" pitchFamily="2" charset="-122"/>
              </a:rPr>
              <a:t>. Data as of August 2017.</a:t>
            </a:r>
            <a:endParaRPr lang="en-SG" altLang="en-US" sz="102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FY18 Enterprise" id="{E72F3315-1010-49DB-9886-4D4C2CF5FD95}" vid="{819BFA2A-E2CF-41B2-903A-3ECB1391740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odern DW">
  <a:themeElements>
    <a:clrScheme name="Custom 3">
      <a:dk1>
        <a:srgbClr val="505050"/>
      </a:dk1>
      <a:lt1>
        <a:srgbClr val="FFFFFF"/>
      </a:lt1>
      <a:dk2>
        <a:srgbClr val="002050"/>
      </a:dk2>
      <a:lt2>
        <a:srgbClr val="70C7FF"/>
      </a:lt2>
      <a:accent1>
        <a:srgbClr val="0078D7"/>
      </a:accent1>
      <a:accent2>
        <a:srgbClr val="B4009E"/>
      </a:accent2>
      <a:accent3>
        <a:srgbClr val="107C10"/>
      </a:accent3>
      <a:accent4>
        <a:srgbClr val="5C2D91"/>
      </a:accent4>
      <a:accent5>
        <a:srgbClr val="008272"/>
      </a:accent5>
      <a:accent6>
        <a:srgbClr val="D83B01"/>
      </a:accent6>
      <a:hlink>
        <a:srgbClr val="FFC000"/>
      </a:hlink>
      <a:folHlink>
        <a:srgbClr val="FFC000"/>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3.potx" id="{44ADAFFF-2BB4-4AF1-9F5C-DDE52A28C87A}" vid="{13590B0D-6121-4FDA-8701-382D8D4F2F22}"/>
    </a:ext>
  </a:extLst>
</a:theme>
</file>

<file path=ppt/theme/theme4.xml><?xml version="1.0" encoding="utf-8"?>
<a:theme xmlns:a="http://schemas.openxmlformats.org/drawingml/2006/main" name="1_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5.xml><?xml version="1.0" encoding="utf-8"?>
<a:theme xmlns:a="http://schemas.openxmlformats.org/drawingml/2006/main" name="Business Forward">
  <a:themeElements>
    <a:clrScheme name="Business Forward template">
      <a:dk1>
        <a:srgbClr val="353535"/>
      </a:dk1>
      <a:lt1>
        <a:srgbClr val="FFFFFF"/>
      </a:lt1>
      <a:dk2>
        <a:srgbClr val="002050"/>
      </a:dk2>
      <a:lt2>
        <a:srgbClr val="EAEAEA"/>
      </a:lt2>
      <a:accent1>
        <a:srgbClr val="002050"/>
      </a:accent1>
      <a:accent2>
        <a:srgbClr val="0078D7"/>
      </a:accent2>
      <a:accent3>
        <a:srgbClr val="00BCF2"/>
      </a:accent3>
      <a:accent4>
        <a:srgbClr val="FFF100"/>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Business Forward NYC event template v03 (002) [Read-Only]" id="{23755F0F-8A08-4D69-9304-2A72F5C69844}" vid="{12F4DE86-D41F-41F4-8EAF-B93C89DA7E52}"/>
    </a:ext>
  </a:extLst>
</a:theme>
</file>

<file path=ppt/theme/theme6.xml><?xml version="1.0" encoding="utf-8"?>
<a:theme xmlns:a="http://schemas.openxmlformats.org/drawingml/2006/main" name="1_DiscreteManufacturing2016">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DiscreteManufacturing2016" id="{71EB7B99-FBAA-4BDD-BBB9-303710F4615C}" vid="{2B528A78-37AD-4EAD-9E15-13CCC79941C6}"/>
    </a:ext>
  </a:extLst>
</a:theme>
</file>

<file path=ppt/theme/theme7.xml><?xml version="1.0" encoding="utf-8"?>
<a:theme xmlns:a="http://schemas.openxmlformats.org/drawingml/2006/main" name="1_FY17 EMPOWER Campaign Theme">
  <a:themeElements>
    <a:clrScheme name="Custom 30">
      <a:dk1>
        <a:srgbClr val="505050"/>
      </a:dk1>
      <a:lt1>
        <a:sysClr val="window" lastClr="FFFFFF"/>
      </a:lt1>
      <a:dk2>
        <a:srgbClr val="0078D7"/>
      </a:dk2>
      <a:lt2>
        <a:srgbClr val="000000"/>
      </a:lt2>
      <a:accent1>
        <a:srgbClr val="107C10"/>
      </a:accent1>
      <a:accent2>
        <a:srgbClr val="FF8C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7 EMPOWER Campaign Theme" id="{DE8F8296-BCDF-4D9D-9667-B0F9BFC0919B}" vid="{C48D4A6D-5D25-4B80-8FFE-70A0D4B280A9}"/>
    </a:ext>
  </a:extLst>
</a:theme>
</file>

<file path=ppt/theme/theme8.xml><?xml version="1.0" encoding="utf-8"?>
<a:theme xmlns:a="http://schemas.openxmlformats.org/drawingml/2006/main" name="6-50064_Microsoft_Envision_Light_Template">
  <a:themeElements>
    <a:clrScheme name="Envision Light">
      <a:dk1>
        <a:srgbClr val="353535"/>
      </a:dk1>
      <a:lt1>
        <a:srgbClr val="FFFFFF"/>
      </a:lt1>
      <a:dk2>
        <a:srgbClr val="0078D7"/>
      </a:dk2>
      <a:lt2>
        <a:srgbClr val="E6E6E6"/>
      </a:lt2>
      <a:accent1>
        <a:srgbClr val="0078D7"/>
      </a:accent1>
      <a:accent2>
        <a:srgbClr val="002050"/>
      </a:accent2>
      <a:accent3>
        <a:srgbClr val="BAD80A"/>
      </a:accent3>
      <a:accent4>
        <a:srgbClr val="505050"/>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Breakout_Template [Read-Only]" id="{01D24190-DC25-4327-B6B4-D4ED99EBE65B}" vid="{4238690B-96C3-4930-8538-89F12604A3AC}"/>
    </a:ext>
  </a:extLst>
</a:theme>
</file>

<file path=ppt/theme/theme9.xml><?xml version="1.0" encoding="utf-8"?>
<a:theme xmlns:a="http://schemas.openxmlformats.org/drawingml/2006/main" name="6_Server and Cloud 2013">
  <a:themeElements>
    <a:clrScheme name="Custom 6">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w="3175">
          <a:noFill/>
          <a:headEnd type="none" w="med" len="med"/>
          <a:tailEnd type="none" w="med" len="med"/>
        </a:ln>
        <a:effectLst/>
      </a:spPr>
      <a:bodyPr rtlCol="0" anchor="ctr"/>
      <a:lstStyle>
        <a:defPPr algn="ctr">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54" tIns="146283" rIns="182854" bIns="146283" rtlCol="0">
        <a:spAutoFit/>
      </a:bodyPr>
      <a:lstStyle>
        <a:defPPr marL="0" marR="0" indent="0" algn="ctr" defTabSz="932563" eaLnBrk="1" fontAlgn="auto" latinLnBrk="0" hangingPunct="1">
          <a:lnSpc>
            <a:spcPct val="90000"/>
          </a:lnSpc>
          <a:spcBef>
            <a:spcPts val="0"/>
          </a:spcBef>
          <a:spcAft>
            <a:spcPts val="600"/>
          </a:spcAft>
          <a:buClrTx/>
          <a:buSzTx/>
          <a:buFontTx/>
          <a:buNone/>
          <a:tabLst/>
          <a:defRPr kumimoji="0" sz="2800" b="0" i="0" u="none" strike="noStrike" kern="0" cap="none" spc="0" normalizeH="0" baseline="0" noProof="0" dirty="0" smtClean="0">
            <a:ln>
              <a:noFill/>
            </a:ln>
            <a:solidFill>
              <a:srgbClr val="FFFFFF"/>
            </a:solidFill>
            <a:effectLst/>
            <a:uLnTx/>
            <a:uFillTx/>
            <a:latin typeface="Segoe UI Light"/>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42FEEC100F8BC469E45BD766C5F9135" ma:contentTypeVersion="2" ma:contentTypeDescription="Create a new document." ma:contentTypeScope="" ma:versionID="11fcda82aa846ad88a5508e494163439">
  <xsd:schema xmlns:xsd="http://www.w3.org/2001/XMLSchema" xmlns:xs="http://www.w3.org/2001/XMLSchema" xmlns:p="http://schemas.microsoft.com/office/2006/metadata/properties" xmlns:ns2="69cf6a61-879f-4fc2-b4eb-98e6f4baa8c8" targetNamespace="http://schemas.microsoft.com/office/2006/metadata/properties" ma:root="true" ma:fieldsID="79970cfd28607543e01b3572a56ed6e0" ns2:_="">
    <xsd:import namespace="69cf6a61-879f-4fc2-b4eb-98e6f4baa8c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cf6a61-879f-4fc2-b4eb-98e6f4baa8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69cf6a61-879f-4fc2-b4eb-98e6f4baa8c8"/>
    <ds:schemaRef ds:uri="http://purl.org/dc/terms/"/>
    <ds:schemaRef ds:uri="http://www.w3.org/XML/1998/namespac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06A9CFD1-F1D5-4DFB-A4DA-E04EB1C187F1}">
  <ds:schemaRefs>
    <ds:schemaRef ds:uri="69cf6a61-879f-4fc2-b4eb-98e6f4baa8c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840</TotalTime>
  <Words>1965</Words>
  <Application>Microsoft Office PowerPoint</Application>
  <PresentationFormat>Custom</PresentationFormat>
  <Paragraphs>241</Paragraphs>
  <Slides>10</Slides>
  <Notes>10</Notes>
  <HiddenSlides>2</HiddenSlides>
  <MMClips>1</MMClips>
  <ScaleCrop>false</ScaleCrop>
  <HeadingPairs>
    <vt:vector size="8" baseType="variant">
      <vt:variant>
        <vt:lpstr>Fonts Used</vt:lpstr>
      </vt:variant>
      <vt:variant>
        <vt:i4>14</vt:i4>
      </vt:variant>
      <vt:variant>
        <vt:lpstr>Theme</vt:lpstr>
      </vt:variant>
      <vt:variant>
        <vt:i4>9</vt:i4>
      </vt:variant>
      <vt:variant>
        <vt:lpstr>Embedded OLE Servers</vt:lpstr>
      </vt:variant>
      <vt:variant>
        <vt:i4>1</vt:i4>
      </vt:variant>
      <vt:variant>
        <vt:lpstr>Slide Titles</vt:lpstr>
      </vt:variant>
      <vt:variant>
        <vt:i4>10</vt:i4>
      </vt:variant>
    </vt:vector>
  </HeadingPairs>
  <TitlesOfParts>
    <vt:vector size="34" baseType="lpstr">
      <vt:lpstr>DengXian</vt:lpstr>
      <vt:lpstr>Arial</vt:lpstr>
      <vt:lpstr>Arial Unicode MS</vt:lpstr>
      <vt:lpstr>Calibri</vt:lpstr>
      <vt:lpstr>Consolas</vt:lpstr>
      <vt:lpstr>Cordia New</vt:lpstr>
      <vt:lpstr>Courier New</vt:lpstr>
      <vt:lpstr>Segoe UI</vt:lpstr>
      <vt:lpstr>Segoe UI Light</vt:lpstr>
      <vt:lpstr>Segoe UI Semibold</vt:lpstr>
      <vt:lpstr>Segoe UI Semilight</vt:lpstr>
      <vt:lpstr>Symbol</vt:lpstr>
      <vt:lpstr>Times New Roman</vt:lpstr>
      <vt:lpstr>Wingdings</vt:lpstr>
      <vt:lpstr>1_FY18 Enterprise</vt:lpstr>
      <vt:lpstr>Modern DW</vt:lpstr>
      <vt:lpstr>4_WHITE TEMPLATE</vt:lpstr>
      <vt:lpstr>1_WHITE TEMPLATE</vt:lpstr>
      <vt:lpstr>Business Forward</vt:lpstr>
      <vt:lpstr>1_DiscreteManufacturing2016</vt:lpstr>
      <vt:lpstr>1_FY17 EMPOWER Campaign Theme</vt:lpstr>
      <vt:lpstr>6-50064_Microsoft_Envision_Light_Template</vt:lpstr>
      <vt:lpstr>6_Server and Cloud 2013</vt:lpstr>
      <vt:lpstr>think-cell Slide</vt:lpstr>
      <vt:lpstr>Digital Manufacturing: Global Trends  </vt:lpstr>
      <vt:lpstr>Technology is enabling the 4th industrial revolution</vt:lpstr>
      <vt:lpstr>Technologies driving the Factory of the Future</vt:lpstr>
      <vt:lpstr>Delivering excellence in digital manufacturing</vt:lpstr>
      <vt:lpstr>PowerPoint Presentation</vt:lpstr>
      <vt:lpstr>Journey Map</vt:lpstr>
      <vt:lpstr>Modern Workplace  Convergence of IT &amp; OT scenarios</vt:lpstr>
      <vt:lpstr>Next Generation Supply Chain</vt:lpstr>
      <vt:lpstr>Addressing Skills Needed for Digital Transform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enabling: Factory of the Future  Connected Field Service  Digital Supply Chain</dc:title>
  <dc:creator>Scott Hunter</dc:creator>
  <cp:lastModifiedBy>Scott Hunter (INDUSTRIES)</cp:lastModifiedBy>
  <cp:revision>14</cp:revision>
  <dcterms:modified xsi:type="dcterms:W3CDTF">2018-10-26T01:36: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2FEEC100F8BC469E45BD766C5F9135</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Owner">
    <vt:lpwstr>nemeldru@microsoft.com</vt:lpwstr>
  </property>
  <property fmtid="{D5CDD505-2E9C-101B-9397-08002B2CF9AE}" pid="14" name="MSIP_Label_f42aa342-8706-4288-bd11-ebb85995028c_SetDate">
    <vt:lpwstr>2017-11-02T15:01:44.7803977Z</vt:lpwstr>
  </property>
  <property fmtid="{D5CDD505-2E9C-101B-9397-08002B2CF9AE}" pid="15" name="MSIP_Label_f42aa342-8706-4288-bd11-ebb85995028c_Name">
    <vt:lpwstr>General</vt:lpwstr>
  </property>
  <property fmtid="{D5CDD505-2E9C-101B-9397-08002B2CF9AE}" pid="16" name="MSIP_Label_f42aa342-8706-4288-bd11-ebb85995028c_Application">
    <vt:lpwstr>Microsoft Azure Information Protection</vt:lpwstr>
  </property>
  <property fmtid="{D5CDD505-2E9C-101B-9397-08002B2CF9AE}" pid="17" name="MSIP_Label_f42aa342-8706-4288-bd11-ebb85995028c_Extended_MSFT_Method">
    <vt:lpwstr>Automatic</vt:lpwstr>
  </property>
  <property fmtid="{D5CDD505-2E9C-101B-9397-08002B2CF9AE}" pid="18" name="Sensitivity">
    <vt:lpwstr>General</vt:lpwstr>
  </property>
</Properties>
</file>